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8"/>
  </p:notesMasterIdLst>
  <p:sldIdLst>
    <p:sldId id="256" r:id="rId5"/>
    <p:sldId id="259" r:id="rId6"/>
    <p:sldId id="741" r:id="rId7"/>
    <p:sldId id="257" r:id="rId8"/>
    <p:sldId id="260" r:id="rId9"/>
    <p:sldId id="785" r:id="rId10"/>
    <p:sldId id="803" r:id="rId11"/>
    <p:sldId id="268" r:id="rId12"/>
    <p:sldId id="378" r:id="rId13"/>
    <p:sldId id="804" r:id="rId14"/>
    <p:sldId id="805" r:id="rId15"/>
    <p:sldId id="824" r:id="rId16"/>
    <p:sldId id="806" r:id="rId17"/>
    <p:sldId id="825" r:id="rId18"/>
    <p:sldId id="808" r:id="rId19"/>
    <p:sldId id="826" r:id="rId20"/>
    <p:sldId id="809" r:id="rId21"/>
    <p:sldId id="827" r:id="rId22"/>
    <p:sldId id="810" r:id="rId23"/>
    <p:sldId id="828" r:id="rId24"/>
    <p:sldId id="829" r:id="rId25"/>
    <p:sldId id="811" r:id="rId26"/>
    <p:sldId id="812" r:id="rId27"/>
    <p:sldId id="813" r:id="rId28"/>
    <p:sldId id="830" r:id="rId29"/>
    <p:sldId id="831" r:id="rId30"/>
    <p:sldId id="817" r:id="rId31"/>
    <p:sldId id="832" r:id="rId32"/>
    <p:sldId id="822" r:id="rId33"/>
    <p:sldId id="833" r:id="rId34"/>
    <p:sldId id="823" r:id="rId35"/>
    <p:sldId id="802" r:id="rId36"/>
    <p:sldId id="659" r:id="rId37"/>
    <p:sldId id="766" r:id="rId38"/>
    <p:sldId id="807" r:id="rId39"/>
    <p:sldId id="834" r:id="rId40"/>
    <p:sldId id="835" r:id="rId41"/>
    <p:sldId id="836" r:id="rId42"/>
    <p:sldId id="814" r:id="rId43"/>
    <p:sldId id="837" r:id="rId44"/>
    <p:sldId id="815" r:id="rId45"/>
    <p:sldId id="838" r:id="rId46"/>
    <p:sldId id="816" r:id="rId47"/>
    <p:sldId id="818" r:id="rId48"/>
    <p:sldId id="819" r:id="rId49"/>
    <p:sldId id="820" r:id="rId50"/>
    <p:sldId id="839" r:id="rId51"/>
    <p:sldId id="821" r:id="rId52"/>
    <p:sldId id="269" r:id="rId53"/>
    <p:sldId id="295" r:id="rId54"/>
    <p:sldId id="311" r:id="rId55"/>
    <p:sldId id="560" r:id="rId56"/>
    <p:sldId id="258" r:id="rId57"/>
  </p:sldIdLst>
  <p:sldSz cx="12192000" cy="6858000"/>
  <p:notesSz cx="6858000" cy="9144000"/>
  <p:custDataLst>
    <p:tags r:id="rId5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D37E0177-E211-42F8-A7CC-FA63384FE6C3}">
          <p14:sldIdLst>
            <p14:sldId id="256"/>
          </p14:sldIdLst>
        </p14:section>
        <p14:section name="Sponsor" id="{D011E8E5-823D-480B-8BF6-54CDB31E68DA}">
          <p14:sldIdLst>
            <p14:sldId id="259"/>
            <p14:sldId id="741"/>
          </p14:sldIdLst>
        </p14:section>
        <p14:section name="Agenda" id="{F647BFF8-4121-4AA9-A3A5-704C7298B4AA}">
          <p14:sldIdLst>
            <p14:sldId id="257"/>
          </p14:sldIdLst>
        </p14:section>
        <p14:section name="Thema 1" id="{8DA5B730-9004-4FB2-8570-6E803035A6CD}">
          <p14:sldIdLst>
            <p14:sldId id="260"/>
            <p14:sldId id="785"/>
          </p14:sldIdLst>
        </p14:section>
        <p14:section name="Teams - Neuigkeiten" id="{73969E79-BF4C-4A42-908F-F7570ABA4A98}">
          <p14:sldIdLst>
            <p14:sldId id="803"/>
            <p14:sldId id="268"/>
            <p14:sldId id="378"/>
            <p14:sldId id="804"/>
            <p14:sldId id="805"/>
            <p14:sldId id="824"/>
            <p14:sldId id="806"/>
            <p14:sldId id="825"/>
            <p14:sldId id="808"/>
            <p14:sldId id="826"/>
            <p14:sldId id="809"/>
            <p14:sldId id="827"/>
            <p14:sldId id="810"/>
            <p14:sldId id="828"/>
            <p14:sldId id="829"/>
            <p14:sldId id="811"/>
            <p14:sldId id="812"/>
            <p14:sldId id="813"/>
            <p14:sldId id="830"/>
            <p14:sldId id="831"/>
            <p14:sldId id="817"/>
            <p14:sldId id="832"/>
            <p14:sldId id="822"/>
            <p14:sldId id="833"/>
            <p14:sldId id="823"/>
          </p14:sldIdLst>
        </p14:section>
        <p14:section name="Teams - Admin Neuigkeiten" id="{7C225801-E561-41DE-8F97-F87042681E2C}">
          <p14:sldIdLst>
            <p14:sldId id="802"/>
            <p14:sldId id="659"/>
            <p14:sldId id="766"/>
            <p14:sldId id="807"/>
            <p14:sldId id="834"/>
            <p14:sldId id="835"/>
            <p14:sldId id="836"/>
            <p14:sldId id="814"/>
            <p14:sldId id="837"/>
            <p14:sldId id="815"/>
            <p14:sldId id="838"/>
            <p14:sldId id="816"/>
            <p14:sldId id="818"/>
            <p14:sldId id="819"/>
            <p14:sldId id="820"/>
            <p14:sldId id="839"/>
            <p14:sldId id="821"/>
          </p14:sldIdLst>
        </p14:section>
        <p14:section name="Teams Links" id="{C626A91B-1CDC-41DD-9427-AA9AC4C3F91D}">
          <p14:sldIdLst>
            <p14:sldId id="269"/>
          </p14:sldIdLst>
        </p14:section>
        <p14:section name="Offene Diskussion" id="{3CED83CD-B212-4EFE-8FBC-C7C92AC8FE7A}">
          <p14:sldIdLst>
            <p14:sldId id="295"/>
          </p14:sldIdLst>
        </p14:section>
        <p14:section name="Organisatorisches" id="{758F5043-CBE5-4C5B-AC05-24F0E67CE7B1}">
          <p14:sldIdLst>
            <p14:sldId id="311"/>
            <p14:sldId id="560"/>
          </p14:sldIdLst>
        </p14:section>
        <p14:section name="Final" id="{ED9DC36E-CA50-4511-A993-523054390192}">
          <p14:sldIdLst>
            <p14:sldId id="25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CCC4F7-7258-4B53-AE42-73541D3C572D}" v="87" dt="2024-04-25T07:12:49.20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16" autoAdjust="0"/>
    <p:restoredTop sz="74887" autoAdjust="0"/>
  </p:normalViewPr>
  <p:slideViewPr>
    <p:cSldViewPr snapToGrid="0">
      <p:cViewPr varScale="1">
        <p:scale>
          <a:sx n="114" d="100"/>
          <a:sy n="114" d="100"/>
        </p:scale>
        <p:origin x="1512" y="5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6000" y="19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mas Stensitzki" userId="75cafe6b-2f2a-469b-85c4-eec3b9c972ba" providerId="ADAL" clId="{F2BB4D5E-E5E5-4B84-8DD9-A7ADA0B72E44}"/>
    <pc:docChg chg="undo custSel addSld delSld modSld sldOrd delSection modSection">
      <pc:chgData name="Thomas Stensitzki" userId="75cafe6b-2f2a-469b-85c4-eec3b9c972ba" providerId="ADAL" clId="{F2BB4D5E-E5E5-4B84-8DD9-A7ADA0B72E44}" dt="2022-05-10T08:03:07.444" v="4346" actId="20577"/>
      <pc:docMkLst>
        <pc:docMk/>
      </pc:docMkLst>
      <pc:sldChg chg="modSp mod modTransition">
        <pc:chgData name="Thomas Stensitzki" userId="75cafe6b-2f2a-469b-85c4-eec3b9c972ba" providerId="ADAL" clId="{F2BB4D5E-E5E5-4B84-8DD9-A7ADA0B72E44}" dt="2022-04-24T09:40:00.182" v="3780"/>
        <pc:sldMkLst>
          <pc:docMk/>
          <pc:sldMk cId="671489701" sldId="256"/>
        </pc:sldMkLst>
        <pc:spChg chg="mod">
          <ac:chgData name="Thomas Stensitzki" userId="75cafe6b-2f2a-469b-85c4-eec3b9c972ba" providerId="ADAL" clId="{F2BB4D5E-E5E5-4B84-8DD9-A7ADA0B72E44}" dt="2022-04-19T12:20:42.343" v="14" actId="6549"/>
          <ac:spMkLst>
            <pc:docMk/>
            <pc:sldMk cId="671489701" sldId="256"/>
            <ac:spMk id="3" creationId="{CBA95633-B02D-4A15-A8B1-A38E0A70FD27}"/>
          </ac:spMkLst>
        </pc:spChg>
      </pc:sldChg>
      <pc:sldChg chg="delSp modSp mod modTransition">
        <pc:chgData name="Thomas Stensitzki" userId="75cafe6b-2f2a-469b-85c4-eec3b9c972ba" providerId="ADAL" clId="{F2BB4D5E-E5E5-4B84-8DD9-A7ADA0B72E44}" dt="2022-04-28T15:43:53.935" v="4318" actId="6549"/>
        <pc:sldMkLst>
          <pc:docMk/>
          <pc:sldMk cId="2855324227" sldId="257"/>
        </pc:sldMkLst>
        <pc:grpChg chg="del">
          <ac:chgData name="Thomas Stensitzki" userId="75cafe6b-2f2a-469b-85c4-eec3b9c972ba" providerId="ADAL" clId="{F2BB4D5E-E5E5-4B84-8DD9-A7ADA0B72E44}" dt="2022-04-19T12:21:56.725" v="45" actId="478"/>
          <ac:grpSpMkLst>
            <pc:docMk/>
            <pc:sldMk cId="2855324227" sldId="257"/>
            <ac:grpSpMk id="10" creationId="{D2AA4FDE-6B43-48F3-A5F5-5B79619A7E68}"/>
          </ac:grpSpMkLst>
        </pc:grpChg>
        <pc:graphicFrameChg chg="mod modGraphic">
          <ac:chgData name="Thomas Stensitzki" userId="75cafe6b-2f2a-469b-85c4-eec3b9c972ba" providerId="ADAL" clId="{F2BB4D5E-E5E5-4B84-8DD9-A7ADA0B72E44}" dt="2022-04-28T15:43:53.935" v="4318" actId="6549"/>
          <ac:graphicFrameMkLst>
            <pc:docMk/>
            <pc:sldMk cId="2855324227" sldId="257"/>
            <ac:graphicFrameMk id="6" creationId="{0F955DCC-462D-431D-BBDE-26F10687D590}"/>
          </ac:graphicFrameMkLst>
        </pc:graphicFrameChg>
      </pc:sldChg>
      <pc:sldChg chg="modSp mod modTransition">
        <pc:chgData name="Thomas Stensitzki" userId="75cafe6b-2f2a-469b-85c4-eec3b9c972ba" providerId="ADAL" clId="{F2BB4D5E-E5E5-4B84-8DD9-A7ADA0B72E44}" dt="2022-04-24T09:40:00.182" v="3780"/>
        <pc:sldMkLst>
          <pc:docMk/>
          <pc:sldMk cId="3332792154" sldId="258"/>
        </pc:sldMkLst>
        <pc:spChg chg="mod">
          <ac:chgData name="Thomas Stensitzki" userId="75cafe6b-2f2a-469b-85c4-eec3b9c972ba" providerId="ADAL" clId="{F2BB4D5E-E5E5-4B84-8DD9-A7ADA0B72E44}" dt="2022-04-19T12:25:42.045" v="198" actId="20577"/>
          <ac:spMkLst>
            <pc:docMk/>
            <pc:sldMk cId="3332792154" sldId="258"/>
            <ac:spMk id="3" creationId="{3A5A44EB-7FB9-473A-8ED3-C49DDD2E65AB}"/>
          </ac:spMkLst>
        </pc:spChg>
      </pc:sldChg>
      <pc:sldChg chg="modTransition">
        <pc:chgData name="Thomas Stensitzki" userId="75cafe6b-2f2a-469b-85c4-eec3b9c972ba" providerId="ADAL" clId="{F2BB4D5E-E5E5-4B84-8DD9-A7ADA0B72E44}" dt="2022-04-24T09:40:00.182" v="3780"/>
        <pc:sldMkLst>
          <pc:docMk/>
          <pc:sldMk cId="1545829058" sldId="259"/>
        </pc:sldMkLst>
      </pc:sldChg>
      <pc:sldChg chg="modSp mod modTransition">
        <pc:chgData name="Thomas Stensitzki" userId="75cafe6b-2f2a-469b-85c4-eec3b9c972ba" providerId="ADAL" clId="{F2BB4D5E-E5E5-4B84-8DD9-A7ADA0B72E44}" dt="2022-04-24T09:40:00.182" v="3780"/>
        <pc:sldMkLst>
          <pc:docMk/>
          <pc:sldMk cId="2698998357" sldId="260"/>
        </pc:sldMkLst>
        <pc:spChg chg="mod">
          <ac:chgData name="Thomas Stensitzki" userId="75cafe6b-2f2a-469b-85c4-eec3b9c972ba" providerId="ADAL" clId="{F2BB4D5E-E5E5-4B84-8DD9-A7ADA0B72E44}" dt="2022-04-19T12:23:07.832" v="89"/>
          <ac:spMkLst>
            <pc:docMk/>
            <pc:sldMk cId="2698998357" sldId="260"/>
            <ac:spMk id="4" creationId="{F3A15CBD-C746-44A3-A4F0-4898CE2F02E6}"/>
          </ac:spMkLst>
        </pc:spChg>
        <pc:spChg chg="mod">
          <ac:chgData name="Thomas Stensitzki" userId="75cafe6b-2f2a-469b-85c4-eec3b9c972ba" providerId="ADAL" clId="{F2BB4D5E-E5E5-4B84-8DD9-A7ADA0B72E44}" dt="2022-04-19T12:23:21.309" v="123" actId="20577"/>
          <ac:spMkLst>
            <pc:docMk/>
            <pc:sldMk cId="2698998357" sldId="260"/>
            <ac:spMk id="5" creationId="{F3459BE7-1731-4733-A912-12977C68CFD6}"/>
          </ac:spMkLst>
        </pc:spChg>
      </pc:sldChg>
      <pc:sldChg chg="del mod modTransition modShow">
        <pc:chgData name="Thomas Stensitzki" userId="75cafe6b-2f2a-469b-85c4-eec3b9c972ba" providerId="ADAL" clId="{F2BB4D5E-E5E5-4B84-8DD9-A7ADA0B72E44}" dt="2022-04-29T05:46:47.851" v="4338" actId="18676"/>
        <pc:sldMkLst>
          <pc:docMk/>
          <pc:sldMk cId="4007670073" sldId="268"/>
        </pc:sldMkLst>
      </pc:sldChg>
      <pc:sldChg chg="mod modTransition modShow">
        <pc:chgData name="Thomas Stensitzki" userId="75cafe6b-2f2a-469b-85c4-eec3b9c972ba" providerId="ADAL" clId="{F2BB4D5E-E5E5-4B84-8DD9-A7ADA0B72E44}" dt="2022-04-28T15:44:48.047" v="4320" actId="729"/>
        <pc:sldMkLst>
          <pc:docMk/>
          <pc:sldMk cId="2721051844" sldId="269"/>
        </pc:sldMkLst>
      </pc:sldChg>
      <pc:sldChg chg="modTransition">
        <pc:chgData name="Thomas Stensitzki" userId="75cafe6b-2f2a-469b-85c4-eec3b9c972ba" providerId="ADAL" clId="{F2BB4D5E-E5E5-4B84-8DD9-A7ADA0B72E44}" dt="2022-04-24T09:40:00.182" v="3780"/>
        <pc:sldMkLst>
          <pc:docMk/>
          <pc:sldMk cId="1928334901" sldId="295"/>
        </pc:sldMkLst>
      </pc:sldChg>
      <pc:sldChg chg="del modTransition">
        <pc:chgData name="Thomas Stensitzki" userId="75cafe6b-2f2a-469b-85c4-eec3b9c972ba" providerId="ADAL" clId="{F2BB4D5E-E5E5-4B84-8DD9-A7ADA0B72E44}" dt="2022-04-29T05:46:58.925" v="4340" actId="18676"/>
        <pc:sldMkLst>
          <pc:docMk/>
          <pc:sldMk cId="466045460" sldId="296"/>
        </pc:sldMkLst>
      </pc:sldChg>
      <pc:sldChg chg="modTransition">
        <pc:chgData name="Thomas Stensitzki" userId="75cafe6b-2f2a-469b-85c4-eec3b9c972ba" providerId="ADAL" clId="{F2BB4D5E-E5E5-4B84-8DD9-A7ADA0B72E44}" dt="2022-04-24T09:40:00.182" v="3780"/>
        <pc:sldMkLst>
          <pc:docMk/>
          <pc:sldMk cId="53967156" sldId="297"/>
        </pc:sldMkLst>
      </pc:sldChg>
      <pc:sldChg chg="modTransition">
        <pc:chgData name="Thomas Stensitzki" userId="75cafe6b-2f2a-469b-85c4-eec3b9c972ba" providerId="ADAL" clId="{F2BB4D5E-E5E5-4B84-8DD9-A7ADA0B72E44}" dt="2022-04-24T09:40:00.182" v="3780"/>
        <pc:sldMkLst>
          <pc:docMk/>
          <pc:sldMk cId="2814967912" sldId="311"/>
        </pc:sldMkLst>
      </pc:sldChg>
      <pc:sldChg chg="modTransition">
        <pc:chgData name="Thomas Stensitzki" userId="75cafe6b-2f2a-469b-85c4-eec3b9c972ba" providerId="ADAL" clId="{F2BB4D5E-E5E5-4B84-8DD9-A7ADA0B72E44}" dt="2022-04-24T09:40:00.182" v="3780"/>
        <pc:sldMkLst>
          <pc:docMk/>
          <pc:sldMk cId="726195275" sldId="313"/>
        </pc:sldMkLst>
      </pc:sldChg>
      <pc:sldChg chg="del mod modTransition modShow">
        <pc:chgData name="Thomas Stensitzki" userId="75cafe6b-2f2a-469b-85c4-eec3b9c972ba" providerId="ADAL" clId="{F2BB4D5E-E5E5-4B84-8DD9-A7ADA0B72E44}" dt="2022-04-29T05:46:47.851" v="4338" actId="18676"/>
        <pc:sldMkLst>
          <pc:docMk/>
          <pc:sldMk cId="2227487991" sldId="378"/>
        </pc:sldMkLst>
      </pc:sldChg>
      <pc:sldChg chg="modTransition">
        <pc:chgData name="Thomas Stensitzki" userId="75cafe6b-2f2a-469b-85c4-eec3b9c972ba" providerId="ADAL" clId="{F2BB4D5E-E5E5-4B84-8DD9-A7ADA0B72E44}" dt="2022-04-24T09:40:00.182" v="3780"/>
        <pc:sldMkLst>
          <pc:docMk/>
          <pc:sldMk cId="2923837414" sldId="513"/>
        </pc:sldMkLst>
      </pc:sldChg>
      <pc:sldChg chg="modTransition">
        <pc:chgData name="Thomas Stensitzki" userId="75cafe6b-2f2a-469b-85c4-eec3b9c972ba" providerId="ADAL" clId="{F2BB4D5E-E5E5-4B84-8DD9-A7ADA0B72E44}" dt="2022-04-24T09:40:00.182" v="3780"/>
        <pc:sldMkLst>
          <pc:docMk/>
          <pc:sldMk cId="2395924320" sldId="514"/>
        </pc:sldMkLst>
      </pc:sldChg>
      <pc:sldChg chg="del mod modTransition modShow">
        <pc:chgData name="Thomas Stensitzki" userId="75cafe6b-2f2a-469b-85c4-eec3b9c972ba" providerId="ADAL" clId="{F2BB4D5E-E5E5-4B84-8DD9-A7ADA0B72E44}" dt="2022-04-29T05:46:51.822" v="4339" actId="18676"/>
        <pc:sldMkLst>
          <pc:docMk/>
          <pc:sldMk cId="3797754622" sldId="515"/>
        </pc:sldMkLst>
      </pc:sldChg>
      <pc:sldChg chg="modTransition">
        <pc:chgData name="Thomas Stensitzki" userId="75cafe6b-2f2a-469b-85c4-eec3b9c972ba" providerId="ADAL" clId="{F2BB4D5E-E5E5-4B84-8DD9-A7ADA0B72E44}" dt="2022-04-24T09:40:00.182" v="3780"/>
        <pc:sldMkLst>
          <pc:docMk/>
          <pc:sldMk cId="2791634409" sldId="560"/>
        </pc:sldMkLst>
      </pc:sldChg>
      <pc:sldChg chg="modSp mod modTransition">
        <pc:chgData name="Thomas Stensitzki" userId="75cafe6b-2f2a-469b-85c4-eec3b9c972ba" providerId="ADAL" clId="{F2BB4D5E-E5E5-4B84-8DD9-A7ADA0B72E44}" dt="2022-04-24T09:40:00.182" v="3780"/>
        <pc:sldMkLst>
          <pc:docMk/>
          <pc:sldMk cId="1728515471" sldId="561"/>
        </pc:sldMkLst>
        <pc:graphicFrameChg chg="modGraphic">
          <ac:chgData name="Thomas Stensitzki" userId="75cafe6b-2f2a-469b-85c4-eec3b9c972ba" providerId="ADAL" clId="{F2BB4D5E-E5E5-4B84-8DD9-A7ADA0B72E44}" dt="2022-04-19T12:25:17.142" v="165" actId="2165"/>
          <ac:graphicFrameMkLst>
            <pc:docMk/>
            <pc:sldMk cId="1728515471" sldId="561"/>
            <ac:graphicFrameMk id="4" creationId="{55EDB790-67BC-42E5-B64A-5647620B8383}"/>
          </ac:graphicFrameMkLst>
        </pc:graphicFrameChg>
      </pc:sldChg>
      <pc:sldChg chg="del">
        <pc:chgData name="Thomas Stensitzki" userId="75cafe6b-2f2a-469b-85c4-eec3b9c972ba" providerId="ADAL" clId="{F2BB4D5E-E5E5-4B84-8DD9-A7ADA0B72E44}" dt="2022-04-19T12:23:55.448" v="125" actId="47"/>
        <pc:sldMkLst>
          <pc:docMk/>
          <pc:sldMk cId="4104137776" sldId="567"/>
        </pc:sldMkLst>
      </pc:sldChg>
      <pc:sldChg chg="del">
        <pc:chgData name="Thomas Stensitzki" userId="75cafe6b-2f2a-469b-85c4-eec3b9c972ba" providerId="ADAL" clId="{F2BB4D5E-E5E5-4B84-8DD9-A7ADA0B72E44}" dt="2022-04-19T12:23:51.426" v="124" actId="47"/>
        <pc:sldMkLst>
          <pc:docMk/>
          <pc:sldMk cId="2374589673" sldId="568"/>
        </pc:sldMkLst>
      </pc:sldChg>
      <pc:sldChg chg="del">
        <pc:chgData name="Thomas Stensitzki" userId="75cafe6b-2f2a-469b-85c4-eec3b9c972ba" providerId="ADAL" clId="{F2BB4D5E-E5E5-4B84-8DD9-A7ADA0B72E44}" dt="2022-04-19T12:23:55.448" v="125" actId="47"/>
        <pc:sldMkLst>
          <pc:docMk/>
          <pc:sldMk cId="1152622229" sldId="569"/>
        </pc:sldMkLst>
      </pc:sldChg>
      <pc:sldChg chg="del">
        <pc:chgData name="Thomas Stensitzki" userId="75cafe6b-2f2a-469b-85c4-eec3b9c972ba" providerId="ADAL" clId="{F2BB4D5E-E5E5-4B84-8DD9-A7ADA0B72E44}" dt="2022-04-19T12:23:51.426" v="124" actId="47"/>
        <pc:sldMkLst>
          <pc:docMk/>
          <pc:sldMk cId="1687430561" sldId="570"/>
        </pc:sldMkLst>
      </pc:sldChg>
      <pc:sldChg chg="del">
        <pc:chgData name="Thomas Stensitzki" userId="75cafe6b-2f2a-469b-85c4-eec3b9c972ba" providerId="ADAL" clId="{F2BB4D5E-E5E5-4B84-8DD9-A7ADA0B72E44}" dt="2022-04-19T12:23:51.426" v="124" actId="47"/>
        <pc:sldMkLst>
          <pc:docMk/>
          <pc:sldMk cId="3500137736" sldId="571"/>
        </pc:sldMkLst>
      </pc:sldChg>
      <pc:sldChg chg="del">
        <pc:chgData name="Thomas Stensitzki" userId="75cafe6b-2f2a-469b-85c4-eec3b9c972ba" providerId="ADAL" clId="{F2BB4D5E-E5E5-4B84-8DD9-A7ADA0B72E44}" dt="2022-04-19T12:23:51.426" v="124" actId="47"/>
        <pc:sldMkLst>
          <pc:docMk/>
          <pc:sldMk cId="3650339848" sldId="572"/>
        </pc:sldMkLst>
      </pc:sldChg>
      <pc:sldChg chg="del">
        <pc:chgData name="Thomas Stensitzki" userId="75cafe6b-2f2a-469b-85c4-eec3b9c972ba" providerId="ADAL" clId="{F2BB4D5E-E5E5-4B84-8DD9-A7ADA0B72E44}" dt="2022-04-19T12:23:57.164" v="126" actId="47"/>
        <pc:sldMkLst>
          <pc:docMk/>
          <pc:sldMk cId="1013366872" sldId="573"/>
        </pc:sldMkLst>
      </pc:sldChg>
      <pc:sldChg chg="del">
        <pc:chgData name="Thomas Stensitzki" userId="75cafe6b-2f2a-469b-85c4-eec3b9c972ba" providerId="ADAL" clId="{F2BB4D5E-E5E5-4B84-8DD9-A7ADA0B72E44}" dt="2022-04-19T12:23:51.426" v="124" actId="47"/>
        <pc:sldMkLst>
          <pc:docMk/>
          <pc:sldMk cId="3064786489" sldId="574"/>
        </pc:sldMkLst>
      </pc:sldChg>
      <pc:sldChg chg="del">
        <pc:chgData name="Thomas Stensitzki" userId="75cafe6b-2f2a-469b-85c4-eec3b9c972ba" providerId="ADAL" clId="{F2BB4D5E-E5E5-4B84-8DD9-A7ADA0B72E44}" dt="2022-04-19T12:23:51.426" v="124" actId="47"/>
        <pc:sldMkLst>
          <pc:docMk/>
          <pc:sldMk cId="2959338283" sldId="575"/>
        </pc:sldMkLst>
      </pc:sldChg>
      <pc:sldChg chg="del">
        <pc:chgData name="Thomas Stensitzki" userId="75cafe6b-2f2a-469b-85c4-eec3b9c972ba" providerId="ADAL" clId="{F2BB4D5E-E5E5-4B84-8DD9-A7ADA0B72E44}" dt="2022-04-19T12:23:51.426" v="124" actId="47"/>
        <pc:sldMkLst>
          <pc:docMk/>
          <pc:sldMk cId="267886642" sldId="576"/>
        </pc:sldMkLst>
      </pc:sldChg>
      <pc:sldChg chg="del">
        <pc:chgData name="Thomas Stensitzki" userId="75cafe6b-2f2a-469b-85c4-eec3b9c972ba" providerId="ADAL" clId="{F2BB4D5E-E5E5-4B84-8DD9-A7ADA0B72E44}" dt="2022-04-19T12:23:57.164" v="126" actId="47"/>
        <pc:sldMkLst>
          <pc:docMk/>
          <pc:sldMk cId="3394268917" sldId="577"/>
        </pc:sldMkLst>
      </pc:sldChg>
      <pc:sldChg chg="del">
        <pc:chgData name="Thomas Stensitzki" userId="75cafe6b-2f2a-469b-85c4-eec3b9c972ba" providerId="ADAL" clId="{F2BB4D5E-E5E5-4B84-8DD9-A7ADA0B72E44}" dt="2022-04-19T12:23:51.426" v="124" actId="47"/>
        <pc:sldMkLst>
          <pc:docMk/>
          <pc:sldMk cId="42815850" sldId="578"/>
        </pc:sldMkLst>
      </pc:sldChg>
      <pc:sldChg chg="del">
        <pc:chgData name="Thomas Stensitzki" userId="75cafe6b-2f2a-469b-85c4-eec3b9c972ba" providerId="ADAL" clId="{F2BB4D5E-E5E5-4B84-8DD9-A7ADA0B72E44}" dt="2022-04-19T12:23:58.675" v="127" actId="47"/>
        <pc:sldMkLst>
          <pc:docMk/>
          <pc:sldMk cId="1853019381" sldId="580"/>
        </pc:sldMkLst>
      </pc:sldChg>
      <pc:sldChg chg="del">
        <pc:chgData name="Thomas Stensitzki" userId="75cafe6b-2f2a-469b-85c4-eec3b9c972ba" providerId="ADAL" clId="{F2BB4D5E-E5E5-4B84-8DD9-A7ADA0B72E44}" dt="2022-04-19T12:23:51.426" v="124" actId="47"/>
        <pc:sldMkLst>
          <pc:docMk/>
          <pc:sldMk cId="2983071606" sldId="581"/>
        </pc:sldMkLst>
      </pc:sldChg>
      <pc:sldChg chg="del">
        <pc:chgData name="Thomas Stensitzki" userId="75cafe6b-2f2a-469b-85c4-eec3b9c972ba" providerId="ADAL" clId="{F2BB4D5E-E5E5-4B84-8DD9-A7ADA0B72E44}" dt="2022-04-19T12:23:51.426" v="124" actId="47"/>
        <pc:sldMkLst>
          <pc:docMk/>
          <pc:sldMk cId="170210111" sldId="582"/>
        </pc:sldMkLst>
      </pc:sldChg>
      <pc:sldChg chg="del">
        <pc:chgData name="Thomas Stensitzki" userId="75cafe6b-2f2a-469b-85c4-eec3b9c972ba" providerId="ADAL" clId="{F2BB4D5E-E5E5-4B84-8DD9-A7ADA0B72E44}" dt="2022-04-19T12:24:00.296" v="128" actId="47"/>
        <pc:sldMkLst>
          <pc:docMk/>
          <pc:sldMk cId="631042199" sldId="583"/>
        </pc:sldMkLst>
      </pc:sldChg>
      <pc:sldChg chg="del">
        <pc:chgData name="Thomas Stensitzki" userId="75cafe6b-2f2a-469b-85c4-eec3b9c972ba" providerId="ADAL" clId="{F2BB4D5E-E5E5-4B84-8DD9-A7ADA0B72E44}" dt="2022-04-19T12:24:00.296" v="128" actId="47"/>
        <pc:sldMkLst>
          <pc:docMk/>
          <pc:sldMk cId="120922638" sldId="584"/>
        </pc:sldMkLst>
      </pc:sldChg>
      <pc:sldChg chg="del">
        <pc:chgData name="Thomas Stensitzki" userId="75cafe6b-2f2a-469b-85c4-eec3b9c972ba" providerId="ADAL" clId="{F2BB4D5E-E5E5-4B84-8DD9-A7ADA0B72E44}" dt="2022-04-19T12:24:02.307" v="129" actId="47"/>
        <pc:sldMkLst>
          <pc:docMk/>
          <pc:sldMk cId="569684178" sldId="585"/>
        </pc:sldMkLst>
      </pc:sldChg>
      <pc:sldChg chg="del">
        <pc:chgData name="Thomas Stensitzki" userId="75cafe6b-2f2a-469b-85c4-eec3b9c972ba" providerId="ADAL" clId="{F2BB4D5E-E5E5-4B84-8DD9-A7ADA0B72E44}" dt="2022-04-19T12:23:51.426" v="124" actId="47"/>
        <pc:sldMkLst>
          <pc:docMk/>
          <pc:sldMk cId="2892638827" sldId="586"/>
        </pc:sldMkLst>
      </pc:sldChg>
      <pc:sldChg chg="del">
        <pc:chgData name="Thomas Stensitzki" userId="75cafe6b-2f2a-469b-85c4-eec3b9c972ba" providerId="ADAL" clId="{F2BB4D5E-E5E5-4B84-8DD9-A7ADA0B72E44}" dt="2022-04-19T12:24:02.307" v="129" actId="47"/>
        <pc:sldMkLst>
          <pc:docMk/>
          <pc:sldMk cId="952964549" sldId="587"/>
        </pc:sldMkLst>
      </pc:sldChg>
      <pc:sldChg chg="del">
        <pc:chgData name="Thomas Stensitzki" userId="75cafe6b-2f2a-469b-85c4-eec3b9c972ba" providerId="ADAL" clId="{F2BB4D5E-E5E5-4B84-8DD9-A7ADA0B72E44}" dt="2022-04-19T12:23:51.426" v="124" actId="47"/>
        <pc:sldMkLst>
          <pc:docMk/>
          <pc:sldMk cId="3831261343" sldId="588"/>
        </pc:sldMkLst>
      </pc:sldChg>
      <pc:sldChg chg="del">
        <pc:chgData name="Thomas Stensitzki" userId="75cafe6b-2f2a-469b-85c4-eec3b9c972ba" providerId="ADAL" clId="{F2BB4D5E-E5E5-4B84-8DD9-A7ADA0B72E44}" dt="2022-04-19T12:23:51.426" v="124" actId="47"/>
        <pc:sldMkLst>
          <pc:docMk/>
          <pc:sldMk cId="3795303455" sldId="589"/>
        </pc:sldMkLst>
      </pc:sldChg>
      <pc:sldChg chg="del mod modTransition modShow">
        <pc:chgData name="Thomas Stensitzki" userId="75cafe6b-2f2a-469b-85c4-eec3b9c972ba" providerId="ADAL" clId="{F2BB4D5E-E5E5-4B84-8DD9-A7ADA0B72E44}" dt="2022-04-29T05:46:47.851" v="4338" actId="18676"/>
        <pc:sldMkLst>
          <pc:docMk/>
          <pc:sldMk cId="3073320387" sldId="590"/>
        </pc:sldMkLst>
      </pc:sldChg>
      <pc:sldChg chg="addSp delSp modSp new mod modTransition modClrScheme chgLayout">
        <pc:chgData name="Thomas Stensitzki" userId="75cafe6b-2f2a-469b-85c4-eec3b9c972ba" providerId="ADAL" clId="{F2BB4D5E-E5E5-4B84-8DD9-A7ADA0B72E44}" dt="2022-04-24T09:40:00.182" v="3780"/>
        <pc:sldMkLst>
          <pc:docMk/>
          <pc:sldMk cId="2363331893" sldId="591"/>
        </pc:sldMkLst>
        <pc:spChg chg="del mod ord">
          <ac:chgData name="Thomas Stensitzki" userId="75cafe6b-2f2a-469b-85c4-eec3b9c972ba" providerId="ADAL" clId="{F2BB4D5E-E5E5-4B84-8DD9-A7ADA0B72E44}" dt="2022-04-23T09:22:02.525" v="200" actId="700"/>
          <ac:spMkLst>
            <pc:docMk/>
            <pc:sldMk cId="2363331893" sldId="591"/>
            <ac:spMk id="2" creationId="{526541C5-3F4A-4170-B689-A4EB12620F59}"/>
          </ac:spMkLst>
        </pc:spChg>
        <pc:spChg chg="del mod ord">
          <ac:chgData name="Thomas Stensitzki" userId="75cafe6b-2f2a-469b-85c4-eec3b9c972ba" providerId="ADAL" clId="{F2BB4D5E-E5E5-4B84-8DD9-A7ADA0B72E44}" dt="2022-04-23T09:22:02.525" v="200" actId="700"/>
          <ac:spMkLst>
            <pc:docMk/>
            <pc:sldMk cId="2363331893" sldId="591"/>
            <ac:spMk id="3" creationId="{E2D57D62-47F7-43E8-A60D-D9337E34DDAF}"/>
          </ac:spMkLst>
        </pc:spChg>
        <pc:spChg chg="add mod ord">
          <ac:chgData name="Thomas Stensitzki" userId="75cafe6b-2f2a-469b-85c4-eec3b9c972ba" providerId="ADAL" clId="{F2BB4D5E-E5E5-4B84-8DD9-A7ADA0B72E44}" dt="2022-04-23T09:22:11.325" v="227" actId="20577"/>
          <ac:spMkLst>
            <pc:docMk/>
            <pc:sldMk cId="2363331893" sldId="591"/>
            <ac:spMk id="4" creationId="{041C0BDF-2374-4ACD-9289-35E2F2C5124D}"/>
          </ac:spMkLst>
        </pc:spChg>
        <pc:spChg chg="add mod ord">
          <ac:chgData name="Thomas Stensitzki" userId="75cafe6b-2f2a-469b-85c4-eec3b9c972ba" providerId="ADAL" clId="{F2BB4D5E-E5E5-4B84-8DD9-A7ADA0B72E44}" dt="2022-04-23T09:25:45.940" v="446" actId="20577"/>
          <ac:spMkLst>
            <pc:docMk/>
            <pc:sldMk cId="2363331893" sldId="591"/>
            <ac:spMk id="5" creationId="{B1886A4C-E9E4-4111-BFDC-F9784FD52406}"/>
          </ac:spMkLst>
        </pc:spChg>
      </pc:sldChg>
      <pc:sldChg chg="del">
        <pc:chgData name="Thomas Stensitzki" userId="75cafe6b-2f2a-469b-85c4-eec3b9c972ba" providerId="ADAL" clId="{F2BB4D5E-E5E5-4B84-8DD9-A7ADA0B72E44}" dt="2022-04-19T12:23:51.426" v="124" actId="47"/>
        <pc:sldMkLst>
          <pc:docMk/>
          <pc:sldMk cId="3676688735" sldId="591"/>
        </pc:sldMkLst>
      </pc:sldChg>
      <pc:sldChg chg="del">
        <pc:chgData name="Thomas Stensitzki" userId="75cafe6b-2f2a-469b-85c4-eec3b9c972ba" providerId="ADAL" clId="{F2BB4D5E-E5E5-4B84-8DD9-A7ADA0B72E44}" dt="2022-04-19T12:23:51.426" v="124" actId="47"/>
        <pc:sldMkLst>
          <pc:docMk/>
          <pc:sldMk cId="3760764139" sldId="592"/>
        </pc:sldMkLst>
      </pc:sldChg>
      <pc:sldChg chg="addSp modSp add mod modTransition">
        <pc:chgData name="Thomas Stensitzki" userId="75cafe6b-2f2a-469b-85c4-eec3b9c972ba" providerId="ADAL" clId="{F2BB4D5E-E5E5-4B84-8DD9-A7ADA0B72E44}" dt="2022-04-24T09:40:00.182" v="3780"/>
        <pc:sldMkLst>
          <pc:docMk/>
          <pc:sldMk cId="3853557247" sldId="592"/>
        </pc:sldMkLst>
        <pc:spChg chg="mod">
          <ac:chgData name="Thomas Stensitzki" userId="75cafe6b-2f2a-469b-85c4-eec3b9c972ba" providerId="ADAL" clId="{F2BB4D5E-E5E5-4B84-8DD9-A7ADA0B72E44}" dt="2022-04-23T09:31:38.194" v="730" actId="20577"/>
          <ac:spMkLst>
            <pc:docMk/>
            <pc:sldMk cId="3853557247" sldId="592"/>
            <ac:spMk id="5" creationId="{B1886A4C-E9E4-4111-BFDC-F9784FD52406}"/>
          </ac:spMkLst>
        </pc:spChg>
        <pc:graphicFrameChg chg="add mod">
          <ac:chgData name="Thomas Stensitzki" userId="75cafe6b-2f2a-469b-85c4-eec3b9c972ba" providerId="ADAL" clId="{F2BB4D5E-E5E5-4B84-8DD9-A7ADA0B72E44}" dt="2022-04-23T09:47:24.905" v="1279" actId="255"/>
          <ac:graphicFrameMkLst>
            <pc:docMk/>
            <pc:sldMk cId="3853557247" sldId="592"/>
            <ac:graphicFrameMk id="7" creationId="{8E195FE2-4880-48CB-B868-BBA9AE33BDAC}"/>
          </ac:graphicFrameMkLst>
        </pc:graphicFrameChg>
        <pc:picChg chg="add mod">
          <ac:chgData name="Thomas Stensitzki" userId="75cafe6b-2f2a-469b-85c4-eec3b9c972ba" providerId="ADAL" clId="{F2BB4D5E-E5E5-4B84-8DD9-A7ADA0B72E44}" dt="2022-04-23T09:26:20.430" v="463" actId="1076"/>
          <ac:picMkLst>
            <pc:docMk/>
            <pc:sldMk cId="3853557247" sldId="592"/>
            <ac:picMk id="6" creationId="{CEA74D49-4C77-4349-BF8E-F89AAC8F4441}"/>
          </ac:picMkLst>
        </pc:picChg>
      </pc:sldChg>
      <pc:sldChg chg="del">
        <pc:chgData name="Thomas Stensitzki" userId="75cafe6b-2f2a-469b-85c4-eec3b9c972ba" providerId="ADAL" clId="{F2BB4D5E-E5E5-4B84-8DD9-A7ADA0B72E44}" dt="2022-04-19T12:23:51.426" v="124" actId="47"/>
        <pc:sldMkLst>
          <pc:docMk/>
          <pc:sldMk cId="1160737551" sldId="593"/>
        </pc:sldMkLst>
      </pc:sldChg>
      <pc:sldChg chg="addSp delSp modSp add mod ord modTransition modAnim">
        <pc:chgData name="Thomas Stensitzki" userId="75cafe6b-2f2a-469b-85c4-eec3b9c972ba" providerId="ADAL" clId="{F2BB4D5E-E5E5-4B84-8DD9-A7ADA0B72E44}" dt="2022-04-28T10:23:06.864" v="4306"/>
        <pc:sldMkLst>
          <pc:docMk/>
          <pc:sldMk cId="2298534792" sldId="593"/>
        </pc:sldMkLst>
        <pc:spChg chg="add del mod">
          <ac:chgData name="Thomas Stensitzki" userId="75cafe6b-2f2a-469b-85c4-eec3b9c972ba" providerId="ADAL" clId="{F2BB4D5E-E5E5-4B84-8DD9-A7ADA0B72E44}" dt="2022-04-23T09:33:36.115" v="747" actId="478"/>
          <ac:spMkLst>
            <pc:docMk/>
            <pc:sldMk cId="2298534792" sldId="593"/>
            <ac:spMk id="3" creationId="{2090C550-8C82-4B9B-8D88-7F36615A70EE}"/>
          </ac:spMkLst>
        </pc:spChg>
        <pc:spChg chg="mod">
          <ac:chgData name="Thomas Stensitzki" userId="75cafe6b-2f2a-469b-85c4-eec3b9c972ba" providerId="ADAL" clId="{F2BB4D5E-E5E5-4B84-8DD9-A7ADA0B72E44}" dt="2022-04-23T09:33:31.526" v="745" actId="20577"/>
          <ac:spMkLst>
            <pc:docMk/>
            <pc:sldMk cId="2298534792" sldId="593"/>
            <ac:spMk id="4" creationId="{041C0BDF-2374-4ACD-9289-35E2F2C5124D}"/>
          </ac:spMkLst>
        </pc:spChg>
        <pc:spChg chg="del">
          <ac:chgData name="Thomas Stensitzki" userId="75cafe6b-2f2a-469b-85c4-eec3b9c972ba" providerId="ADAL" clId="{F2BB4D5E-E5E5-4B84-8DD9-A7ADA0B72E44}" dt="2022-04-23T09:33:34.245" v="746" actId="478"/>
          <ac:spMkLst>
            <pc:docMk/>
            <pc:sldMk cId="2298534792" sldId="593"/>
            <ac:spMk id="5" creationId="{B1886A4C-E9E4-4111-BFDC-F9784FD52406}"/>
          </ac:spMkLst>
        </pc:spChg>
        <pc:graphicFrameChg chg="add mod modGraphic">
          <ac:chgData name="Thomas Stensitzki" userId="75cafe6b-2f2a-469b-85c4-eec3b9c972ba" providerId="ADAL" clId="{F2BB4D5E-E5E5-4B84-8DD9-A7ADA0B72E44}" dt="2022-04-23T09:46:19.893" v="1270" actId="207"/>
          <ac:graphicFrameMkLst>
            <pc:docMk/>
            <pc:sldMk cId="2298534792" sldId="593"/>
            <ac:graphicFrameMk id="6" creationId="{FE12EC38-BE45-436C-BBA0-59EECEE02FDE}"/>
          </ac:graphicFrameMkLst>
        </pc:graphicFrameChg>
      </pc:sldChg>
      <pc:sldChg chg="addSp modSp add mod ord modTransition modAnim">
        <pc:chgData name="Thomas Stensitzki" userId="75cafe6b-2f2a-469b-85c4-eec3b9c972ba" providerId="ADAL" clId="{F2BB4D5E-E5E5-4B84-8DD9-A7ADA0B72E44}" dt="2022-04-28T10:23:48.597" v="4310"/>
        <pc:sldMkLst>
          <pc:docMk/>
          <pc:sldMk cId="166762484" sldId="594"/>
        </pc:sldMkLst>
        <pc:spChg chg="mod">
          <ac:chgData name="Thomas Stensitzki" userId="75cafe6b-2f2a-469b-85c4-eec3b9c972ba" providerId="ADAL" clId="{F2BB4D5E-E5E5-4B84-8DD9-A7ADA0B72E44}" dt="2022-04-23T09:38:24.976" v="1076" actId="20577"/>
          <ac:spMkLst>
            <pc:docMk/>
            <pc:sldMk cId="166762484" sldId="594"/>
            <ac:spMk id="4" creationId="{041C0BDF-2374-4ACD-9289-35E2F2C5124D}"/>
          </ac:spMkLst>
        </pc:spChg>
        <pc:spChg chg="mod">
          <ac:chgData name="Thomas Stensitzki" userId="75cafe6b-2f2a-469b-85c4-eec3b9c972ba" providerId="ADAL" clId="{F2BB4D5E-E5E5-4B84-8DD9-A7ADA0B72E44}" dt="2022-04-23T09:42:20.878" v="1239" actId="20577"/>
          <ac:spMkLst>
            <pc:docMk/>
            <pc:sldMk cId="166762484" sldId="594"/>
            <ac:spMk id="5" creationId="{B1886A4C-E9E4-4111-BFDC-F9784FD52406}"/>
          </ac:spMkLst>
        </pc:spChg>
        <pc:graphicFrameChg chg="add mod">
          <ac:chgData name="Thomas Stensitzki" userId="75cafe6b-2f2a-469b-85c4-eec3b9c972ba" providerId="ADAL" clId="{F2BB4D5E-E5E5-4B84-8DD9-A7ADA0B72E44}" dt="2022-04-28T10:23:32.162" v="4308" actId="20577"/>
          <ac:graphicFrameMkLst>
            <pc:docMk/>
            <pc:sldMk cId="166762484" sldId="594"/>
            <ac:graphicFrameMk id="6" creationId="{E0427C03-BC88-4F0C-9059-80A1E40C7D42}"/>
          </ac:graphicFrameMkLst>
        </pc:graphicFrameChg>
      </pc:sldChg>
      <pc:sldChg chg="del">
        <pc:chgData name="Thomas Stensitzki" userId="75cafe6b-2f2a-469b-85c4-eec3b9c972ba" providerId="ADAL" clId="{F2BB4D5E-E5E5-4B84-8DD9-A7ADA0B72E44}" dt="2022-04-19T12:23:51.426" v="124" actId="47"/>
        <pc:sldMkLst>
          <pc:docMk/>
          <pc:sldMk cId="3620025916" sldId="594"/>
        </pc:sldMkLst>
      </pc:sldChg>
      <pc:sldChg chg="del">
        <pc:chgData name="Thomas Stensitzki" userId="75cafe6b-2f2a-469b-85c4-eec3b9c972ba" providerId="ADAL" clId="{F2BB4D5E-E5E5-4B84-8DD9-A7ADA0B72E44}" dt="2022-04-19T12:23:51.426" v="124" actId="47"/>
        <pc:sldMkLst>
          <pc:docMk/>
          <pc:sldMk cId="2243482533" sldId="595"/>
        </pc:sldMkLst>
      </pc:sldChg>
      <pc:sldChg chg="addSp delSp modSp add mod ord modTransition modAnim">
        <pc:chgData name="Thomas Stensitzki" userId="75cafe6b-2f2a-469b-85c4-eec3b9c972ba" providerId="ADAL" clId="{F2BB4D5E-E5E5-4B84-8DD9-A7ADA0B72E44}" dt="2022-04-28T10:22:18.488" v="4301"/>
        <pc:sldMkLst>
          <pc:docMk/>
          <pc:sldMk cId="2680249750" sldId="595"/>
        </pc:sldMkLst>
        <pc:spChg chg="add mod">
          <ac:chgData name="Thomas Stensitzki" userId="75cafe6b-2f2a-469b-85c4-eec3b9c972ba" providerId="ADAL" clId="{F2BB4D5E-E5E5-4B84-8DD9-A7ADA0B72E44}" dt="2022-04-28T10:21:58.399" v="4298" actId="164"/>
          <ac:spMkLst>
            <pc:docMk/>
            <pc:sldMk cId="2680249750" sldId="595"/>
            <ac:spMk id="2" creationId="{0305ABD0-F4F3-40B3-888E-96AF71CB1DA6}"/>
          </ac:spMkLst>
        </pc:spChg>
        <pc:spChg chg="add del mod">
          <ac:chgData name="Thomas Stensitzki" userId="75cafe6b-2f2a-469b-85c4-eec3b9c972ba" providerId="ADAL" clId="{F2BB4D5E-E5E5-4B84-8DD9-A7ADA0B72E44}" dt="2022-04-23T09:49:06.472" v="1284" actId="478"/>
          <ac:spMkLst>
            <pc:docMk/>
            <pc:sldMk cId="2680249750" sldId="595"/>
            <ac:spMk id="3" creationId="{61FBAB31-FA48-4D31-9459-197C2344446C}"/>
          </ac:spMkLst>
        </pc:spChg>
        <pc:spChg chg="del">
          <ac:chgData name="Thomas Stensitzki" userId="75cafe6b-2f2a-469b-85c4-eec3b9c972ba" providerId="ADAL" clId="{F2BB4D5E-E5E5-4B84-8DD9-A7ADA0B72E44}" dt="2022-04-23T09:49:03.774" v="1283" actId="478"/>
          <ac:spMkLst>
            <pc:docMk/>
            <pc:sldMk cId="2680249750" sldId="595"/>
            <ac:spMk id="5" creationId="{B1886A4C-E9E4-4111-BFDC-F9784FD52406}"/>
          </ac:spMkLst>
        </pc:spChg>
        <pc:spChg chg="add mod">
          <ac:chgData name="Thomas Stensitzki" userId="75cafe6b-2f2a-469b-85c4-eec3b9c972ba" providerId="ADAL" clId="{F2BB4D5E-E5E5-4B84-8DD9-A7ADA0B72E44}" dt="2022-04-24T09:18:44.485" v="2234" actId="1036"/>
          <ac:spMkLst>
            <pc:docMk/>
            <pc:sldMk cId="2680249750" sldId="595"/>
            <ac:spMk id="6" creationId="{03D53420-11EA-4D1B-9F13-CC90F632184E}"/>
          </ac:spMkLst>
        </pc:spChg>
        <pc:spChg chg="add mod">
          <ac:chgData name="Thomas Stensitzki" userId="75cafe6b-2f2a-469b-85c4-eec3b9c972ba" providerId="ADAL" clId="{F2BB4D5E-E5E5-4B84-8DD9-A7ADA0B72E44}" dt="2022-04-24T09:18:44.485" v="2234" actId="1036"/>
          <ac:spMkLst>
            <pc:docMk/>
            <pc:sldMk cId="2680249750" sldId="595"/>
            <ac:spMk id="7" creationId="{36EC7950-C586-452E-8736-1D139437B0BE}"/>
          </ac:spMkLst>
        </pc:spChg>
        <pc:spChg chg="add del mod">
          <ac:chgData name="Thomas Stensitzki" userId="75cafe6b-2f2a-469b-85c4-eec3b9c972ba" providerId="ADAL" clId="{F2BB4D5E-E5E5-4B84-8DD9-A7ADA0B72E44}" dt="2022-04-23T09:51:11.853" v="1339"/>
          <ac:spMkLst>
            <pc:docMk/>
            <pc:sldMk cId="2680249750" sldId="595"/>
            <ac:spMk id="8" creationId="{DC279190-4CB6-480E-AF96-2086CE4B6E5E}"/>
          </ac:spMkLst>
        </pc:spChg>
        <pc:spChg chg="add mod">
          <ac:chgData name="Thomas Stensitzki" userId="75cafe6b-2f2a-469b-85c4-eec3b9c972ba" providerId="ADAL" clId="{F2BB4D5E-E5E5-4B84-8DD9-A7ADA0B72E44}" dt="2022-04-24T09:18:44.485" v="2234" actId="1036"/>
          <ac:spMkLst>
            <pc:docMk/>
            <pc:sldMk cId="2680249750" sldId="595"/>
            <ac:spMk id="9" creationId="{183E4717-94DF-47D2-9915-B0740BADCA26}"/>
          </ac:spMkLst>
        </pc:spChg>
        <pc:spChg chg="add mod">
          <ac:chgData name="Thomas Stensitzki" userId="75cafe6b-2f2a-469b-85c4-eec3b9c972ba" providerId="ADAL" clId="{F2BB4D5E-E5E5-4B84-8DD9-A7ADA0B72E44}" dt="2022-04-24T09:18:44.485" v="2234" actId="1036"/>
          <ac:spMkLst>
            <pc:docMk/>
            <pc:sldMk cId="2680249750" sldId="595"/>
            <ac:spMk id="10" creationId="{8A0EDB2A-C407-4ACD-AABF-052E3018BAAE}"/>
          </ac:spMkLst>
        </pc:spChg>
        <pc:spChg chg="add del mod">
          <ac:chgData name="Thomas Stensitzki" userId="75cafe6b-2f2a-469b-85c4-eec3b9c972ba" providerId="ADAL" clId="{F2BB4D5E-E5E5-4B84-8DD9-A7ADA0B72E44}" dt="2022-04-24T09:13:03.995" v="1861" actId="478"/>
          <ac:spMkLst>
            <pc:docMk/>
            <pc:sldMk cId="2680249750" sldId="595"/>
            <ac:spMk id="12" creationId="{201D08FE-49C1-4893-90AF-1C661654B5B8}"/>
          </ac:spMkLst>
        </pc:spChg>
        <pc:spChg chg="add mod">
          <ac:chgData name="Thomas Stensitzki" userId="75cafe6b-2f2a-469b-85c4-eec3b9c972ba" providerId="ADAL" clId="{F2BB4D5E-E5E5-4B84-8DD9-A7ADA0B72E44}" dt="2022-04-24T09:20:03.658" v="2321" actId="20577"/>
          <ac:spMkLst>
            <pc:docMk/>
            <pc:sldMk cId="2680249750" sldId="595"/>
            <ac:spMk id="13" creationId="{5436A935-FA84-4846-93E7-93CEFA5AC377}"/>
          </ac:spMkLst>
        </pc:spChg>
        <pc:spChg chg="add mod">
          <ac:chgData name="Thomas Stensitzki" userId="75cafe6b-2f2a-469b-85c4-eec3b9c972ba" providerId="ADAL" clId="{F2BB4D5E-E5E5-4B84-8DD9-A7ADA0B72E44}" dt="2022-04-24T09:19:22.972" v="2289" actId="20577"/>
          <ac:spMkLst>
            <pc:docMk/>
            <pc:sldMk cId="2680249750" sldId="595"/>
            <ac:spMk id="14" creationId="{ED18F35C-CF61-4A9F-B2C4-B61A27B06582}"/>
          </ac:spMkLst>
        </pc:spChg>
        <pc:grpChg chg="add mod">
          <ac:chgData name="Thomas Stensitzki" userId="75cafe6b-2f2a-469b-85c4-eec3b9c972ba" providerId="ADAL" clId="{F2BB4D5E-E5E5-4B84-8DD9-A7ADA0B72E44}" dt="2022-04-28T10:21:58.399" v="4298" actId="164"/>
          <ac:grpSpMkLst>
            <pc:docMk/>
            <pc:sldMk cId="2680249750" sldId="595"/>
            <ac:grpSpMk id="3" creationId="{1B6F79AA-927D-43E6-A2D1-0ADCE97350FB}"/>
          </ac:grpSpMkLst>
        </pc:grpChg>
        <pc:graphicFrameChg chg="add mod modGraphic">
          <ac:chgData name="Thomas Stensitzki" userId="75cafe6b-2f2a-469b-85c4-eec3b9c972ba" providerId="ADAL" clId="{F2BB4D5E-E5E5-4B84-8DD9-A7ADA0B72E44}" dt="2022-04-28T10:21:58.399" v="4298" actId="164"/>
          <ac:graphicFrameMkLst>
            <pc:docMk/>
            <pc:sldMk cId="2680249750" sldId="595"/>
            <ac:graphicFrameMk id="11" creationId="{9F43C456-1D14-46BE-935A-666D21EDBB94}"/>
          </ac:graphicFrameMkLst>
        </pc:graphicFrameChg>
      </pc:sldChg>
      <pc:sldChg chg="modSp add mod ord modTransition">
        <pc:chgData name="Thomas Stensitzki" userId="75cafe6b-2f2a-469b-85c4-eec3b9c972ba" providerId="ADAL" clId="{F2BB4D5E-E5E5-4B84-8DD9-A7ADA0B72E44}" dt="2022-04-24T09:40:00.182" v="3780"/>
        <pc:sldMkLst>
          <pc:docMk/>
          <pc:sldMk cId="1109434383" sldId="596"/>
        </pc:sldMkLst>
        <pc:spChg chg="mod">
          <ac:chgData name="Thomas Stensitzki" userId="75cafe6b-2f2a-469b-85c4-eec3b9c972ba" providerId="ADAL" clId="{F2BB4D5E-E5E5-4B84-8DD9-A7ADA0B72E44}" dt="2022-04-23T09:56:57.517" v="1429" actId="20577"/>
          <ac:spMkLst>
            <pc:docMk/>
            <pc:sldMk cId="1109434383" sldId="596"/>
            <ac:spMk id="4" creationId="{041C0BDF-2374-4ACD-9289-35E2F2C5124D}"/>
          </ac:spMkLst>
        </pc:spChg>
        <pc:spChg chg="mod">
          <ac:chgData name="Thomas Stensitzki" userId="75cafe6b-2f2a-469b-85c4-eec3b9c972ba" providerId="ADAL" clId="{F2BB4D5E-E5E5-4B84-8DD9-A7ADA0B72E44}" dt="2022-04-23T09:57:01.592" v="1430" actId="20577"/>
          <ac:spMkLst>
            <pc:docMk/>
            <pc:sldMk cId="1109434383" sldId="596"/>
            <ac:spMk id="5" creationId="{B1886A4C-E9E4-4111-BFDC-F9784FD52406}"/>
          </ac:spMkLst>
        </pc:spChg>
      </pc:sldChg>
      <pc:sldChg chg="del">
        <pc:chgData name="Thomas Stensitzki" userId="75cafe6b-2f2a-469b-85c4-eec3b9c972ba" providerId="ADAL" clId="{F2BB4D5E-E5E5-4B84-8DD9-A7ADA0B72E44}" dt="2022-04-19T12:23:51.426" v="124" actId="47"/>
        <pc:sldMkLst>
          <pc:docMk/>
          <pc:sldMk cId="3273231213" sldId="596"/>
        </pc:sldMkLst>
      </pc:sldChg>
      <pc:sldChg chg="modSp mod modTransition">
        <pc:chgData name="Thomas Stensitzki" userId="75cafe6b-2f2a-469b-85c4-eec3b9c972ba" providerId="ADAL" clId="{F2BB4D5E-E5E5-4B84-8DD9-A7ADA0B72E44}" dt="2022-04-24T09:40:00.182" v="3780"/>
        <pc:sldMkLst>
          <pc:docMk/>
          <pc:sldMk cId="2098288780" sldId="597"/>
        </pc:sldMkLst>
        <pc:spChg chg="mod">
          <ac:chgData name="Thomas Stensitzki" userId="75cafe6b-2f2a-469b-85c4-eec3b9c972ba" providerId="ADAL" clId="{F2BB4D5E-E5E5-4B84-8DD9-A7ADA0B72E44}" dt="2022-04-24T09:20:56.838" v="2361" actId="20577"/>
          <ac:spMkLst>
            <pc:docMk/>
            <pc:sldMk cId="2098288780" sldId="597"/>
            <ac:spMk id="2" creationId="{42DA031A-C25A-9457-35EB-F99DDD69A1A1}"/>
          </ac:spMkLst>
        </pc:spChg>
        <pc:spChg chg="mod">
          <ac:chgData name="Thomas Stensitzki" userId="75cafe6b-2f2a-469b-85c4-eec3b9c972ba" providerId="ADAL" clId="{F2BB4D5E-E5E5-4B84-8DD9-A7ADA0B72E44}" dt="2022-04-24T09:01:42.525" v="1431" actId="790"/>
          <ac:spMkLst>
            <pc:docMk/>
            <pc:sldMk cId="2098288780" sldId="597"/>
            <ac:spMk id="3" creationId="{26C8DA23-4FF8-3D58-B509-BFFD25A330F7}"/>
          </ac:spMkLst>
        </pc:spChg>
      </pc:sldChg>
      <pc:sldChg chg="del">
        <pc:chgData name="Thomas Stensitzki" userId="75cafe6b-2f2a-469b-85c4-eec3b9c972ba" providerId="ADAL" clId="{F2BB4D5E-E5E5-4B84-8DD9-A7ADA0B72E44}" dt="2022-04-19T12:23:51.426" v="124" actId="47"/>
        <pc:sldMkLst>
          <pc:docMk/>
          <pc:sldMk cId="3646966063" sldId="597"/>
        </pc:sldMkLst>
      </pc:sldChg>
      <pc:sldChg chg="modSp mod modTransition">
        <pc:chgData name="Thomas Stensitzki" userId="75cafe6b-2f2a-469b-85c4-eec3b9c972ba" providerId="ADAL" clId="{F2BB4D5E-E5E5-4B84-8DD9-A7ADA0B72E44}" dt="2022-04-24T09:40:00.182" v="3780"/>
        <pc:sldMkLst>
          <pc:docMk/>
          <pc:sldMk cId="2122712351" sldId="598"/>
        </pc:sldMkLst>
        <pc:spChg chg="mod">
          <ac:chgData name="Thomas Stensitzki" userId="75cafe6b-2f2a-469b-85c4-eec3b9c972ba" providerId="ADAL" clId="{F2BB4D5E-E5E5-4B84-8DD9-A7ADA0B72E44}" dt="2022-04-24T09:09:14.024" v="1603" actId="790"/>
          <ac:spMkLst>
            <pc:docMk/>
            <pc:sldMk cId="2122712351" sldId="598"/>
            <ac:spMk id="2" creationId="{1BC691DD-DCF8-E22A-F993-2C3F954C9BA6}"/>
          </ac:spMkLst>
        </pc:spChg>
        <pc:spChg chg="mod">
          <ac:chgData name="Thomas Stensitzki" userId="75cafe6b-2f2a-469b-85c4-eec3b9c972ba" providerId="ADAL" clId="{F2BB4D5E-E5E5-4B84-8DD9-A7ADA0B72E44}" dt="2022-04-24T09:11:03.792" v="1816" actId="20577"/>
          <ac:spMkLst>
            <pc:docMk/>
            <pc:sldMk cId="2122712351" sldId="598"/>
            <ac:spMk id="3" creationId="{A854A4AE-7847-857F-6D74-A4294BB78EE3}"/>
          </ac:spMkLst>
        </pc:spChg>
      </pc:sldChg>
      <pc:sldChg chg="del">
        <pc:chgData name="Thomas Stensitzki" userId="75cafe6b-2f2a-469b-85c4-eec3b9c972ba" providerId="ADAL" clId="{F2BB4D5E-E5E5-4B84-8DD9-A7ADA0B72E44}" dt="2022-04-19T12:23:51.426" v="124" actId="47"/>
        <pc:sldMkLst>
          <pc:docMk/>
          <pc:sldMk cId="2538300061" sldId="598"/>
        </pc:sldMkLst>
      </pc:sldChg>
      <pc:sldChg chg="modSp add mod modTransition">
        <pc:chgData name="Thomas Stensitzki" userId="75cafe6b-2f2a-469b-85c4-eec3b9c972ba" providerId="ADAL" clId="{F2BB4D5E-E5E5-4B84-8DD9-A7ADA0B72E44}" dt="2022-04-24T09:40:00.182" v="3780"/>
        <pc:sldMkLst>
          <pc:docMk/>
          <pc:sldMk cId="1914820320" sldId="599"/>
        </pc:sldMkLst>
        <pc:spChg chg="mod">
          <ac:chgData name="Thomas Stensitzki" userId="75cafe6b-2f2a-469b-85c4-eec3b9c972ba" providerId="ADAL" clId="{F2BB4D5E-E5E5-4B84-8DD9-A7ADA0B72E44}" dt="2022-04-24T09:08:35.906" v="1600" actId="20577"/>
          <ac:spMkLst>
            <pc:docMk/>
            <pc:sldMk cId="1914820320" sldId="599"/>
            <ac:spMk id="2" creationId="{1BC691DD-DCF8-E22A-F993-2C3F954C9BA6}"/>
          </ac:spMkLst>
        </pc:spChg>
        <pc:spChg chg="mod">
          <ac:chgData name="Thomas Stensitzki" userId="75cafe6b-2f2a-469b-85c4-eec3b9c972ba" providerId="ADAL" clId="{F2BB4D5E-E5E5-4B84-8DD9-A7ADA0B72E44}" dt="2022-04-24T09:25:14.890" v="2635" actId="20577"/>
          <ac:spMkLst>
            <pc:docMk/>
            <pc:sldMk cId="1914820320" sldId="599"/>
            <ac:spMk id="3" creationId="{A854A4AE-7847-857F-6D74-A4294BB78EE3}"/>
          </ac:spMkLst>
        </pc:spChg>
      </pc:sldChg>
      <pc:sldChg chg="del">
        <pc:chgData name="Thomas Stensitzki" userId="75cafe6b-2f2a-469b-85c4-eec3b9c972ba" providerId="ADAL" clId="{F2BB4D5E-E5E5-4B84-8DD9-A7ADA0B72E44}" dt="2022-04-19T12:23:51.426" v="124" actId="47"/>
        <pc:sldMkLst>
          <pc:docMk/>
          <pc:sldMk cId="2905309205" sldId="599"/>
        </pc:sldMkLst>
      </pc:sldChg>
      <pc:sldChg chg="del">
        <pc:chgData name="Thomas Stensitzki" userId="75cafe6b-2f2a-469b-85c4-eec3b9c972ba" providerId="ADAL" clId="{F2BB4D5E-E5E5-4B84-8DD9-A7ADA0B72E44}" dt="2022-04-19T12:23:51.426" v="124" actId="47"/>
        <pc:sldMkLst>
          <pc:docMk/>
          <pc:sldMk cId="2549681173" sldId="600"/>
        </pc:sldMkLst>
      </pc:sldChg>
      <pc:sldChg chg="addSp delSp modSp add mod modTransition modAnim">
        <pc:chgData name="Thomas Stensitzki" userId="75cafe6b-2f2a-469b-85c4-eec3b9c972ba" providerId="ADAL" clId="{F2BB4D5E-E5E5-4B84-8DD9-A7ADA0B72E44}" dt="2022-04-28T17:04:34.292" v="4323" actId="20577"/>
        <pc:sldMkLst>
          <pc:docMk/>
          <pc:sldMk cId="3219683340" sldId="600"/>
        </pc:sldMkLst>
        <pc:spChg chg="mod">
          <ac:chgData name="Thomas Stensitzki" userId="75cafe6b-2f2a-469b-85c4-eec3b9c972ba" providerId="ADAL" clId="{F2BB4D5E-E5E5-4B84-8DD9-A7ADA0B72E44}" dt="2022-04-24T09:20:49.683" v="2351" actId="20577"/>
          <ac:spMkLst>
            <pc:docMk/>
            <pc:sldMk cId="3219683340" sldId="600"/>
            <ac:spMk id="2" creationId="{42DA031A-C25A-9457-35EB-F99DDD69A1A1}"/>
          </ac:spMkLst>
        </pc:spChg>
        <pc:spChg chg="mod">
          <ac:chgData name="Thomas Stensitzki" userId="75cafe6b-2f2a-469b-85c4-eec3b9c972ba" providerId="ADAL" clId="{F2BB4D5E-E5E5-4B84-8DD9-A7ADA0B72E44}" dt="2022-04-24T09:27:28.247" v="2835" actId="20577"/>
          <ac:spMkLst>
            <pc:docMk/>
            <pc:sldMk cId="3219683340" sldId="600"/>
            <ac:spMk id="3" creationId="{26C8DA23-4FF8-3D58-B509-BFFD25A330F7}"/>
          </ac:spMkLst>
        </pc:spChg>
        <pc:spChg chg="add mod">
          <ac:chgData name="Thomas Stensitzki" userId="75cafe6b-2f2a-469b-85c4-eec3b9c972ba" providerId="ADAL" clId="{F2BB4D5E-E5E5-4B84-8DD9-A7ADA0B72E44}" dt="2022-04-26T16:08:42.422" v="3885" actId="113"/>
          <ac:spMkLst>
            <pc:docMk/>
            <pc:sldMk cId="3219683340" sldId="600"/>
            <ac:spMk id="18" creationId="{FDB045ED-2681-481D-8BBB-0339D5F1B98E}"/>
          </ac:spMkLst>
        </pc:spChg>
        <pc:spChg chg="add mod">
          <ac:chgData name="Thomas Stensitzki" userId="75cafe6b-2f2a-469b-85c4-eec3b9c972ba" providerId="ADAL" clId="{F2BB4D5E-E5E5-4B84-8DD9-A7ADA0B72E44}" dt="2022-04-26T16:11:05.177" v="3915" actId="1076"/>
          <ac:spMkLst>
            <pc:docMk/>
            <pc:sldMk cId="3219683340" sldId="600"/>
            <ac:spMk id="29" creationId="{D2DABD96-B1CE-4872-A5A0-009CFD4E1BC2}"/>
          </ac:spMkLst>
        </pc:spChg>
        <pc:spChg chg="add mod">
          <ac:chgData name="Thomas Stensitzki" userId="75cafe6b-2f2a-469b-85c4-eec3b9c972ba" providerId="ADAL" clId="{F2BB4D5E-E5E5-4B84-8DD9-A7ADA0B72E44}" dt="2022-04-26T16:12:52.700" v="3967" actId="1076"/>
          <ac:spMkLst>
            <pc:docMk/>
            <pc:sldMk cId="3219683340" sldId="600"/>
            <ac:spMk id="37" creationId="{EE080D15-584F-461D-967A-C749B5321AE9}"/>
          </ac:spMkLst>
        </pc:spChg>
        <pc:spChg chg="add mod">
          <ac:chgData name="Thomas Stensitzki" userId="75cafe6b-2f2a-469b-85c4-eec3b9c972ba" providerId="ADAL" clId="{F2BB4D5E-E5E5-4B84-8DD9-A7ADA0B72E44}" dt="2022-04-28T17:04:34.292" v="4323" actId="20577"/>
          <ac:spMkLst>
            <pc:docMk/>
            <pc:sldMk cId="3219683340" sldId="600"/>
            <ac:spMk id="38" creationId="{49475427-8FDB-4757-B791-1CEB498582EC}"/>
          </ac:spMkLst>
        </pc:spChg>
        <pc:spChg chg="add mod">
          <ac:chgData name="Thomas Stensitzki" userId="75cafe6b-2f2a-469b-85c4-eec3b9c972ba" providerId="ADAL" clId="{F2BB4D5E-E5E5-4B84-8DD9-A7ADA0B72E44}" dt="2022-04-26T16:31:49.342" v="4137" actId="1036"/>
          <ac:spMkLst>
            <pc:docMk/>
            <pc:sldMk cId="3219683340" sldId="600"/>
            <ac:spMk id="39" creationId="{1AD36E6D-E52B-4438-9D5C-0D8A9391F67D}"/>
          </ac:spMkLst>
        </pc:spChg>
        <pc:spChg chg="add del mod">
          <ac:chgData name="Thomas Stensitzki" userId="75cafe6b-2f2a-469b-85c4-eec3b9c972ba" providerId="ADAL" clId="{F2BB4D5E-E5E5-4B84-8DD9-A7ADA0B72E44}" dt="2022-04-26T16:15:02.071" v="4028" actId="478"/>
          <ac:spMkLst>
            <pc:docMk/>
            <pc:sldMk cId="3219683340" sldId="600"/>
            <ac:spMk id="40" creationId="{13C8E47B-71DE-48EA-BC7F-6D61DA2E9505}"/>
          </ac:spMkLst>
        </pc:spChg>
        <pc:picChg chg="add mod">
          <ac:chgData name="Thomas Stensitzki" userId="75cafe6b-2f2a-469b-85c4-eec3b9c972ba" providerId="ADAL" clId="{F2BB4D5E-E5E5-4B84-8DD9-A7ADA0B72E44}" dt="2022-04-26T16:31:46.083" v="4136" actId="1076"/>
          <ac:picMkLst>
            <pc:docMk/>
            <pc:sldMk cId="3219683340" sldId="600"/>
            <ac:picMk id="5" creationId="{52C17E62-62C2-4B6E-86D0-CD6B4B3C6000}"/>
          </ac:picMkLst>
        </pc:picChg>
        <pc:picChg chg="add mod">
          <ac:chgData name="Thomas Stensitzki" userId="75cafe6b-2f2a-469b-85c4-eec3b9c972ba" providerId="ADAL" clId="{F2BB4D5E-E5E5-4B84-8DD9-A7ADA0B72E44}" dt="2022-04-26T16:10:06.885" v="3897" actId="1076"/>
          <ac:picMkLst>
            <pc:docMk/>
            <pc:sldMk cId="3219683340" sldId="600"/>
            <ac:picMk id="10" creationId="{E06AFBDC-4342-4723-B07C-85B0BDA87245}"/>
          </ac:picMkLst>
        </pc:picChg>
        <pc:picChg chg="add mod">
          <ac:chgData name="Thomas Stensitzki" userId="75cafe6b-2f2a-469b-85c4-eec3b9c972ba" providerId="ADAL" clId="{F2BB4D5E-E5E5-4B84-8DD9-A7ADA0B72E44}" dt="2022-04-26T16:08:05.774" v="3855" actId="1036"/>
          <ac:picMkLst>
            <pc:docMk/>
            <pc:sldMk cId="3219683340" sldId="600"/>
            <ac:picMk id="12" creationId="{5E5EC498-0101-4C86-9E53-C81AA49E093C}"/>
          </ac:picMkLst>
        </pc:picChg>
        <pc:picChg chg="add mod">
          <ac:chgData name="Thomas Stensitzki" userId="75cafe6b-2f2a-469b-85c4-eec3b9c972ba" providerId="ADAL" clId="{F2BB4D5E-E5E5-4B84-8DD9-A7ADA0B72E44}" dt="2022-04-26T16:08:05.774" v="3855" actId="1036"/>
          <ac:picMkLst>
            <pc:docMk/>
            <pc:sldMk cId="3219683340" sldId="600"/>
            <ac:picMk id="13" creationId="{FFAC5EDB-2A19-4E38-A455-9501E594F3A5}"/>
          </ac:picMkLst>
        </pc:picChg>
        <pc:picChg chg="add mod ord">
          <ac:chgData name="Thomas Stensitzki" userId="75cafe6b-2f2a-469b-85c4-eec3b9c972ba" providerId="ADAL" clId="{F2BB4D5E-E5E5-4B84-8DD9-A7ADA0B72E44}" dt="2022-04-26T16:11:18.612" v="3919" actId="1076"/>
          <ac:picMkLst>
            <pc:docMk/>
            <pc:sldMk cId="3219683340" sldId="600"/>
            <ac:picMk id="15" creationId="{AA7863BC-88E9-4263-B10B-5101AA1FD56E}"/>
          </ac:picMkLst>
        </pc:picChg>
        <pc:picChg chg="add mod">
          <ac:chgData name="Thomas Stensitzki" userId="75cafe6b-2f2a-469b-85c4-eec3b9c972ba" providerId="ADAL" clId="{F2BB4D5E-E5E5-4B84-8DD9-A7ADA0B72E44}" dt="2022-04-26T16:11:27.848" v="3920" actId="1076"/>
          <ac:picMkLst>
            <pc:docMk/>
            <pc:sldMk cId="3219683340" sldId="600"/>
            <ac:picMk id="17" creationId="{C9E57623-EEB5-47C8-8F2F-DD87A118B7B5}"/>
          </ac:picMkLst>
        </pc:picChg>
        <pc:picChg chg="add mod">
          <ac:chgData name="Thomas Stensitzki" userId="75cafe6b-2f2a-469b-85c4-eec3b9c972ba" providerId="ADAL" clId="{F2BB4D5E-E5E5-4B84-8DD9-A7ADA0B72E44}" dt="2022-04-26T16:10:11.545" v="3908" actId="1036"/>
          <ac:picMkLst>
            <pc:docMk/>
            <pc:sldMk cId="3219683340" sldId="600"/>
            <ac:picMk id="22" creationId="{EF0DC9B3-DBD4-4BDF-94AD-472B2754B9BF}"/>
          </ac:picMkLst>
        </pc:picChg>
        <pc:picChg chg="add mod">
          <ac:chgData name="Thomas Stensitzki" userId="75cafe6b-2f2a-469b-85c4-eec3b9c972ba" providerId="ADAL" clId="{F2BB4D5E-E5E5-4B84-8DD9-A7ADA0B72E44}" dt="2022-04-26T16:11:40.300" v="3922" actId="1076"/>
          <ac:picMkLst>
            <pc:docMk/>
            <pc:sldMk cId="3219683340" sldId="600"/>
            <ac:picMk id="31" creationId="{610E0D5C-D285-4EE7-98BD-6CE5FA364D82}"/>
          </ac:picMkLst>
        </pc:picChg>
        <pc:picChg chg="add mod">
          <ac:chgData name="Thomas Stensitzki" userId="75cafe6b-2f2a-469b-85c4-eec3b9c972ba" providerId="ADAL" clId="{F2BB4D5E-E5E5-4B84-8DD9-A7ADA0B72E44}" dt="2022-04-26T16:11:46.159" v="3924" actId="1076"/>
          <ac:picMkLst>
            <pc:docMk/>
            <pc:sldMk cId="3219683340" sldId="600"/>
            <ac:picMk id="32" creationId="{18B07C87-7953-45F8-9C75-BDC8022C9ADD}"/>
          </ac:picMkLst>
        </pc:picChg>
        <pc:picChg chg="add mod">
          <ac:chgData name="Thomas Stensitzki" userId="75cafe6b-2f2a-469b-85c4-eec3b9c972ba" providerId="ADAL" clId="{F2BB4D5E-E5E5-4B84-8DD9-A7ADA0B72E44}" dt="2022-04-26T16:12:05.420" v="3926" actId="1076"/>
          <ac:picMkLst>
            <pc:docMk/>
            <pc:sldMk cId="3219683340" sldId="600"/>
            <ac:picMk id="33" creationId="{DF6D5843-3474-443F-969C-A0FC232D3FCC}"/>
          </ac:picMkLst>
        </pc:picChg>
        <pc:picChg chg="add mod">
          <ac:chgData name="Thomas Stensitzki" userId="75cafe6b-2f2a-469b-85c4-eec3b9c972ba" providerId="ADAL" clId="{F2BB4D5E-E5E5-4B84-8DD9-A7ADA0B72E44}" dt="2022-04-26T16:20:34.383" v="4049" actId="1076"/>
          <ac:picMkLst>
            <pc:docMk/>
            <pc:sldMk cId="3219683340" sldId="600"/>
            <ac:picMk id="42" creationId="{B459E22E-519F-436D-A34C-9FD7F69EEF6B}"/>
          </ac:picMkLst>
        </pc:picChg>
        <pc:picChg chg="add mod">
          <ac:chgData name="Thomas Stensitzki" userId="75cafe6b-2f2a-469b-85c4-eec3b9c972ba" providerId="ADAL" clId="{F2BB4D5E-E5E5-4B84-8DD9-A7ADA0B72E44}" dt="2022-04-26T16:29:08.914" v="4052" actId="1076"/>
          <ac:picMkLst>
            <pc:docMk/>
            <pc:sldMk cId="3219683340" sldId="600"/>
            <ac:picMk id="44" creationId="{D6762ACE-9B89-4EEE-94DC-33317C79FAC5}"/>
          </ac:picMkLst>
        </pc:picChg>
        <pc:picChg chg="add mod">
          <ac:chgData name="Thomas Stensitzki" userId="75cafe6b-2f2a-469b-85c4-eec3b9c972ba" providerId="ADAL" clId="{F2BB4D5E-E5E5-4B84-8DD9-A7ADA0B72E44}" dt="2022-04-26T16:30:40.388" v="4128" actId="1076"/>
          <ac:picMkLst>
            <pc:docMk/>
            <pc:sldMk cId="3219683340" sldId="600"/>
            <ac:picMk id="46" creationId="{379292BE-A069-41D6-91EE-DB566DBD9729}"/>
          </ac:picMkLst>
        </pc:picChg>
        <pc:picChg chg="add mod">
          <ac:chgData name="Thomas Stensitzki" userId="75cafe6b-2f2a-469b-85c4-eec3b9c972ba" providerId="ADAL" clId="{F2BB4D5E-E5E5-4B84-8DD9-A7ADA0B72E44}" dt="2022-04-26T16:31:21.970" v="4131" actId="1076"/>
          <ac:picMkLst>
            <pc:docMk/>
            <pc:sldMk cId="3219683340" sldId="600"/>
            <ac:picMk id="48" creationId="{4B1566AC-B7DD-4B3E-AA51-E72E150F462E}"/>
          </ac:picMkLst>
        </pc:picChg>
        <pc:cxnChg chg="add mod">
          <ac:chgData name="Thomas Stensitzki" userId="75cafe6b-2f2a-469b-85c4-eec3b9c972ba" providerId="ADAL" clId="{F2BB4D5E-E5E5-4B84-8DD9-A7ADA0B72E44}" dt="2022-04-26T16:10:06.885" v="3897" actId="1076"/>
          <ac:cxnSpMkLst>
            <pc:docMk/>
            <pc:sldMk cId="3219683340" sldId="600"/>
            <ac:cxnSpMk id="20" creationId="{3F4C711B-3BF8-4242-8089-B99CD41EDA3A}"/>
          </ac:cxnSpMkLst>
        </pc:cxnChg>
        <pc:cxnChg chg="add mod">
          <ac:chgData name="Thomas Stensitzki" userId="75cafe6b-2f2a-469b-85c4-eec3b9c972ba" providerId="ADAL" clId="{F2BB4D5E-E5E5-4B84-8DD9-A7ADA0B72E44}" dt="2022-04-26T16:11:10.231" v="3916" actId="14100"/>
          <ac:cxnSpMkLst>
            <pc:docMk/>
            <pc:sldMk cId="3219683340" sldId="600"/>
            <ac:cxnSpMk id="25" creationId="{5F2D803D-2CAD-410F-A215-83FA65E26555}"/>
          </ac:cxnSpMkLst>
        </pc:cxnChg>
        <pc:cxnChg chg="add mod">
          <ac:chgData name="Thomas Stensitzki" userId="75cafe6b-2f2a-469b-85c4-eec3b9c972ba" providerId="ADAL" clId="{F2BB4D5E-E5E5-4B84-8DD9-A7ADA0B72E44}" dt="2022-04-28T08:46:50.892" v="4144" actId="14100"/>
          <ac:cxnSpMkLst>
            <pc:docMk/>
            <pc:sldMk cId="3219683340" sldId="600"/>
            <ac:cxnSpMk id="30" creationId="{9CF5BA9F-21B1-442D-8288-1C9DC04C5BAF}"/>
          </ac:cxnSpMkLst>
        </pc:cxnChg>
        <pc:cxnChg chg="add mod">
          <ac:chgData name="Thomas Stensitzki" userId="75cafe6b-2f2a-469b-85c4-eec3b9c972ba" providerId="ADAL" clId="{F2BB4D5E-E5E5-4B84-8DD9-A7ADA0B72E44}" dt="2022-04-26T16:12:16.134" v="3930" actId="14100"/>
          <ac:cxnSpMkLst>
            <pc:docMk/>
            <pc:sldMk cId="3219683340" sldId="600"/>
            <ac:cxnSpMk id="34" creationId="{B557A335-2875-4546-A6FF-9E8841BB6885}"/>
          </ac:cxnSpMkLst>
        </pc:cxnChg>
        <pc:cxnChg chg="add mod">
          <ac:chgData name="Thomas Stensitzki" userId="75cafe6b-2f2a-469b-85c4-eec3b9c972ba" providerId="ADAL" clId="{F2BB4D5E-E5E5-4B84-8DD9-A7ADA0B72E44}" dt="2022-04-28T08:47:10.367" v="4148" actId="14100"/>
          <ac:cxnSpMkLst>
            <pc:docMk/>
            <pc:sldMk cId="3219683340" sldId="600"/>
            <ac:cxnSpMk id="35" creationId="{9763E9DC-0775-4C7E-8D72-C38312BC7AAE}"/>
          </ac:cxnSpMkLst>
        </pc:cxnChg>
        <pc:cxnChg chg="add mod">
          <ac:chgData name="Thomas Stensitzki" userId="75cafe6b-2f2a-469b-85c4-eec3b9c972ba" providerId="ADAL" clId="{F2BB4D5E-E5E5-4B84-8DD9-A7ADA0B72E44}" dt="2022-04-28T08:47:27.848" v="4152" actId="33986"/>
          <ac:cxnSpMkLst>
            <pc:docMk/>
            <pc:sldMk cId="3219683340" sldId="600"/>
            <ac:cxnSpMk id="40" creationId="{67EEAFAD-5939-4056-B8FC-7F629E76E079}"/>
          </ac:cxnSpMkLst>
        </pc:cxnChg>
        <pc:cxnChg chg="add mod">
          <ac:chgData name="Thomas Stensitzki" userId="75cafe6b-2f2a-469b-85c4-eec3b9c972ba" providerId="ADAL" clId="{F2BB4D5E-E5E5-4B84-8DD9-A7ADA0B72E44}" dt="2022-04-26T16:31:46.083" v="4136" actId="1076"/>
          <ac:cxnSpMkLst>
            <pc:docMk/>
            <pc:sldMk cId="3219683340" sldId="600"/>
            <ac:cxnSpMk id="49" creationId="{23E54E31-7CF6-45C0-85FB-97E48F8560BC}"/>
          </ac:cxnSpMkLst>
        </pc:cxnChg>
      </pc:sldChg>
      <pc:sldChg chg="del">
        <pc:chgData name="Thomas Stensitzki" userId="75cafe6b-2f2a-469b-85c4-eec3b9c972ba" providerId="ADAL" clId="{F2BB4D5E-E5E5-4B84-8DD9-A7ADA0B72E44}" dt="2022-04-19T12:23:51.426" v="124" actId="47"/>
        <pc:sldMkLst>
          <pc:docMk/>
          <pc:sldMk cId="1353242244" sldId="601"/>
        </pc:sldMkLst>
      </pc:sldChg>
      <pc:sldChg chg="addSp delSp modSp add mod modTransition modAnim">
        <pc:chgData name="Thomas Stensitzki" userId="75cafe6b-2f2a-469b-85c4-eec3b9c972ba" providerId="ADAL" clId="{F2BB4D5E-E5E5-4B84-8DD9-A7ADA0B72E44}" dt="2022-04-28T08:48:51.039" v="4156"/>
        <pc:sldMkLst>
          <pc:docMk/>
          <pc:sldMk cId="1699378225" sldId="601"/>
        </pc:sldMkLst>
        <pc:spChg chg="mod">
          <ac:chgData name="Thomas Stensitzki" userId="75cafe6b-2f2a-469b-85c4-eec3b9c972ba" providerId="ADAL" clId="{F2BB4D5E-E5E5-4B84-8DD9-A7ADA0B72E44}" dt="2022-04-24T09:28:39.592" v="2886" actId="20577"/>
          <ac:spMkLst>
            <pc:docMk/>
            <pc:sldMk cId="1699378225" sldId="601"/>
            <ac:spMk id="2" creationId="{1BC691DD-DCF8-E22A-F993-2C3F954C9BA6}"/>
          </ac:spMkLst>
        </pc:spChg>
        <pc:spChg chg="del">
          <ac:chgData name="Thomas Stensitzki" userId="75cafe6b-2f2a-469b-85c4-eec3b9c972ba" providerId="ADAL" clId="{F2BB4D5E-E5E5-4B84-8DD9-A7ADA0B72E44}" dt="2022-04-24T09:28:42.537" v="2887" actId="478"/>
          <ac:spMkLst>
            <pc:docMk/>
            <pc:sldMk cId="1699378225" sldId="601"/>
            <ac:spMk id="3" creationId="{A854A4AE-7847-857F-6D74-A4294BB78EE3}"/>
          </ac:spMkLst>
        </pc:spChg>
        <pc:spChg chg="add del mod">
          <ac:chgData name="Thomas Stensitzki" userId="75cafe6b-2f2a-469b-85c4-eec3b9c972ba" providerId="ADAL" clId="{F2BB4D5E-E5E5-4B84-8DD9-A7ADA0B72E44}" dt="2022-04-24T09:28:44.272" v="2888" actId="478"/>
          <ac:spMkLst>
            <pc:docMk/>
            <pc:sldMk cId="1699378225" sldId="601"/>
            <ac:spMk id="5" creationId="{D0DA9F89-12F6-4F58-AB4D-D818EDA63B4B}"/>
          </ac:spMkLst>
        </pc:spChg>
        <pc:graphicFrameChg chg="add mod">
          <ac:chgData name="Thomas Stensitzki" userId="75cafe6b-2f2a-469b-85c4-eec3b9c972ba" providerId="ADAL" clId="{F2BB4D5E-E5E5-4B84-8DD9-A7ADA0B72E44}" dt="2022-04-24T09:38:44.523" v="3707" actId="12269"/>
          <ac:graphicFrameMkLst>
            <pc:docMk/>
            <pc:sldMk cId="1699378225" sldId="601"/>
            <ac:graphicFrameMk id="6" creationId="{D1D96EDD-D275-4A9A-99C4-336903FE38B5}"/>
          </ac:graphicFrameMkLst>
        </pc:graphicFrameChg>
      </pc:sldChg>
      <pc:sldChg chg="addSp delSp modSp new mod modTransition modClrScheme modAnim chgLayout">
        <pc:chgData name="Thomas Stensitzki" userId="75cafe6b-2f2a-469b-85c4-eec3b9c972ba" providerId="ADAL" clId="{F2BB4D5E-E5E5-4B84-8DD9-A7ADA0B72E44}" dt="2022-04-24T09:40:07.481" v="3781"/>
        <pc:sldMkLst>
          <pc:docMk/>
          <pc:sldMk cId="131291966" sldId="602"/>
        </pc:sldMkLst>
        <pc:spChg chg="del mod ord">
          <ac:chgData name="Thomas Stensitzki" userId="75cafe6b-2f2a-469b-85c4-eec3b9c972ba" providerId="ADAL" clId="{F2BB4D5E-E5E5-4B84-8DD9-A7ADA0B72E44}" dt="2022-04-24T09:39:18.674" v="3709" actId="700"/>
          <ac:spMkLst>
            <pc:docMk/>
            <pc:sldMk cId="131291966" sldId="602"/>
            <ac:spMk id="2" creationId="{453DDC64-D0AE-4863-BD9E-DCA859A57142}"/>
          </ac:spMkLst>
        </pc:spChg>
        <pc:spChg chg="del mod ord">
          <ac:chgData name="Thomas Stensitzki" userId="75cafe6b-2f2a-469b-85c4-eec3b9c972ba" providerId="ADAL" clId="{F2BB4D5E-E5E5-4B84-8DD9-A7ADA0B72E44}" dt="2022-04-24T09:39:18.674" v="3709" actId="700"/>
          <ac:spMkLst>
            <pc:docMk/>
            <pc:sldMk cId="131291966" sldId="602"/>
            <ac:spMk id="3" creationId="{888D0467-D9F9-4D05-A2C3-26242D461863}"/>
          </ac:spMkLst>
        </pc:spChg>
        <pc:spChg chg="add mod ord">
          <ac:chgData name="Thomas Stensitzki" userId="75cafe6b-2f2a-469b-85c4-eec3b9c972ba" providerId="ADAL" clId="{F2BB4D5E-E5E5-4B84-8DD9-A7ADA0B72E44}" dt="2022-04-24T09:39:50.499" v="3779" actId="20577"/>
          <ac:spMkLst>
            <pc:docMk/>
            <pc:sldMk cId="131291966" sldId="602"/>
            <ac:spMk id="4" creationId="{6C908133-7121-4AFA-B3AD-60A9B860C54F}"/>
          </ac:spMkLst>
        </pc:spChg>
        <pc:spChg chg="add mod ord">
          <ac:chgData name="Thomas Stensitzki" userId="75cafe6b-2f2a-469b-85c4-eec3b9c972ba" providerId="ADAL" clId="{F2BB4D5E-E5E5-4B84-8DD9-A7ADA0B72E44}" dt="2022-04-24T09:39:18.674" v="3709" actId="700"/>
          <ac:spMkLst>
            <pc:docMk/>
            <pc:sldMk cId="131291966" sldId="602"/>
            <ac:spMk id="5" creationId="{4FF62253-DB41-4277-974D-4E59CB549435}"/>
          </ac:spMkLst>
        </pc:spChg>
      </pc:sldChg>
      <pc:sldChg chg="del">
        <pc:chgData name="Thomas Stensitzki" userId="75cafe6b-2f2a-469b-85c4-eec3b9c972ba" providerId="ADAL" clId="{F2BB4D5E-E5E5-4B84-8DD9-A7ADA0B72E44}" dt="2022-04-19T12:23:51.426" v="124" actId="47"/>
        <pc:sldMkLst>
          <pc:docMk/>
          <pc:sldMk cId="1032519195" sldId="602"/>
        </pc:sldMkLst>
      </pc:sldChg>
      <pc:sldChg chg="del">
        <pc:chgData name="Thomas Stensitzki" userId="75cafe6b-2f2a-469b-85c4-eec3b9c972ba" providerId="ADAL" clId="{F2BB4D5E-E5E5-4B84-8DD9-A7ADA0B72E44}" dt="2022-04-19T12:23:51.426" v="124" actId="47"/>
        <pc:sldMkLst>
          <pc:docMk/>
          <pc:sldMk cId="167954962" sldId="603"/>
        </pc:sldMkLst>
      </pc:sldChg>
      <pc:sldChg chg="del">
        <pc:chgData name="Thomas Stensitzki" userId="75cafe6b-2f2a-469b-85c4-eec3b9c972ba" providerId="ADAL" clId="{F2BB4D5E-E5E5-4B84-8DD9-A7ADA0B72E44}" dt="2022-04-19T12:23:55.448" v="125" actId="47"/>
        <pc:sldMkLst>
          <pc:docMk/>
          <pc:sldMk cId="1319860976" sldId="604"/>
        </pc:sldMkLst>
      </pc:sldChg>
      <pc:sldChg chg="modSp mod">
        <pc:chgData name="Thomas Stensitzki" userId="75cafe6b-2f2a-469b-85c4-eec3b9c972ba" providerId="ADAL" clId="{F2BB4D5E-E5E5-4B84-8DD9-A7ADA0B72E44}" dt="2022-04-28T17:45:02.566" v="4337" actId="20577"/>
        <pc:sldMkLst>
          <pc:docMk/>
          <pc:sldMk cId="4098706796" sldId="604"/>
        </pc:sldMkLst>
        <pc:spChg chg="mod">
          <ac:chgData name="Thomas Stensitzki" userId="75cafe6b-2f2a-469b-85c4-eec3b9c972ba" providerId="ADAL" clId="{F2BB4D5E-E5E5-4B84-8DD9-A7ADA0B72E44}" dt="2022-04-28T17:45:02.566" v="4337" actId="20577"/>
          <ac:spMkLst>
            <pc:docMk/>
            <pc:sldMk cId="4098706796" sldId="604"/>
            <ac:spMk id="3" creationId="{26C8DA23-4FF8-3D58-B509-BFFD25A330F7}"/>
          </ac:spMkLst>
        </pc:spChg>
      </pc:sldChg>
      <pc:sldChg chg="del">
        <pc:chgData name="Thomas Stensitzki" userId="75cafe6b-2f2a-469b-85c4-eec3b9c972ba" providerId="ADAL" clId="{F2BB4D5E-E5E5-4B84-8DD9-A7ADA0B72E44}" dt="2022-04-19T12:23:55.448" v="125" actId="47"/>
        <pc:sldMkLst>
          <pc:docMk/>
          <pc:sldMk cId="960196194" sldId="605"/>
        </pc:sldMkLst>
      </pc:sldChg>
      <pc:sldChg chg="modSp mod">
        <pc:chgData name="Thomas Stensitzki" userId="75cafe6b-2f2a-469b-85c4-eec3b9c972ba" providerId="ADAL" clId="{F2BB4D5E-E5E5-4B84-8DD9-A7ADA0B72E44}" dt="2022-05-10T08:03:07.444" v="4346" actId="20577"/>
        <pc:sldMkLst>
          <pc:docMk/>
          <pc:sldMk cId="1856989855" sldId="606"/>
        </pc:sldMkLst>
        <pc:spChg chg="mod">
          <ac:chgData name="Thomas Stensitzki" userId="75cafe6b-2f2a-469b-85c4-eec3b9c972ba" providerId="ADAL" clId="{F2BB4D5E-E5E5-4B84-8DD9-A7ADA0B72E44}" dt="2022-05-10T08:03:07.444" v="4346" actId="20577"/>
          <ac:spMkLst>
            <pc:docMk/>
            <pc:sldMk cId="1856989855" sldId="606"/>
            <ac:spMk id="4" creationId="{F3A15CBD-C746-44A3-A4F0-4898CE2F02E6}"/>
          </ac:spMkLst>
        </pc:spChg>
        <pc:spChg chg="mod">
          <ac:chgData name="Thomas Stensitzki" userId="75cafe6b-2f2a-469b-85c4-eec3b9c972ba" providerId="ADAL" clId="{F2BB4D5E-E5E5-4B84-8DD9-A7ADA0B72E44}" dt="2022-04-28T15:45:24.421" v="4321"/>
          <ac:spMkLst>
            <pc:docMk/>
            <pc:sldMk cId="1856989855" sldId="606"/>
            <ac:spMk id="5" creationId="{F3459BE7-1731-4733-A912-12977C68CFD6}"/>
          </ac:spMkLst>
        </pc:spChg>
      </pc:sldChg>
      <pc:sldChg chg="del">
        <pc:chgData name="Thomas Stensitzki" userId="75cafe6b-2f2a-469b-85c4-eec3b9c972ba" providerId="ADAL" clId="{F2BB4D5E-E5E5-4B84-8DD9-A7ADA0B72E44}" dt="2022-04-19T12:23:57.164" v="126" actId="47"/>
        <pc:sldMkLst>
          <pc:docMk/>
          <pc:sldMk cId="2615993417" sldId="606"/>
        </pc:sldMkLst>
      </pc:sldChg>
      <pc:sldChg chg="del">
        <pc:chgData name="Thomas Stensitzki" userId="75cafe6b-2f2a-469b-85c4-eec3b9c972ba" providerId="ADAL" clId="{F2BB4D5E-E5E5-4B84-8DD9-A7ADA0B72E44}" dt="2022-04-19T12:23:57.164" v="126" actId="47"/>
        <pc:sldMkLst>
          <pc:docMk/>
          <pc:sldMk cId="850732423" sldId="607"/>
        </pc:sldMkLst>
      </pc:sldChg>
      <pc:sldChg chg="addSp delSp modSp new mod modClrScheme chgLayout">
        <pc:chgData name="Thomas Stensitzki" userId="75cafe6b-2f2a-469b-85c4-eec3b9c972ba" providerId="ADAL" clId="{F2BB4D5E-E5E5-4B84-8DD9-A7ADA0B72E44}" dt="2022-04-28T08:54:05.084" v="4297" actId="20577"/>
        <pc:sldMkLst>
          <pc:docMk/>
          <pc:sldMk cId="2410402961" sldId="607"/>
        </pc:sldMkLst>
        <pc:spChg chg="del mod ord">
          <ac:chgData name="Thomas Stensitzki" userId="75cafe6b-2f2a-469b-85c4-eec3b9c972ba" providerId="ADAL" clId="{F2BB4D5E-E5E5-4B84-8DD9-A7ADA0B72E44}" dt="2022-04-28T08:49:35.737" v="4158" actId="700"/>
          <ac:spMkLst>
            <pc:docMk/>
            <pc:sldMk cId="2410402961" sldId="607"/>
            <ac:spMk id="2" creationId="{EAA57030-8230-4720-9359-7C909643D015}"/>
          </ac:spMkLst>
        </pc:spChg>
        <pc:spChg chg="del mod ord">
          <ac:chgData name="Thomas Stensitzki" userId="75cafe6b-2f2a-469b-85c4-eec3b9c972ba" providerId="ADAL" clId="{F2BB4D5E-E5E5-4B84-8DD9-A7ADA0B72E44}" dt="2022-04-28T08:49:35.737" v="4158" actId="700"/>
          <ac:spMkLst>
            <pc:docMk/>
            <pc:sldMk cId="2410402961" sldId="607"/>
            <ac:spMk id="3" creationId="{C5FC1A63-FE2C-4907-BCB9-FEDDE08F4534}"/>
          </ac:spMkLst>
        </pc:spChg>
        <pc:spChg chg="add mod ord">
          <ac:chgData name="Thomas Stensitzki" userId="75cafe6b-2f2a-469b-85c4-eec3b9c972ba" providerId="ADAL" clId="{F2BB4D5E-E5E5-4B84-8DD9-A7ADA0B72E44}" dt="2022-04-28T08:54:05.084" v="4297" actId="20577"/>
          <ac:spMkLst>
            <pc:docMk/>
            <pc:sldMk cId="2410402961" sldId="607"/>
            <ac:spMk id="4" creationId="{91495484-5BE7-40E1-862A-4636FCB4E6CC}"/>
          </ac:spMkLst>
        </pc:spChg>
        <pc:spChg chg="add mod ord">
          <ac:chgData name="Thomas Stensitzki" userId="75cafe6b-2f2a-469b-85c4-eec3b9c972ba" providerId="ADAL" clId="{F2BB4D5E-E5E5-4B84-8DD9-A7ADA0B72E44}" dt="2022-04-28T08:52:56.354" v="4252" actId="6549"/>
          <ac:spMkLst>
            <pc:docMk/>
            <pc:sldMk cId="2410402961" sldId="607"/>
            <ac:spMk id="5" creationId="{B18F6B9A-17E6-4238-BF43-B01EF6F1C598}"/>
          </ac:spMkLst>
        </pc:spChg>
      </pc:sldChg>
      <pc:sldChg chg="del">
        <pc:chgData name="Thomas Stensitzki" userId="75cafe6b-2f2a-469b-85c4-eec3b9c972ba" providerId="ADAL" clId="{F2BB4D5E-E5E5-4B84-8DD9-A7ADA0B72E44}" dt="2022-04-19T12:23:58.675" v="127" actId="47"/>
        <pc:sldMkLst>
          <pc:docMk/>
          <pc:sldMk cId="2141078485" sldId="608"/>
        </pc:sldMkLst>
      </pc:sldChg>
      <pc:sldChg chg="del">
        <pc:chgData name="Thomas Stensitzki" userId="75cafe6b-2f2a-469b-85c4-eec3b9c972ba" providerId="ADAL" clId="{F2BB4D5E-E5E5-4B84-8DD9-A7ADA0B72E44}" dt="2022-04-19T12:23:58.675" v="127" actId="47"/>
        <pc:sldMkLst>
          <pc:docMk/>
          <pc:sldMk cId="2216310711" sldId="609"/>
        </pc:sldMkLst>
      </pc:sldChg>
      <pc:sldChg chg="del">
        <pc:chgData name="Thomas Stensitzki" userId="75cafe6b-2f2a-469b-85c4-eec3b9c972ba" providerId="ADAL" clId="{F2BB4D5E-E5E5-4B84-8DD9-A7ADA0B72E44}" dt="2022-04-19T12:23:58.675" v="127" actId="47"/>
        <pc:sldMkLst>
          <pc:docMk/>
          <pc:sldMk cId="52005476" sldId="610"/>
        </pc:sldMkLst>
      </pc:sldChg>
      <pc:sldChg chg="del">
        <pc:chgData name="Thomas Stensitzki" userId="75cafe6b-2f2a-469b-85c4-eec3b9c972ba" providerId="ADAL" clId="{F2BB4D5E-E5E5-4B84-8DD9-A7ADA0B72E44}" dt="2022-04-19T12:24:00.296" v="128" actId="47"/>
        <pc:sldMkLst>
          <pc:docMk/>
          <pc:sldMk cId="724457052" sldId="611"/>
        </pc:sldMkLst>
      </pc:sldChg>
      <pc:sldChg chg="del">
        <pc:chgData name="Thomas Stensitzki" userId="75cafe6b-2f2a-469b-85c4-eec3b9c972ba" providerId="ADAL" clId="{F2BB4D5E-E5E5-4B84-8DD9-A7ADA0B72E44}" dt="2022-04-19T12:24:00.296" v="128" actId="47"/>
        <pc:sldMkLst>
          <pc:docMk/>
          <pc:sldMk cId="1451652416" sldId="612"/>
        </pc:sldMkLst>
      </pc:sldChg>
      <pc:sldChg chg="del">
        <pc:chgData name="Thomas Stensitzki" userId="75cafe6b-2f2a-469b-85c4-eec3b9c972ba" providerId="ADAL" clId="{F2BB4D5E-E5E5-4B84-8DD9-A7ADA0B72E44}" dt="2022-04-19T12:24:02.307" v="129" actId="47"/>
        <pc:sldMkLst>
          <pc:docMk/>
          <pc:sldMk cId="1471743522" sldId="613"/>
        </pc:sldMkLst>
      </pc:sldChg>
    </pc:docChg>
  </pc:docChgLst>
  <pc:docChgLst>
    <pc:chgData name="Thomas Stensitzki" userId="75cafe6b-2f2a-469b-85c4-eec3b9c972ba" providerId="ADAL" clId="{363DE228-8D93-47E2-A1D5-6CB8C68569A9}"/>
    <pc:docChg chg="undo custSel addSld delSld modSld sldOrd addSection modSection">
      <pc:chgData name="Thomas Stensitzki" userId="75cafe6b-2f2a-469b-85c4-eec3b9c972ba" providerId="ADAL" clId="{363DE228-8D93-47E2-A1D5-6CB8C68569A9}" dt="2021-04-17T16:51:45.081" v="4048" actId="478"/>
      <pc:docMkLst>
        <pc:docMk/>
      </pc:docMkLst>
      <pc:sldChg chg="modSp mod">
        <pc:chgData name="Thomas Stensitzki" userId="75cafe6b-2f2a-469b-85c4-eec3b9c972ba" providerId="ADAL" clId="{363DE228-8D93-47E2-A1D5-6CB8C68569A9}" dt="2021-04-11T08:56:56.521" v="8" actId="20577"/>
        <pc:sldMkLst>
          <pc:docMk/>
          <pc:sldMk cId="671489701" sldId="256"/>
        </pc:sldMkLst>
        <pc:spChg chg="mod">
          <ac:chgData name="Thomas Stensitzki" userId="75cafe6b-2f2a-469b-85c4-eec3b9c972ba" providerId="ADAL" clId="{363DE228-8D93-47E2-A1D5-6CB8C68569A9}" dt="2021-04-11T08:56:56.521" v="8" actId="20577"/>
          <ac:spMkLst>
            <pc:docMk/>
            <pc:sldMk cId="671489701" sldId="256"/>
            <ac:spMk id="3" creationId="{CBA95633-B02D-4A15-A8B1-A38E0A70FD27}"/>
          </ac:spMkLst>
        </pc:spChg>
      </pc:sldChg>
      <pc:sldChg chg="modSp mod">
        <pc:chgData name="Thomas Stensitzki" userId="75cafe6b-2f2a-469b-85c4-eec3b9c972ba" providerId="ADAL" clId="{363DE228-8D93-47E2-A1D5-6CB8C68569A9}" dt="2021-04-11T10:04:19.734" v="21"/>
        <pc:sldMkLst>
          <pc:docMk/>
          <pc:sldMk cId="2855324227" sldId="257"/>
        </pc:sldMkLst>
        <pc:graphicFrameChg chg="mod modGraphic">
          <ac:chgData name="Thomas Stensitzki" userId="75cafe6b-2f2a-469b-85c4-eec3b9c972ba" providerId="ADAL" clId="{363DE228-8D93-47E2-A1D5-6CB8C68569A9}" dt="2021-04-11T10:04:19.734" v="21"/>
          <ac:graphicFrameMkLst>
            <pc:docMk/>
            <pc:sldMk cId="2855324227" sldId="257"/>
            <ac:graphicFrameMk id="6" creationId="{0F955DCC-462D-431D-BBDE-26F10687D590}"/>
          </ac:graphicFrameMkLst>
        </pc:graphicFrameChg>
      </pc:sldChg>
      <pc:sldChg chg="addSp modSp mod">
        <pc:chgData name="Thomas Stensitzki" userId="75cafe6b-2f2a-469b-85c4-eec3b9c972ba" providerId="ADAL" clId="{363DE228-8D93-47E2-A1D5-6CB8C68569A9}" dt="2021-04-15T18:20:42.395" v="3942" actId="1076"/>
        <pc:sldMkLst>
          <pc:docMk/>
          <pc:sldMk cId="3332792154" sldId="258"/>
        </pc:sldMkLst>
        <pc:spChg chg="mod">
          <ac:chgData name="Thomas Stensitzki" userId="75cafe6b-2f2a-469b-85c4-eec3b9c972ba" providerId="ADAL" clId="{363DE228-8D93-47E2-A1D5-6CB8C68569A9}" dt="2021-04-15T18:19:23.763" v="3933" actId="20577"/>
          <ac:spMkLst>
            <pc:docMk/>
            <pc:sldMk cId="3332792154" sldId="258"/>
            <ac:spMk id="3" creationId="{3A5A44EB-7FB9-473A-8ED3-C49DDD2E65AB}"/>
          </ac:spMkLst>
        </pc:spChg>
        <pc:picChg chg="add mod">
          <ac:chgData name="Thomas Stensitzki" userId="75cafe6b-2f2a-469b-85c4-eec3b9c972ba" providerId="ADAL" clId="{363DE228-8D93-47E2-A1D5-6CB8C68569A9}" dt="2021-04-15T18:20:42.395" v="3942" actId="1076"/>
          <ac:picMkLst>
            <pc:docMk/>
            <pc:sldMk cId="3332792154" sldId="258"/>
            <ac:picMk id="5" creationId="{EEE89219-4CF0-44A2-811B-A2CBC860BCCC}"/>
          </ac:picMkLst>
        </pc:picChg>
      </pc:sldChg>
      <pc:sldChg chg="modSp mod">
        <pc:chgData name="Thomas Stensitzki" userId="75cafe6b-2f2a-469b-85c4-eec3b9c972ba" providerId="ADAL" clId="{363DE228-8D93-47E2-A1D5-6CB8C68569A9}" dt="2021-04-11T10:05:00.198" v="62" actId="20577"/>
        <pc:sldMkLst>
          <pc:docMk/>
          <pc:sldMk cId="2698998357" sldId="260"/>
        </pc:sldMkLst>
        <pc:spChg chg="mod">
          <ac:chgData name="Thomas Stensitzki" userId="75cafe6b-2f2a-469b-85c4-eec3b9c972ba" providerId="ADAL" clId="{363DE228-8D93-47E2-A1D5-6CB8C68569A9}" dt="2021-04-11T10:04:38.120" v="22"/>
          <ac:spMkLst>
            <pc:docMk/>
            <pc:sldMk cId="2698998357" sldId="260"/>
            <ac:spMk id="4" creationId="{F3A15CBD-C746-44A3-A4F0-4898CE2F02E6}"/>
          </ac:spMkLst>
        </pc:spChg>
        <pc:spChg chg="mod">
          <ac:chgData name="Thomas Stensitzki" userId="75cafe6b-2f2a-469b-85c4-eec3b9c972ba" providerId="ADAL" clId="{363DE228-8D93-47E2-A1D5-6CB8C68569A9}" dt="2021-04-11T10:05:00.198" v="62" actId="20577"/>
          <ac:spMkLst>
            <pc:docMk/>
            <pc:sldMk cId="2698998357" sldId="260"/>
            <ac:spMk id="5" creationId="{F3459BE7-1731-4733-A912-12977C68CFD6}"/>
          </ac:spMkLst>
        </pc:spChg>
      </pc:sldChg>
      <pc:sldChg chg="modSp mod">
        <pc:chgData name="Thomas Stensitzki" userId="75cafe6b-2f2a-469b-85c4-eec3b9c972ba" providerId="ADAL" clId="{363DE228-8D93-47E2-A1D5-6CB8C68569A9}" dt="2021-04-17T11:19:18.618" v="3944" actId="20577"/>
        <pc:sldMkLst>
          <pc:docMk/>
          <pc:sldMk cId="4007670073" sldId="268"/>
        </pc:sldMkLst>
        <pc:spChg chg="mod">
          <ac:chgData name="Thomas Stensitzki" userId="75cafe6b-2f2a-469b-85c4-eec3b9c972ba" providerId="ADAL" clId="{363DE228-8D93-47E2-A1D5-6CB8C68569A9}" dt="2021-04-17T11:19:18.618" v="3944" actId="20577"/>
          <ac:spMkLst>
            <pc:docMk/>
            <pc:sldMk cId="4007670073" sldId="268"/>
            <ac:spMk id="4" creationId="{F3A15CBD-C746-44A3-A4F0-4898CE2F02E6}"/>
          </ac:spMkLst>
        </pc:spChg>
      </pc:sldChg>
      <pc:sldChg chg="modSp mod">
        <pc:chgData name="Thomas Stensitzki" userId="75cafe6b-2f2a-469b-85c4-eec3b9c972ba" providerId="ADAL" clId="{363DE228-8D93-47E2-A1D5-6CB8C68569A9}" dt="2021-04-13T16:17:42.792" v="3788" actId="6549"/>
        <pc:sldMkLst>
          <pc:docMk/>
          <pc:sldMk cId="2721051844" sldId="269"/>
        </pc:sldMkLst>
        <pc:spChg chg="mod">
          <ac:chgData name="Thomas Stensitzki" userId="75cafe6b-2f2a-469b-85c4-eec3b9c972ba" providerId="ADAL" clId="{363DE228-8D93-47E2-A1D5-6CB8C68569A9}" dt="2021-04-13T16:17:42.792" v="3788" actId="6549"/>
          <ac:spMkLst>
            <pc:docMk/>
            <pc:sldMk cId="2721051844" sldId="269"/>
            <ac:spMk id="5" creationId="{C24DACB5-1BEC-4C86-9652-BAFD8DE56FEF}"/>
          </ac:spMkLst>
        </pc:spChg>
      </pc:sldChg>
      <pc:sldChg chg="modSp mod">
        <pc:chgData name="Thomas Stensitzki" userId="75cafe6b-2f2a-469b-85c4-eec3b9c972ba" providerId="ADAL" clId="{363DE228-8D93-47E2-A1D5-6CB8C68569A9}" dt="2021-04-15T16:27:33.529" v="3888" actId="6549"/>
        <pc:sldMkLst>
          <pc:docMk/>
          <pc:sldMk cId="466045460" sldId="296"/>
        </pc:sldMkLst>
        <pc:spChg chg="mod">
          <ac:chgData name="Thomas Stensitzki" userId="75cafe6b-2f2a-469b-85c4-eec3b9c972ba" providerId="ADAL" clId="{363DE228-8D93-47E2-A1D5-6CB8C68569A9}" dt="2021-04-15T16:27:33.529" v="3888" actId="6549"/>
          <ac:spMkLst>
            <pc:docMk/>
            <pc:sldMk cId="466045460" sldId="296"/>
            <ac:spMk id="3" creationId="{3DE143F2-5A09-45BF-B00B-7298420C5BE2}"/>
          </ac:spMkLst>
        </pc:spChg>
      </pc:sldChg>
      <pc:sldChg chg="modSp mod">
        <pc:chgData name="Thomas Stensitzki" userId="75cafe6b-2f2a-469b-85c4-eec3b9c972ba" providerId="ADAL" clId="{363DE228-8D93-47E2-A1D5-6CB8C68569A9}" dt="2021-04-11T10:05:47.817" v="111" actId="20577"/>
        <pc:sldMkLst>
          <pc:docMk/>
          <pc:sldMk cId="53967156" sldId="297"/>
        </pc:sldMkLst>
        <pc:spChg chg="mod">
          <ac:chgData name="Thomas Stensitzki" userId="75cafe6b-2f2a-469b-85c4-eec3b9c972ba" providerId="ADAL" clId="{363DE228-8D93-47E2-A1D5-6CB8C68569A9}" dt="2021-04-11T10:05:30.095" v="67"/>
          <ac:spMkLst>
            <pc:docMk/>
            <pc:sldMk cId="53967156" sldId="297"/>
            <ac:spMk id="4" creationId="{F3A15CBD-C746-44A3-A4F0-4898CE2F02E6}"/>
          </ac:spMkLst>
        </pc:spChg>
        <pc:spChg chg="mod">
          <ac:chgData name="Thomas Stensitzki" userId="75cafe6b-2f2a-469b-85c4-eec3b9c972ba" providerId="ADAL" clId="{363DE228-8D93-47E2-A1D5-6CB8C68569A9}" dt="2021-04-11T10:05:47.817" v="111" actId="20577"/>
          <ac:spMkLst>
            <pc:docMk/>
            <pc:sldMk cId="53967156" sldId="297"/>
            <ac:spMk id="5" creationId="{F3459BE7-1731-4733-A912-12977C68CFD6}"/>
          </ac:spMkLst>
        </pc:spChg>
      </pc:sldChg>
      <pc:sldChg chg="modSp mod modAnim">
        <pc:chgData name="Thomas Stensitzki" userId="75cafe6b-2f2a-469b-85c4-eec3b9c972ba" providerId="ADAL" clId="{363DE228-8D93-47E2-A1D5-6CB8C68569A9}" dt="2021-04-11T10:11:21.512" v="229" actId="6549"/>
        <pc:sldMkLst>
          <pc:docMk/>
          <pc:sldMk cId="222169851" sldId="312"/>
        </pc:sldMkLst>
        <pc:spChg chg="mod">
          <ac:chgData name="Thomas Stensitzki" userId="75cafe6b-2f2a-469b-85c4-eec3b9c972ba" providerId="ADAL" clId="{363DE228-8D93-47E2-A1D5-6CB8C68569A9}" dt="2021-04-11T10:11:21.512" v="229" actId="6549"/>
          <ac:spMkLst>
            <pc:docMk/>
            <pc:sldMk cId="222169851" sldId="312"/>
            <ac:spMk id="5" creationId="{E4B561B6-C0CF-43D8-8BC7-F305B96C47C8}"/>
          </ac:spMkLst>
        </pc:spChg>
      </pc:sldChg>
      <pc:sldChg chg="modSp mod modNotesTx">
        <pc:chgData name="Thomas Stensitzki" userId="75cafe6b-2f2a-469b-85c4-eec3b9c972ba" providerId="ADAL" clId="{363DE228-8D93-47E2-A1D5-6CB8C68569A9}" dt="2021-04-13T16:12:45.533" v="3594" actId="6549"/>
        <pc:sldMkLst>
          <pc:docMk/>
          <pc:sldMk cId="3298503951" sldId="372"/>
        </pc:sldMkLst>
        <pc:spChg chg="mod">
          <ac:chgData name="Thomas Stensitzki" userId="75cafe6b-2f2a-469b-85c4-eec3b9c972ba" providerId="ADAL" clId="{363DE228-8D93-47E2-A1D5-6CB8C68569A9}" dt="2021-04-11T10:55:46.462" v="1153" actId="14100"/>
          <ac:spMkLst>
            <pc:docMk/>
            <pc:sldMk cId="3298503951" sldId="372"/>
            <ac:spMk id="2" creationId="{909DC09D-B9A6-4493-9A72-1CA7ECB1F5CA}"/>
          </ac:spMkLst>
        </pc:spChg>
        <pc:spChg chg="mod">
          <ac:chgData name="Thomas Stensitzki" userId="75cafe6b-2f2a-469b-85c4-eec3b9c972ba" providerId="ADAL" clId="{363DE228-8D93-47E2-A1D5-6CB8C68569A9}" dt="2021-04-13T16:11:06.803" v="3487" actId="6549"/>
          <ac:spMkLst>
            <pc:docMk/>
            <pc:sldMk cId="3298503951" sldId="372"/>
            <ac:spMk id="5" creationId="{C24DACB5-1BEC-4C86-9652-BAFD8DE56FEF}"/>
          </ac:spMkLst>
        </pc:spChg>
      </pc:sldChg>
      <pc:sldChg chg="del">
        <pc:chgData name="Thomas Stensitzki" userId="75cafe6b-2f2a-469b-85c4-eec3b9c972ba" providerId="ADAL" clId="{363DE228-8D93-47E2-A1D5-6CB8C68569A9}" dt="2021-04-11T10:05:16.402" v="66" actId="47"/>
        <pc:sldMkLst>
          <pc:docMk/>
          <pc:sldMk cId="1108181351" sldId="377"/>
        </pc:sldMkLst>
      </pc:sldChg>
      <pc:sldChg chg="modSp mod modNotesTx">
        <pc:chgData name="Thomas Stensitzki" userId="75cafe6b-2f2a-469b-85c4-eec3b9c972ba" providerId="ADAL" clId="{363DE228-8D93-47E2-A1D5-6CB8C68569A9}" dt="2021-04-13T15:55:03.787" v="2849" actId="14100"/>
        <pc:sldMkLst>
          <pc:docMk/>
          <pc:sldMk cId="2227487991" sldId="378"/>
        </pc:sldMkLst>
        <pc:spChg chg="mod">
          <ac:chgData name="Thomas Stensitzki" userId="75cafe6b-2f2a-469b-85c4-eec3b9c972ba" providerId="ADAL" clId="{363DE228-8D93-47E2-A1D5-6CB8C68569A9}" dt="2021-04-13T15:55:03.787" v="2849" actId="14100"/>
          <ac:spMkLst>
            <pc:docMk/>
            <pc:sldMk cId="2227487991" sldId="378"/>
            <ac:spMk id="2" creationId="{909DC09D-B9A6-4493-9A72-1CA7ECB1F5CA}"/>
          </ac:spMkLst>
        </pc:spChg>
        <pc:spChg chg="mod">
          <ac:chgData name="Thomas Stensitzki" userId="75cafe6b-2f2a-469b-85c4-eec3b9c972ba" providerId="ADAL" clId="{363DE228-8D93-47E2-A1D5-6CB8C68569A9}" dt="2021-04-11T10:13:05.675" v="278" actId="20577"/>
          <ac:spMkLst>
            <pc:docMk/>
            <pc:sldMk cId="2227487991" sldId="378"/>
            <ac:spMk id="4" creationId="{D12969B4-351A-4517-A5B8-3E6AD9CDB206}"/>
          </ac:spMkLst>
        </pc:spChg>
        <pc:spChg chg="mod">
          <ac:chgData name="Thomas Stensitzki" userId="75cafe6b-2f2a-469b-85c4-eec3b9c972ba" providerId="ADAL" clId="{363DE228-8D93-47E2-A1D5-6CB8C68569A9}" dt="2021-04-11T10:59:23.370" v="1259" actId="20577"/>
          <ac:spMkLst>
            <pc:docMk/>
            <pc:sldMk cId="2227487991" sldId="378"/>
            <ac:spMk id="5" creationId="{C24DACB5-1BEC-4C86-9652-BAFD8DE56FEF}"/>
          </ac:spMkLst>
        </pc:spChg>
      </pc:sldChg>
      <pc:sldChg chg="addSp delSp modSp mod chgLayout modNotesTx">
        <pc:chgData name="Thomas Stensitzki" userId="75cafe6b-2f2a-469b-85c4-eec3b9c972ba" providerId="ADAL" clId="{363DE228-8D93-47E2-A1D5-6CB8C68569A9}" dt="2021-04-11T10:43:04.830" v="820" actId="108"/>
        <pc:sldMkLst>
          <pc:docMk/>
          <pc:sldMk cId="4126930427" sldId="379"/>
        </pc:sldMkLst>
        <pc:spChg chg="mod ord">
          <ac:chgData name="Thomas Stensitzki" userId="75cafe6b-2f2a-469b-85c4-eec3b9c972ba" providerId="ADAL" clId="{363DE228-8D93-47E2-A1D5-6CB8C68569A9}" dt="2021-04-11T10:36:23.975" v="745"/>
          <ac:spMkLst>
            <pc:docMk/>
            <pc:sldMk cId="4126930427" sldId="379"/>
            <ac:spMk id="2" creationId="{50183ADD-E6D0-4570-B5FB-F95BA9130DEC}"/>
          </ac:spMkLst>
        </pc:spChg>
        <pc:spChg chg="add mod ord">
          <ac:chgData name="Thomas Stensitzki" userId="75cafe6b-2f2a-469b-85c4-eec3b9c972ba" providerId="ADAL" clId="{363DE228-8D93-47E2-A1D5-6CB8C68569A9}" dt="2021-04-11T10:43:04.830" v="820" actId="108"/>
          <ac:spMkLst>
            <pc:docMk/>
            <pc:sldMk cId="4126930427" sldId="379"/>
            <ac:spMk id="3" creationId="{640681BE-521C-4DA5-8225-6EDEBEF53EB0}"/>
          </ac:spMkLst>
        </pc:spChg>
        <pc:picChg chg="del">
          <ac:chgData name="Thomas Stensitzki" userId="75cafe6b-2f2a-469b-85c4-eec3b9c972ba" providerId="ADAL" clId="{363DE228-8D93-47E2-A1D5-6CB8C68569A9}" dt="2021-04-11T10:14:58.629" v="302" actId="478"/>
          <ac:picMkLst>
            <pc:docMk/>
            <pc:sldMk cId="4126930427" sldId="379"/>
            <ac:picMk id="1026" creationId="{6F4D62F5-9A7A-4568-B0C8-37200F0AADF0}"/>
          </ac:picMkLst>
        </pc:picChg>
      </pc:sldChg>
      <pc:sldChg chg="del">
        <pc:chgData name="Thomas Stensitzki" userId="75cafe6b-2f2a-469b-85c4-eec3b9c972ba" providerId="ADAL" clId="{363DE228-8D93-47E2-A1D5-6CB8C68569A9}" dt="2021-04-11T10:12:07.961" v="249" actId="47"/>
        <pc:sldMkLst>
          <pc:docMk/>
          <pc:sldMk cId="2961263446" sldId="380"/>
        </pc:sldMkLst>
      </pc:sldChg>
      <pc:sldChg chg="del">
        <pc:chgData name="Thomas Stensitzki" userId="75cafe6b-2f2a-469b-85c4-eec3b9c972ba" providerId="ADAL" clId="{363DE228-8D93-47E2-A1D5-6CB8C68569A9}" dt="2021-04-11T10:12:15.495" v="250" actId="47"/>
        <pc:sldMkLst>
          <pc:docMk/>
          <pc:sldMk cId="2134997509" sldId="381"/>
        </pc:sldMkLst>
      </pc:sldChg>
      <pc:sldChg chg="del">
        <pc:chgData name="Thomas Stensitzki" userId="75cafe6b-2f2a-469b-85c4-eec3b9c972ba" providerId="ADAL" clId="{363DE228-8D93-47E2-A1D5-6CB8C68569A9}" dt="2021-04-11T10:12:15.495" v="250" actId="47"/>
        <pc:sldMkLst>
          <pc:docMk/>
          <pc:sldMk cId="804569921" sldId="382"/>
        </pc:sldMkLst>
      </pc:sldChg>
      <pc:sldChg chg="del">
        <pc:chgData name="Thomas Stensitzki" userId="75cafe6b-2f2a-469b-85c4-eec3b9c972ba" providerId="ADAL" clId="{363DE228-8D93-47E2-A1D5-6CB8C68569A9}" dt="2021-04-11T10:12:23.672" v="251" actId="47"/>
        <pc:sldMkLst>
          <pc:docMk/>
          <pc:sldMk cId="1200616128" sldId="383"/>
        </pc:sldMkLst>
      </pc:sldChg>
      <pc:sldChg chg="del">
        <pc:chgData name="Thomas Stensitzki" userId="75cafe6b-2f2a-469b-85c4-eec3b9c972ba" providerId="ADAL" clId="{363DE228-8D93-47E2-A1D5-6CB8C68569A9}" dt="2021-04-11T10:12:23.672" v="251" actId="47"/>
        <pc:sldMkLst>
          <pc:docMk/>
          <pc:sldMk cId="2706860444" sldId="384"/>
        </pc:sldMkLst>
      </pc:sldChg>
      <pc:sldChg chg="del">
        <pc:chgData name="Thomas Stensitzki" userId="75cafe6b-2f2a-469b-85c4-eec3b9c972ba" providerId="ADAL" clId="{363DE228-8D93-47E2-A1D5-6CB8C68569A9}" dt="2021-04-11T10:12:23.672" v="251" actId="47"/>
        <pc:sldMkLst>
          <pc:docMk/>
          <pc:sldMk cId="2618174212" sldId="385"/>
        </pc:sldMkLst>
      </pc:sldChg>
      <pc:sldChg chg="del">
        <pc:chgData name="Thomas Stensitzki" userId="75cafe6b-2f2a-469b-85c4-eec3b9c972ba" providerId="ADAL" clId="{363DE228-8D93-47E2-A1D5-6CB8C68569A9}" dt="2021-04-11T10:12:23.672" v="251" actId="47"/>
        <pc:sldMkLst>
          <pc:docMk/>
          <pc:sldMk cId="2318153121" sldId="386"/>
        </pc:sldMkLst>
      </pc:sldChg>
      <pc:sldChg chg="del">
        <pc:chgData name="Thomas Stensitzki" userId="75cafe6b-2f2a-469b-85c4-eec3b9c972ba" providerId="ADAL" clId="{363DE228-8D93-47E2-A1D5-6CB8C68569A9}" dt="2021-04-11T10:12:23.672" v="251" actId="47"/>
        <pc:sldMkLst>
          <pc:docMk/>
          <pc:sldMk cId="2558906762" sldId="387"/>
        </pc:sldMkLst>
      </pc:sldChg>
      <pc:sldChg chg="del">
        <pc:chgData name="Thomas Stensitzki" userId="75cafe6b-2f2a-469b-85c4-eec3b9c972ba" providerId="ADAL" clId="{363DE228-8D93-47E2-A1D5-6CB8C68569A9}" dt="2021-04-11T10:12:37.717" v="252" actId="47"/>
        <pc:sldMkLst>
          <pc:docMk/>
          <pc:sldMk cId="2051762330" sldId="388"/>
        </pc:sldMkLst>
      </pc:sldChg>
      <pc:sldChg chg="del">
        <pc:chgData name="Thomas Stensitzki" userId="75cafe6b-2f2a-469b-85c4-eec3b9c972ba" providerId="ADAL" clId="{363DE228-8D93-47E2-A1D5-6CB8C68569A9}" dt="2021-04-11T10:12:23.672" v="251" actId="47"/>
        <pc:sldMkLst>
          <pc:docMk/>
          <pc:sldMk cId="3866198253" sldId="389"/>
        </pc:sldMkLst>
      </pc:sldChg>
      <pc:sldChg chg="del">
        <pc:chgData name="Thomas Stensitzki" userId="75cafe6b-2f2a-469b-85c4-eec3b9c972ba" providerId="ADAL" clId="{363DE228-8D93-47E2-A1D5-6CB8C68569A9}" dt="2021-04-11T10:12:23.672" v="251" actId="47"/>
        <pc:sldMkLst>
          <pc:docMk/>
          <pc:sldMk cId="1281650883" sldId="390"/>
        </pc:sldMkLst>
      </pc:sldChg>
      <pc:sldChg chg="del">
        <pc:chgData name="Thomas Stensitzki" userId="75cafe6b-2f2a-469b-85c4-eec3b9c972ba" providerId="ADAL" clId="{363DE228-8D93-47E2-A1D5-6CB8C68569A9}" dt="2021-04-11T10:12:47.564" v="253" actId="47"/>
        <pc:sldMkLst>
          <pc:docMk/>
          <pc:sldMk cId="2585887928" sldId="391"/>
        </pc:sldMkLst>
      </pc:sldChg>
      <pc:sldChg chg="addSp">
        <pc:chgData name="Thomas Stensitzki" userId="75cafe6b-2f2a-469b-85c4-eec3b9c972ba" providerId="ADAL" clId="{363DE228-8D93-47E2-A1D5-6CB8C68569A9}" dt="2021-04-11T10:16:07.641" v="330"/>
        <pc:sldMkLst>
          <pc:docMk/>
          <pc:sldMk cId="1406229965" sldId="392"/>
        </pc:sldMkLst>
        <pc:picChg chg="add">
          <ac:chgData name="Thomas Stensitzki" userId="75cafe6b-2f2a-469b-85c4-eec3b9c972ba" providerId="ADAL" clId="{363DE228-8D93-47E2-A1D5-6CB8C68569A9}" dt="2021-04-11T10:16:07.641" v="330"/>
          <ac:picMkLst>
            <pc:docMk/>
            <pc:sldMk cId="1406229965" sldId="392"/>
            <ac:picMk id="1026" creationId="{043285E5-2210-4AFC-A5D8-BFCD39482712}"/>
          </ac:picMkLst>
        </pc:picChg>
      </pc:sldChg>
      <pc:sldChg chg="delSp modSp add del mod">
        <pc:chgData name="Thomas Stensitzki" userId="75cafe6b-2f2a-469b-85c4-eec3b9c972ba" providerId="ADAL" clId="{363DE228-8D93-47E2-A1D5-6CB8C68569A9}" dt="2021-04-11T12:38:00.651" v="2462" actId="1440"/>
        <pc:sldMkLst>
          <pc:docMk/>
          <pc:sldMk cId="2708846828" sldId="392"/>
        </pc:sldMkLst>
        <pc:spChg chg="mod">
          <ac:chgData name="Thomas Stensitzki" userId="75cafe6b-2f2a-469b-85c4-eec3b9c972ba" providerId="ADAL" clId="{363DE228-8D93-47E2-A1D5-6CB8C68569A9}" dt="2021-04-11T10:16:00.891" v="329"/>
          <ac:spMkLst>
            <pc:docMk/>
            <pc:sldMk cId="2708846828" sldId="392"/>
            <ac:spMk id="2" creationId="{11E5EEC8-6493-4BA0-8811-4A3F48FE62AF}"/>
          </ac:spMkLst>
        </pc:spChg>
        <pc:picChg chg="del">
          <ac:chgData name="Thomas Stensitzki" userId="75cafe6b-2f2a-469b-85c4-eec3b9c972ba" providerId="ADAL" clId="{363DE228-8D93-47E2-A1D5-6CB8C68569A9}" dt="2021-04-11T10:15:44.410" v="327" actId="478"/>
          <ac:picMkLst>
            <pc:docMk/>
            <pc:sldMk cId="2708846828" sldId="392"/>
            <ac:picMk id="4" creationId="{4F4D8847-2D1E-4810-BA5F-7518BE667DB4}"/>
          </ac:picMkLst>
        </pc:picChg>
        <pc:picChg chg="mod">
          <ac:chgData name="Thomas Stensitzki" userId="75cafe6b-2f2a-469b-85c4-eec3b9c972ba" providerId="ADAL" clId="{363DE228-8D93-47E2-A1D5-6CB8C68569A9}" dt="2021-04-11T12:38:00.651" v="2462" actId="1440"/>
          <ac:picMkLst>
            <pc:docMk/>
            <pc:sldMk cId="2708846828" sldId="392"/>
            <ac:picMk id="1026" creationId="{043285E5-2210-4AFC-A5D8-BFCD39482712}"/>
          </ac:picMkLst>
        </pc:picChg>
      </pc:sldChg>
      <pc:sldChg chg="del">
        <pc:chgData name="Thomas Stensitzki" userId="75cafe6b-2f2a-469b-85c4-eec3b9c972ba" providerId="ADAL" clId="{363DE228-8D93-47E2-A1D5-6CB8C68569A9}" dt="2021-04-11T10:12:37.717" v="252" actId="47"/>
        <pc:sldMkLst>
          <pc:docMk/>
          <pc:sldMk cId="63085039" sldId="393"/>
        </pc:sldMkLst>
      </pc:sldChg>
      <pc:sldChg chg="del">
        <pc:chgData name="Thomas Stensitzki" userId="75cafe6b-2f2a-469b-85c4-eec3b9c972ba" providerId="ADAL" clId="{363DE228-8D93-47E2-A1D5-6CB8C68569A9}" dt="2021-04-11T10:12:37.717" v="252" actId="47"/>
        <pc:sldMkLst>
          <pc:docMk/>
          <pc:sldMk cId="3125518215" sldId="394"/>
        </pc:sldMkLst>
      </pc:sldChg>
      <pc:sldChg chg="del">
        <pc:chgData name="Thomas Stensitzki" userId="75cafe6b-2f2a-469b-85c4-eec3b9c972ba" providerId="ADAL" clId="{363DE228-8D93-47E2-A1D5-6CB8C68569A9}" dt="2021-04-11T10:12:47.564" v="253" actId="47"/>
        <pc:sldMkLst>
          <pc:docMk/>
          <pc:sldMk cId="3389754536" sldId="395"/>
        </pc:sldMkLst>
      </pc:sldChg>
      <pc:sldChg chg="del">
        <pc:chgData name="Thomas Stensitzki" userId="75cafe6b-2f2a-469b-85c4-eec3b9c972ba" providerId="ADAL" clId="{363DE228-8D93-47E2-A1D5-6CB8C68569A9}" dt="2021-04-11T10:12:47.564" v="253" actId="47"/>
        <pc:sldMkLst>
          <pc:docMk/>
          <pc:sldMk cId="3169144543" sldId="397"/>
        </pc:sldMkLst>
      </pc:sldChg>
      <pc:sldChg chg="del">
        <pc:chgData name="Thomas Stensitzki" userId="75cafe6b-2f2a-469b-85c4-eec3b9c972ba" providerId="ADAL" clId="{363DE228-8D93-47E2-A1D5-6CB8C68569A9}" dt="2021-04-11T10:12:37.717" v="252" actId="47"/>
        <pc:sldMkLst>
          <pc:docMk/>
          <pc:sldMk cId="482102076" sldId="398"/>
        </pc:sldMkLst>
      </pc:sldChg>
      <pc:sldChg chg="del">
        <pc:chgData name="Thomas Stensitzki" userId="75cafe6b-2f2a-469b-85c4-eec3b9c972ba" providerId="ADAL" clId="{363DE228-8D93-47E2-A1D5-6CB8C68569A9}" dt="2021-04-11T10:12:37.717" v="252" actId="47"/>
        <pc:sldMkLst>
          <pc:docMk/>
          <pc:sldMk cId="3771242240" sldId="399"/>
        </pc:sldMkLst>
      </pc:sldChg>
      <pc:sldChg chg="del">
        <pc:chgData name="Thomas Stensitzki" userId="75cafe6b-2f2a-469b-85c4-eec3b9c972ba" providerId="ADAL" clId="{363DE228-8D93-47E2-A1D5-6CB8C68569A9}" dt="2021-04-11T10:12:37.717" v="252" actId="47"/>
        <pc:sldMkLst>
          <pc:docMk/>
          <pc:sldMk cId="425308375" sldId="400"/>
        </pc:sldMkLst>
      </pc:sldChg>
      <pc:sldChg chg="del">
        <pc:chgData name="Thomas Stensitzki" userId="75cafe6b-2f2a-469b-85c4-eec3b9c972ba" providerId="ADAL" clId="{363DE228-8D93-47E2-A1D5-6CB8C68569A9}" dt="2021-04-11T10:12:37.717" v="252" actId="47"/>
        <pc:sldMkLst>
          <pc:docMk/>
          <pc:sldMk cId="3556353505" sldId="402"/>
        </pc:sldMkLst>
      </pc:sldChg>
      <pc:sldChg chg="del">
        <pc:chgData name="Thomas Stensitzki" userId="75cafe6b-2f2a-469b-85c4-eec3b9c972ba" providerId="ADAL" clId="{363DE228-8D93-47E2-A1D5-6CB8C68569A9}" dt="2021-04-11T10:12:47.564" v="253" actId="47"/>
        <pc:sldMkLst>
          <pc:docMk/>
          <pc:sldMk cId="3957297632" sldId="403"/>
        </pc:sldMkLst>
      </pc:sldChg>
      <pc:sldChg chg="del">
        <pc:chgData name="Thomas Stensitzki" userId="75cafe6b-2f2a-469b-85c4-eec3b9c972ba" providerId="ADAL" clId="{363DE228-8D93-47E2-A1D5-6CB8C68569A9}" dt="2021-04-11T10:12:15.495" v="250" actId="47"/>
        <pc:sldMkLst>
          <pc:docMk/>
          <pc:sldMk cId="4270566703" sldId="404"/>
        </pc:sldMkLst>
      </pc:sldChg>
      <pc:sldChg chg="del">
        <pc:chgData name="Thomas Stensitzki" userId="75cafe6b-2f2a-469b-85c4-eec3b9c972ba" providerId="ADAL" clId="{363DE228-8D93-47E2-A1D5-6CB8C68569A9}" dt="2021-04-11T10:12:15.495" v="250" actId="47"/>
        <pc:sldMkLst>
          <pc:docMk/>
          <pc:sldMk cId="21006271" sldId="405"/>
        </pc:sldMkLst>
      </pc:sldChg>
      <pc:sldChg chg="del">
        <pc:chgData name="Thomas Stensitzki" userId="75cafe6b-2f2a-469b-85c4-eec3b9c972ba" providerId="ADAL" clId="{363DE228-8D93-47E2-A1D5-6CB8C68569A9}" dt="2021-04-11T10:12:15.495" v="250" actId="47"/>
        <pc:sldMkLst>
          <pc:docMk/>
          <pc:sldMk cId="550572939" sldId="406"/>
        </pc:sldMkLst>
      </pc:sldChg>
      <pc:sldChg chg="del">
        <pc:chgData name="Thomas Stensitzki" userId="75cafe6b-2f2a-469b-85c4-eec3b9c972ba" providerId="ADAL" clId="{363DE228-8D93-47E2-A1D5-6CB8C68569A9}" dt="2021-04-11T10:12:15.495" v="250" actId="47"/>
        <pc:sldMkLst>
          <pc:docMk/>
          <pc:sldMk cId="3064330710" sldId="407"/>
        </pc:sldMkLst>
      </pc:sldChg>
      <pc:sldChg chg="del">
        <pc:chgData name="Thomas Stensitzki" userId="75cafe6b-2f2a-469b-85c4-eec3b9c972ba" providerId="ADAL" clId="{363DE228-8D93-47E2-A1D5-6CB8C68569A9}" dt="2021-04-11T10:12:23.672" v="251" actId="47"/>
        <pc:sldMkLst>
          <pc:docMk/>
          <pc:sldMk cId="1323954105" sldId="408"/>
        </pc:sldMkLst>
      </pc:sldChg>
      <pc:sldChg chg="del">
        <pc:chgData name="Thomas Stensitzki" userId="75cafe6b-2f2a-469b-85c4-eec3b9c972ba" providerId="ADAL" clId="{363DE228-8D93-47E2-A1D5-6CB8C68569A9}" dt="2021-04-11T10:12:23.672" v="251" actId="47"/>
        <pc:sldMkLst>
          <pc:docMk/>
          <pc:sldMk cId="974386544" sldId="409"/>
        </pc:sldMkLst>
      </pc:sldChg>
      <pc:sldChg chg="del">
        <pc:chgData name="Thomas Stensitzki" userId="75cafe6b-2f2a-469b-85c4-eec3b9c972ba" providerId="ADAL" clId="{363DE228-8D93-47E2-A1D5-6CB8C68569A9}" dt="2021-04-11T10:12:23.672" v="251" actId="47"/>
        <pc:sldMkLst>
          <pc:docMk/>
          <pc:sldMk cId="179439695" sldId="410"/>
        </pc:sldMkLst>
      </pc:sldChg>
      <pc:sldChg chg="del">
        <pc:chgData name="Thomas Stensitzki" userId="75cafe6b-2f2a-469b-85c4-eec3b9c972ba" providerId="ADAL" clId="{363DE228-8D93-47E2-A1D5-6CB8C68569A9}" dt="2021-04-11T10:12:23.672" v="251" actId="47"/>
        <pc:sldMkLst>
          <pc:docMk/>
          <pc:sldMk cId="3385880885" sldId="411"/>
        </pc:sldMkLst>
      </pc:sldChg>
      <pc:sldChg chg="del">
        <pc:chgData name="Thomas Stensitzki" userId="75cafe6b-2f2a-469b-85c4-eec3b9c972ba" providerId="ADAL" clId="{363DE228-8D93-47E2-A1D5-6CB8C68569A9}" dt="2021-04-11T10:12:23.672" v="251" actId="47"/>
        <pc:sldMkLst>
          <pc:docMk/>
          <pc:sldMk cId="439447182" sldId="412"/>
        </pc:sldMkLst>
      </pc:sldChg>
      <pc:sldChg chg="del">
        <pc:chgData name="Thomas Stensitzki" userId="75cafe6b-2f2a-469b-85c4-eec3b9c972ba" providerId="ADAL" clId="{363DE228-8D93-47E2-A1D5-6CB8C68569A9}" dt="2021-04-11T10:12:37.717" v="252" actId="47"/>
        <pc:sldMkLst>
          <pc:docMk/>
          <pc:sldMk cId="2971012066" sldId="413"/>
        </pc:sldMkLst>
      </pc:sldChg>
      <pc:sldChg chg="del">
        <pc:chgData name="Thomas Stensitzki" userId="75cafe6b-2f2a-469b-85c4-eec3b9c972ba" providerId="ADAL" clId="{363DE228-8D93-47E2-A1D5-6CB8C68569A9}" dt="2021-04-11T10:12:37.717" v="252" actId="47"/>
        <pc:sldMkLst>
          <pc:docMk/>
          <pc:sldMk cId="1183984408" sldId="414"/>
        </pc:sldMkLst>
      </pc:sldChg>
      <pc:sldChg chg="del">
        <pc:chgData name="Thomas Stensitzki" userId="75cafe6b-2f2a-469b-85c4-eec3b9c972ba" providerId="ADAL" clId="{363DE228-8D93-47E2-A1D5-6CB8C68569A9}" dt="2021-04-11T10:12:37.717" v="252" actId="47"/>
        <pc:sldMkLst>
          <pc:docMk/>
          <pc:sldMk cId="1388017731" sldId="415"/>
        </pc:sldMkLst>
      </pc:sldChg>
      <pc:sldChg chg="del">
        <pc:chgData name="Thomas Stensitzki" userId="75cafe6b-2f2a-469b-85c4-eec3b9c972ba" providerId="ADAL" clId="{363DE228-8D93-47E2-A1D5-6CB8C68569A9}" dt="2021-04-11T10:12:37.717" v="252" actId="47"/>
        <pc:sldMkLst>
          <pc:docMk/>
          <pc:sldMk cId="1390187629" sldId="416"/>
        </pc:sldMkLst>
      </pc:sldChg>
      <pc:sldChg chg="del">
        <pc:chgData name="Thomas Stensitzki" userId="75cafe6b-2f2a-469b-85c4-eec3b9c972ba" providerId="ADAL" clId="{363DE228-8D93-47E2-A1D5-6CB8C68569A9}" dt="2021-04-11T10:12:37.717" v="252" actId="47"/>
        <pc:sldMkLst>
          <pc:docMk/>
          <pc:sldMk cId="3737910627" sldId="417"/>
        </pc:sldMkLst>
      </pc:sldChg>
      <pc:sldChg chg="del">
        <pc:chgData name="Thomas Stensitzki" userId="75cafe6b-2f2a-469b-85c4-eec3b9c972ba" providerId="ADAL" clId="{363DE228-8D93-47E2-A1D5-6CB8C68569A9}" dt="2021-04-11T10:12:37.717" v="252" actId="47"/>
        <pc:sldMkLst>
          <pc:docMk/>
          <pc:sldMk cId="1540827525" sldId="418"/>
        </pc:sldMkLst>
      </pc:sldChg>
      <pc:sldChg chg="del">
        <pc:chgData name="Thomas Stensitzki" userId="75cafe6b-2f2a-469b-85c4-eec3b9c972ba" providerId="ADAL" clId="{363DE228-8D93-47E2-A1D5-6CB8C68569A9}" dt="2021-04-11T10:12:47.564" v="253" actId="47"/>
        <pc:sldMkLst>
          <pc:docMk/>
          <pc:sldMk cId="2335610676" sldId="419"/>
        </pc:sldMkLst>
      </pc:sldChg>
      <pc:sldChg chg="del">
        <pc:chgData name="Thomas Stensitzki" userId="75cafe6b-2f2a-469b-85c4-eec3b9c972ba" providerId="ADAL" clId="{363DE228-8D93-47E2-A1D5-6CB8C68569A9}" dt="2021-04-11T10:12:47.564" v="253" actId="47"/>
        <pc:sldMkLst>
          <pc:docMk/>
          <pc:sldMk cId="1865896873" sldId="420"/>
        </pc:sldMkLst>
      </pc:sldChg>
      <pc:sldChg chg="del">
        <pc:chgData name="Thomas Stensitzki" userId="75cafe6b-2f2a-469b-85c4-eec3b9c972ba" providerId="ADAL" clId="{363DE228-8D93-47E2-A1D5-6CB8C68569A9}" dt="2021-04-11T10:12:47.564" v="253" actId="47"/>
        <pc:sldMkLst>
          <pc:docMk/>
          <pc:sldMk cId="1524395293" sldId="421"/>
        </pc:sldMkLst>
      </pc:sldChg>
      <pc:sldChg chg="del">
        <pc:chgData name="Thomas Stensitzki" userId="75cafe6b-2f2a-469b-85c4-eec3b9c972ba" providerId="ADAL" clId="{363DE228-8D93-47E2-A1D5-6CB8C68569A9}" dt="2021-04-11T10:12:47.564" v="253" actId="47"/>
        <pc:sldMkLst>
          <pc:docMk/>
          <pc:sldMk cId="1280545839" sldId="422"/>
        </pc:sldMkLst>
      </pc:sldChg>
      <pc:sldChg chg="del">
        <pc:chgData name="Thomas Stensitzki" userId="75cafe6b-2f2a-469b-85c4-eec3b9c972ba" providerId="ADAL" clId="{363DE228-8D93-47E2-A1D5-6CB8C68569A9}" dt="2021-04-11T10:12:47.564" v="253" actId="47"/>
        <pc:sldMkLst>
          <pc:docMk/>
          <pc:sldMk cId="3310606032" sldId="423"/>
        </pc:sldMkLst>
      </pc:sldChg>
      <pc:sldChg chg="del">
        <pc:chgData name="Thomas Stensitzki" userId="75cafe6b-2f2a-469b-85c4-eec3b9c972ba" providerId="ADAL" clId="{363DE228-8D93-47E2-A1D5-6CB8C68569A9}" dt="2021-04-11T10:12:47.564" v="253" actId="47"/>
        <pc:sldMkLst>
          <pc:docMk/>
          <pc:sldMk cId="2775711133" sldId="424"/>
        </pc:sldMkLst>
      </pc:sldChg>
      <pc:sldChg chg="del">
        <pc:chgData name="Thomas Stensitzki" userId="75cafe6b-2f2a-469b-85c4-eec3b9c972ba" providerId="ADAL" clId="{363DE228-8D93-47E2-A1D5-6CB8C68569A9}" dt="2021-04-11T10:12:47.564" v="253" actId="47"/>
        <pc:sldMkLst>
          <pc:docMk/>
          <pc:sldMk cId="1206553185" sldId="425"/>
        </pc:sldMkLst>
      </pc:sldChg>
      <pc:sldChg chg="add ord">
        <pc:chgData name="Thomas Stensitzki" userId="75cafe6b-2f2a-469b-85c4-eec3b9c972ba" providerId="ADAL" clId="{363DE228-8D93-47E2-A1D5-6CB8C68569A9}" dt="2021-04-11T10:05:13.963" v="65"/>
        <pc:sldMkLst>
          <pc:docMk/>
          <pc:sldMk cId="3890497020" sldId="426"/>
        </pc:sldMkLst>
      </pc:sldChg>
      <pc:sldChg chg="addSp delSp modSp add del mod chgLayout modNotesTx">
        <pc:chgData name="Thomas Stensitzki" userId="75cafe6b-2f2a-469b-85c4-eec3b9c972ba" providerId="ADAL" clId="{363DE228-8D93-47E2-A1D5-6CB8C68569A9}" dt="2021-04-13T15:59:43.896" v="2947" actId="27636"/>
        <pc:sldMkLst>
          <pc:docMk/>
          <pc:sldMk cId="1307627255" sldId="427"/>
        </pc:sldMkLst>
        <pc:spChg chg="mod ord">
          <ac:chgData name="Thomas Stensitzki" userId="75cafe6b-2f2a-469b-85c4-eec3b9c972ba" providerId="ADAL" clId="{363DE228-8D93-47E2-A1D5-6CB8C68569A9}" dt="2021-04-11T10:42:39.361" v="816" actId="700"/>
          <ac:spMkLst>
            <pc:docMk/>
            <pc:sldMk cId="1307627255" sldId="427"/>
            <ac:spMk id="2" creationId="{50183ADD-E6D0-4570-B5FB-F95BA9130DEC}"/>
          </ac:spMkLst>
        </pc:spChg>
        <pc:spChg chg="add mod ord">
          <ac:chgData name="Thomas Stensitzki" userId="75cafe6b-2f2a-469b-85c4-eec3b9c972ba" providerId="ADAL" clId="{363DE228-8D93-47E2-A1D5-6CB8C68569A9}" dt="2021-04-13T15:59:43.896" v="2947" actId="27636"/>
          <ac:spMkLst>
            <pc:docMk/>
            <pc:sldMk cId="1307627255" sldId="427"/>
            <ac:spMk id="4" creationId="{22414E82-0501-4D9C-BD26-C17C4F59F20E}"/>
          </ac:spMkLst>
        </pc:spChg>
        <pc:spChg chg="add del mod">
          <ac:chgData name="Thomas Stensitzki" userId="75cafe6b-2f2a-469b-85c4-eec3b9c972ba" providerId="ADAL" clId="{363DE228-8D93-47E2-A1D5-6CB8C68569A9}" dt="2021-04-11T10:42:35.186" v="815" actId="478"/>
          <ac:spMkLst>
            <pc:docMk/>
            <pc:sldMk cId="1307627255" sldId="427"/>
            <ac:spMk id="5" creationId="{937AE2D3-5993-4F10-8262-EC45EBE8933B}"/>
          </ac:spMkLst>
        </pc:spChg>
        <pc:picChg chg="del mod">
          <ac:chgData name="Thomas Stensitzki" userId="75cafe6b-2f2a-469b-85c4-eec3b9c972ba" providerId="ADAL" clId="{363DE228-8D93-47E2-A1D5-6CB8C68569A9}" dt="2021-04-11T10:14:55.954" v="301" actId="478"/>
          <ac:picMkLst>
            <pc:docMk/>
            <pc:sldMk cId="1307627255" sldId="427"/>
            <ac:picMk id="1026" creationId="{6F4D62F5-9A7A-4568-B0C8-37200F0AADF0}"/>
          </ac:picMkLst>
        </pc:picChg>
        <pc:picChg chg="mod">
          <ac:chgData name="Thomas Stensitzki" userId="75cafe6b-2f2a-469b-85c4-eec3b9c972ba" providerId="ADAL" clId="{363DE228-8D93-47E2-A1D5-6CB8C68569A9}" dt="2021-04-13T15:59:39.739" v="2945" actId="1076"/>
          <ac:picMkLst>
            <pc:docMk/>
            <pc:sldMk cId="1307627255" sldId="427"/>
            <ac:picMk id="4098" creationId="{E10E7EF9-2BD3-4FE4-ACFA-F552284841ED}"/>
          </ac:picMkLst>
        </pc:picChg>
      </pc:sldChg>
      <pc:sldChg chg="addSp">
        <pc:chgData name="Thomas Stensitzki" userId="75cafe6b-2f2a-469b-85c4-eec3b9c972ba" providerId="ADAL" clId="{363DE228-8D93-47E2-A1D5-6CB8C68569A9}" dt="2021-04-11T10:41:15.968" v="807"/>
        <pc:sldMkLst>
          <pc:docMk/>
          <pc:sldMk cId="3881097693" sldId="427"/>
        </pc:sldMkLst>
        <pc:picChg chg="add">
          <ac:chgData name="Thomas Stensitzki" userId="75cafe6b-2f2a-469b-85c4-eec3b9c972ba" providerId="ADAL" clId="{363DE228-8D93-47E2-A1D5-6CB8C68569A9}" dt="2021-04-11T10:41:15.968" v="807"/>
          <ac:picMkLst>
            <pc:docMk/>
            <pc:sldMk cId="3881097693" sldId="427"/>
            <ac:picMk id="4098" creationId="{E10E7EF9-2BD3-4FE4-ACFA-F552284841ED}"/>
          </ac:picMkLst>
        </pc:picChg>
      </pc:sldChg>
      <pc:sldChg chg="addSp modSp add del mod modNotesTx">
        <pc:chgData name="Thomas Stensitzki" userId="75cafe6b-2f2a-469b-85c4-eec3b9c972ba" providerId="ADAL" clId="{363DE228-8D93-47E2-A1D5-6CB8C68569A9}" dt="2021-04-11T12:37:57.319" v="2460" actId="1440"/>
        <pc:sldMkLst>
          <pc:docMk/>
          <pc:sldMk cId="2443006273" sldId="428"/>
        </pc:sldMkLst>
        <pc:spChg chg="mod">
          <ac:chgData name="Thomas Stensitzki" userId="75cafe6b-2f2a-469b-85c4-eec3b9c972ba" providerId="ADAL" clId="{363DE228-8D93-47E2-A1D5-6CB8C68569A9}" dt="2021-04-11T10:27:12.244" v="627"/>
          <ac:spMkLst>
            <pc:docMk/>
            <pc:sldMk cId="2443006273" sldId="428"/>
            <ac:spMk id="2" creationId="{11E5EEC8-6493-4BA0-8811-4A3F48FE62AF}"/>
          </ac:spMkLst>
        </pc:spChg>
        <pc:spChg chg="add mod">
          <ac:chgData name="Thomas Stensitzki" userId="75cafe6b-2f2a-469b-85c4-eec3b9c972ba" providerId="ADAL" clId="{363DE228-8D93-47E2-A1D5-6CB8C68569A9}" dt="2021-04-11T10:31:19.642" v="681" actId="6549"/>
          <ac:spMkLst>
            <pc:docMk/>
            <pc:sldMk cId="2443006273" sldId="428"/>
            <ac:spMk id="5" creationId="{6A8D1552-1696-486B-9964-CEA61DEFC042}"/>
          </ac:spMkLst>
        </pc:spChg>
        <pc:picChg chg="mod">
          <ac:chgData name="Thomas Stensitzki" userId="75cafe6b-2f2a-469b-85c4-eec3b9c972ba" providerId="ADAL" clId="{363DE228-8D93-47E2-A1D5-6CB8C68569A9}" dt="2021-04-11T12:37:57.319" v="2460" actId="1440"/>
          <ac:picMkLst>
            <pc:docMk/>
            <pc:sldMk cId="2443006273" sldId="428"/>
            <ac:picMk id="3074" creationId="{34C63600-63F4-4247-8C21-941F3DD71546}"/>
          </ac:picMkLst>
        </pc:picChg>
      </pc:sldChg>
      <pc:sldChg chg="addSp">
        <pc:chgData name="Thomas Stensitzki" userId="75cafe6b-2f2a-469b-85c4-eec3b9c972ba" providerId="ADAL" clId="{363DE228-8D93-47E2-A1D5-6CB8C68569A9}" dt="2021-04-11T10:27:22.852" v="628"/>
        <pc:sldMkLst>
          <pc:docMk/>
          <pc:sldMk cId="4115615431" sldId="428"/>
        </pc:sldMkLst>
        <pc:picChg chg="add">
          <ac:chgData name="Thomas Stensitzki" userId="75cafe6b-2f2a-469b-85c4-eec3b9c972ba" providerId="ADAL" clId="{363DE228-8D93-47E2-A1D5-6CB8C68569A9}" dt="2021-04-11T10:27:22.852" v="628"/>
          <ac:picMkLst>
            <pc:docMk/>
            <pc:sldMk cId="4115615431" sldId="428"/>
            <ac:picMk id="3074" creationId="{34C63600-63F4-4247-8C21-941F3DD71546}"/>
          </ac:picMkLst>
        </pc:picChg>
      </pc:sldChg>
      <pc:sldChg chg="addSp">
        <pc:chgData name="Thomas Stensitzki" userId="75cafe6b-2f2a-469b-85c4-eec3b9c972ba" providerId="ADAL" clId="{363DE228-8D93-47E2-A1D5-6CB8C68569A9}" dt="2021-04-11T10:16:41.322" v="337"/>
        <pc:sldMkLst>
          <pc:docMk/>
          <pc:sldMk cId="257568806" sldId="429"/>
        </pc:sldMkLst>
        <pc:picChg chg="add">
          <ac:chgData name="Thomas Stensitzki" userId="75cafe6b-2f2a-469b-85c4-eec3b9c972ba" providerId="ADAL" clId="{363DE228-8D93-47E2-A1D5-6CB8C68569A9}" dt="2021-04-11T10:16:41.322" v="337"/>
          <ac:picMkLst>
            <pc:docMk/>
            <pc:sldMk cId="257568806" sldId="429"/>
            <ac:picMk id="2050" creationId="{44379D87-0985-4BAA-A1C6-AD5BA2780059}"/>
          </ac:picMkLst>
        </pc:picChg>
      </pc:sldChg>
      <pc:sldChg chg="addSp delSp modSp add del mod">
        <pc:chgData name="Thomas Stensitzki" userId="75cafe6b-2f2a-469b-85c4-eec3b9c972ba" providerId="ADAL" clId="{363DE228-8D93-47E2-A1D5-6CB8C68569A9}" dt="2021-04-11T12:37:59.075" v="2461" actId="1440"/>
        <pc:sldMkLst>
          <pc:docMk/>
          <pc:sldMk cId="3040654567" sldId="429"/>
        </pc:sldMkLst>
        <pc:spChg chg="add mod">
          <ac:chgData name="Thomas Stensitzki" userId="75cafe6b-2f2a-469b-85c4-eec3b9c972ba" providerId="ADAL" clId="{363DE228-8D93-47E2-A1D5-6CB8C68569A9}" dt="2021-04-11T10:19:35.267" v="612" actId="20577"/>
          <ac:spMkLst>
            <pc:docMk/>
            <pc:sldMk cId="3040654567" sldId="429"/>
            <ac:spMk id="3" creationId="{66725B6B-F40C-4F81-ABCA-FC50364EDBC2}"/>
          </ac:spMkLst>
        </pc:spChg>
        <pc:spChg chg="add del">
          <ac:chgData name="Thomas Stensitzki" userId="75cafe6b-2f2a-469b-85c4-eec3b9c972ba" providerId="ADAL" clId="{363DE228-8D93-47E2-A1D5-6CB8C68569A9}" dt="2021-04-11T10:16:37.131" v="336" actId="22"/>
          <ac:spMkLst>
            <pc:docMk/>
            <pc:sldMk cId="3040654567" sldId="429"/>
            <ac:spMk id="5" creationId="{0C6DCA73-62BB-477D-863C-3DFE0A9D7608}"/>
          </ac:spMkLst>
        </pc:spChg>
        <pc:picChg chg="del">
          <ac:chgData name="Thomas Stensitzki" userId="75cafe6b-2f2a-469b-85c4-eec3b9c972ba" providerId="ADAL" clId="{363DE228-8D93-47E2-A1D5-6CB8C68569A9}" dt="2021-04-11T10:16:27.676" v="334" actId="478"/>
          <ac:picMkLst>
            <pc:docMk/>
            <pc:sldMk cId="3040654567" sldId="429"/>
            <ac:picMk id="1026" creationId="{043285E5-2210-4AFC-A5D8-BFCD39482712}"/>
          </ac:picMkLst>
        </pc:picChg>
        <pc:picChg chg="mod">
          <ac:chgData name="Thomas Stensitzki" userId="75cafe6b-2f2a-469b-85c4-eec3b9c972ba" providerId="ADAL" clId="{363DE228-8D93-47E2-A1D5-6CB8C68569A9}" dt="2021-04-11T12:37:59.075" v="2461" actId="1440"/>
          <ac:picMkLst>
            <pc:docMk/>
            <pc:sldMk cId="3040654567" sldId="429"/>
            <ac:picMk id="2050" creationId="{44379D87-0985-4BAA-A1C6-AD5BA2780059}"/>
          </ac:picMkLst>
        </pc:picChg>
      </pc:sldChg>
      <pc:sldChg chg="addSp modSp add mod chgLayout">
        <pc:chgData name="Thomas Stensitzki" userId="75cafe6b-2f2a-469b-85c4-eec3b9c972ba" providerId="ADAL" clId="{363DE228-8D93-47E2-A1D5-6CB8C68569A9}" dt="2021-04-11T10:50:10.484" v="1088" actId="20577"/>
        <pc:sldMkLst>
          <pc:docMk/>
          <pc:sldMk cId="4042123349" sldId="430"/>
        </pc:sldMkLst>
        <pc:spChg chg="mod ord">
          <ac:chgData name="Thomas Stensitzki" userId="75cafe6b-2f2a-469b-85c4-eec3b9c972ba" providerId="ADAL" clId="{363DE228-8D93-47E2-A1D5-6CB8C68569A9}" dt="2021-04-11T10:48:03.879" v="899" actId="700"/>
          <ac:spMkLst>
            <pc:docMk/>
            <pc:sldMk cId="4042123349" sldId="430"/>
            <ac:spMk id="2" creationId="{11E5EEC8-6493-4BA0-8811-4A3F48FE62AF}"/>
          </ac:spMkLst>
        </pc:spChg>
        <pc:spChg chg="add mod ord">
          <ac:chgData name="Thomas Stensitzki" userId="75cafe6b-2f2a-469b-85c4-eec3b9c972ba" providerId="ADAL" clId="{363DE228-8D93-47E2-A1D5-6CB8C68569A9}" dt="2021-04-11T10:50:10.484" v="1088" actId="20577"/>
          <ac:spMkLst>
            <pc:docMk/>
            <pc:sldMk cId="4042123349" sldId="430"/>
            <ac:spMk id="3" creationId="{C38F2182-44D9-4C66-929D-0A2EE829EF3E}"/>
          </ac:spMkLst>
        </pc:spChg>
      </pc:sldChg>
      <pc:sldChg chg="modSp add del mod modNotesTx">
        <pc:chgData name="Thomas Stensitzki" userId="75cafe6b-2f2a-469b-85c4-eec3b9c972ba" providerId="ADAL" clId="{363DE228-8D93-47E2-A1D5-6CB8C68569A9}" dt="2021-04-13T16:19:07.791" v="3796" actId="1076"/>
        <pc:sldMkLst>
          <pc:docMk/>
          <pc:sldMk cId="1699899763" sldId="431"/>
        </pc:sldMkLst>
        <pc:spChg chg="mod">
          <ac:chgData name="Thomas Stensitzki" userId="75cafe6b-2f2a-469b-85c4-eec3b9c972ba" providerId="ADAL" clId="{363DE228-8D93-47E2-A1D5-6CB8C68569A9}" dt="2021-04-11T10:51:40.680" v="1108"/>
          <ac:spMkLst>
            <pc:docMk/>
            <pc:sldMk cId="1699899763" sldId="431"/>
            <ac:spMk id="2" creationId="{50183ADD-E6D0-4570-B5FB-F95BA9130DEC}"/>
          </ac:spMkLst>
        </pc:spChg>
        <pc:picChg chg="mod">
          <ac:chgData name="Thomas Stensitzki" userId="75cafe6b-2f2a-469b-85c4-eec3b9c972ba" providerId="ADAL" clId="{363DE228-8D93-47E2-A1D5-6CB8C68569A9}" dt="2021-04-13T16:19:07.791" v="3796" actId="1076"/>
          <ac:picMkLst>
            <pc:docMk/>
            <pc:sldMk cId="1699899763" sldId="431"/>
            <ac:picMk id="5122" creationId="{82A7607B-48A8-4617-A3AC-D6ECE7081D09}"/>
          </ac:picMkLst>
        </pc:picChg>
      </pc:sldChg>
      <pc:sldChg chg="addSp delSp modSp add del mod chgLayout">
        <pc:chgData name="Thomas Stensitzki" userId="75cafe6b-2f2a-469b-85c4-eec3b9c972ba" providerId="ADAL" clId="{363DE228-8D93-47E2-A1D5-6CB8C68569A9}" dt="2021-04-11T10:29:44.337" v="658" actId="2696"/>
        <pc:sldMkLst>
          <pc:docMk/>
          <pc:sldMk cId="3240557133" sldId="431"/>
        </pc:sldMkLst>
        <pc:spChg chg="mod ord">
          <ac:chgData name="Thomas Stensitzki" userId="75cafe6b-2f2a-469b-85c4-eec3b9c972ba" providerId="ADAL" clId="{363DE228-8D93-47E2-A1D5-6CB8C68569A9}" dt="2021-04-11T10:28:22.183" v="634" actId="700"/>
          <ac:spMkLst>
            <pc:docMk/>
            <pc:sldMk cId="3240557133" sldId="431"/>
            <ac:spMk id="2" creationId="{11E5EEC8-6493-4BA0-8811-4A3F48FE62AF}"/>
          </ac:spMkLst>
        </pc:spChg>
        <pc:spChg chg="add mod ord">
          <ac:chgData name="Thomas Stensitzki" userId="75cafe6b-2f2a-469b-85c4-eec3b9c972ba" providerId="ADAL" clId="{363DE228-8D93-47E2-A1D5-6CB8C68569A9}" dt="2021-04-11T10:29:15.899" v="657" actId="20577"/>
          <ac:spMkLst>
            <pc:docMk/>
            <pc:sldMk cId="3240557133" sldId="431"/>
            <ac:spMk id="3" creationId="{45908EBD-EAC5-4CB4-94A5-D30E0B68152C}"/>
          </ac:spMkLst>
        </pc:spChg>
        <pc:picChg chg="del">
          <ac:chgData name="Thomas Stensitzki" userId="75cafe6b-2f2a-469b-85c4-eec3b9c972ba" providerId="ADAL" clId="{363DE228-8D93-47E2-A1D5-6CB8C68569A9}" dt="2021-04-11T10:28:18.495" v="633" actId="478"/>
          <ac:picMkLst>
            <pc:docMk/>
            <pc:sldMk cId="3240557133" sldId="431"/>
            <ac:picMk id="3074" creationId="{34C63600-63F4-4247-8C21-941F3DD71546}"/>
          </ac:picMkLst>
        </pc:picChg>
      </pc:sldChg>
      <pc:sldChg chg="addSp">
        <pc:chgData name="Thomas Stensitzki" userId="75cafe6b-2f2a-469b-85c4-eec3b9c972ba" providerId="ADAL" clId="{363DE228-8D93-47E2-A1D5-6CB8C68569A9}" dt="2021-04-11T10:51:45.946" v="1109"/>
        <pc:sldMkLst>
          <pc:docMk/>
          <pc:sldMk cId="3409143287" sldId="431"/>
        </pc:sldMkLst>
        <pc:picChg chg="add">
          <ac:chgData name="Thomas Stensitzki" userId="75cafe6b-2f2a-469b-85c4-eec3b9c972ba" providerId="ADAL" clId="{363DE228-8D93-47E2-A1D5-6CB8C68569A9}" dt="2021-04-11T10:51:45.946" v="1109"/>
          <ac:picMkLst>
            <pc:docMk/>
            <pc:sldMk cId="3409143287" sldId="431"/>
            <ac:picMk id="5122" creationId="{82A7607B-48A8-4617-A3AC-D6ECE7081D09}"/>
          </ac:picMkLst>
        </pc:picChg>
      </pc:sldChg>
      <pc:sldChg chg="addSp">
        <pc:chgData name="Thomas Stensitzki" userId="75cafe6b-2f2a-469b-85c4-eec3b9c972ba" providerId="ADAL" clId="{363DE228-8D93-47E2-A1D5-6CB8C68569A9}" dt="2021-04-11T12:39:11.246" v="2485"/>
        <pc:sldMkLst>
          <pc:docMk/>
          <pc:sldMk cId="3392416001" sldId="432"/>
        </pc:sldMkLst>
        <pc:picChg chg="add">
          <ac:chgData name="Thomas Stensitzki" userId="75cafe6b-2f2a-469b-85c4-eec3b9c972ba" providerId="ADAL" clId="{363DE228-8D93-47E2-A1D5-6CB8C68569A9}" dt="2021-04-11T12:39:11.246" v="2485"/>
          <ac:picMkLst>
            <pc:docMk/>
            <pc:sldMk cId="3392416001" sldId="432"/>
            <ac:picMk id="26626" creationId="{3663870A-A009-4064-85E8-BB1974DE3D4A}"/>
          </ac:picMkLst>
        </pc:picChg>
      </pc:sldChg>
      <pc:sldChg chg="addSp delSp modSp add del mod modNotesTx">
        <pc:chgData name="Thomas Stensitzki" userId="75cafe6b-2f2a-469b-85c4-eec3b9c972ba" providerId="ADAL" clId="{363DE228-8D93-47E2-A1D5-6CB8C68569A9}" dt="2021-04-13T16:14:23.877" v="3715" actId="1440"/>
        <pc:sldMkLst>
          <pc:docMk/>
          <pc:sldMk cId="3748413395" sldId="432"/>
        </pc:sldMkLst>
        <pc:spChg chg="mod">
          <ac:chgData name="Thomas Stensitzki" userId="75cafe6b-2f2a-469b-85c4-eec3b9c972ba" providerId="ADAL" clId="{363DE228-8D93-47E2-A1D5-6CB8C68569A9}" dt="2021-04-13T16:10:05.745" v="3472" actId="20577"/>
          <ac:spMkLst>
            <pc:docMk/>
            <pc:sldMk cId="3748413395" sldId="432"/>
            <ac:spMk id="2" creationId="{11E5EEC8-6493-4BA0-8811-4A3F48FE62AF}"/>
          </ac:spMkLst>
        </pc:spChg>
        <pc:spChg chg="add del">
          <ac:chgData name="Thomas Stensitzki" userId="75cafe6b-2f2a-469b-85c4-eec3b9c972ba" providerId="ADAL" clId="{363DE228-8D93-47E2-A1D5-6CB8C68569A9}" dt="2021-04-11T12:39:28.733" v="2490" actId="22"/>
          <ac:spMkLst>
            <pc:docMk/>
            <pc:sldMk cId="3748413395" sldId="432"/>
            <ac:spMk id="5" creationId="{A2968577-50C0-484C-8753-D556C4E05ECD}"/>
          </ac:spMkLst>
        </pc:spChg>
        <pc:picChg chg="mod">
          <ac:chgData name="Thomas Stensitzki" userId="75cafe6b-2f2a-469b-85c4-eec3b9c972ba" providerId="ADAL" clId="{363DE228-8D93-47E2-A1D5-6CB8C68569A9}" dt="2021-04-13T16:14:23.877" v="3715" actId="1440"/>
          <ac:picMkLst>
            <pc:docMk/>
            <pc:sldMk cId="3748413395" sldId="432"/>
            <ac:picMk id="26626" creationId="{3663870A-A009-4064-85E8-BB1974DE3D4A}"/>
          </ac:picMkLst>
        </pc:picChg>
      </pc:sldChg>
      <pc:sldChg chg="addSp modSp add del mod">
        <pc:chgData name="Thomas Stensitzki" userId="75cafe6b-2f2a-469b-85c4-eec3b9c972ba" providerId="ADAL" clId="{363DE228-8D93-47E2-A1D5-6CB8C68569A9}" dt="2021-04-13T16:24:25.524" v="3812" actId="1076"/>
        <pc:sldMkLst>
          <pc:docMk/>
          <pc:sldMk cId="2909965873" sldId="433"/>
        </pc:sldMkLst>
        <pc:spChg chg="mod">
          <ac:chgData name="Thomas Stensitzki" userId="75cafe6b-2f2a-469b-85c4-eec3b9c972ba" providerId="ADAL" clId="{363DE228-8D93-47E2-A1D5-6CB8C68569A9}" dt="2021-04-11T10:54:53.640" v="1145" actId="20577"/>
          <ac:spMkLst>
            <pc:docMk/>
            <pc:sldMk cId="2909965873" sldId="433"/>
            <ac:spMk id="2" creationId="{50183ADD-E6D0-4570-B5FB-F95BA9130DEC}"/>
          </ac:spMkLst>
        </pc:spChg>
        <pc:spChg chg="add mod">
          <ac:chgData name="Thomas Stensitzki" userId="75cafe6b-2f2a-469b-85c4-eec3b9c972ba" providerId="ADAL" clId="{363DE228-8D93-47E2-A1D5-6CB8C68569A9}" dt="2021-04-13T16:24:25.524" v="3812" actId="1076"/>
          <ac:spMkLst>
            <pc:docMk/>
            <pc:sldMk cId="2909965873" sldId="433"/>
            <ac:spMk id="3" creationId="{AD078534-9302-46DB-A5FB-C9704F4A8A12}"/>
          </ac:spMkLst>
        </pc:spChg>
        <pc:picChg chg="add mod">
          <ac:chgData name="Thomas Stensitzki" userId="75cafe6b-2f2a-469b-85c4-eec3b9c972ba" providerId="ADAL" clId="{363DE228-8D93-47E2-A1D5-6CB8C68569A9}" dt="2021-04-13T16:20:44.610" v="3805" actId="1076"/>
          <ac:picMkLst>
            <pc:docMk/>
            <pc:sldMk cId="2909965873" sldId="433"/>
            <ac:picMk id="4" creationId="{750D8E2A-B2B9-4C20-BCD6-22AA82D82ABF}"/>
          </ac:picMkLst>
        </pc:picChg>
        <pc:picChg chg="mod">
          <ac:chgData name="Thomas Stensitzki" userId="75cafe6b-2f2a-469b-85c4-eec3b9c972ba" providerId="ADAL" clId="{363DE228-8D93-47E2-A1D5-6CB8C68569A9}" dt="2021-04-13T16:20:46.926" v="3806" actId="1076"/>
          <ac:picMkLst>
            <pc:docMk/>
            <pc:sldMk cId="2909965873" sldId="433"/>
            <ac:picMk id="8194" creationId="{7555D992-F803-412F-81A8-785927F5F17C}"/>
          </ac:picMkLst>
        </pc:picChg>
      </pc:sldChg>
      <pc:sldChg chg="addSp">
        <pc:chgData name="Thomas Stensitzki" userId="75cafe6b-2f2a-469b-85c4-eec3b9c972ba" providerId="ADAL" clId="{363DE228-8D93-47E2-A1D5-6CB8C68569A9}" dt="2021-04-11T10:54:59.110" v="1146"/>
        <pc:sldMkLst>
          <pc:docMk/>
          <pc:sldMk cId="4177504589" sldId="433"/>
        </pc:sldMkLst>
        <pc:picChg chg="add">
          <ac:chgData name="Thomas Stensitzki" userId="75cafe6b-2f2a-469b-85c4-eec3b9c972ba" providerId="ADAL" clId="{363DE228-8D93-47E2-A1D5-6CB8C68569A9}" dt="2021-04-11T10:54:59.110" v="1146"/>
          <ac:picMkLst>
            <pc:docMk/>
            <pc:sldMk cId="4177504589" sldId="433"/>
            <ac:picMk id="8194" creationId="{7555D992-F803-412F-81A8-785927F5F17C}"/>
          </ac:picMkLst>
        </pc:picChg>
      </pc:sldChg>
      <pc:sldChg chg="delSp modSp add del">
        <pc:chgData name="Thomas Stensitzki" userId="75cafe6b-2f2a-469b-85c4-eec3b9c972ba" providerId="ADAL" clId="{363DE228-8D93-47E2-A1D5-6CB8C68569A9}" dt="2021-04-11T10:53:01.072" v="1126" actId="1440"/>
        <pc:sldMkLst>
          <pc:docMk/>
          <pc:sldMk cId="2687296234" sldId="434"/>
        </pc:sldMkLst>
        <pc:picChg chg="del">
          <ac:chgData name="Thomas Stensitzki" userId="75cafe6b-2f2a-469b-85c4-eec3b9c972ba" providerId="ADAL" clId="{363DE228-8D93-47E2-A1D5-6CB8C68569A9}" dt="2021-04-11T10:52:09.510" v="1114" actId="478"/>
          <ac:picMkLst>
            <pc:docMk/>
            <pc:sldMk cId="2687296234" sldId="434"/>
            <ac:picMk id="5122" creationId="{82A7607B-48A8-4617-A3AC-D6ECE7081D09}"/>
          </ac:picMkLst>
        </pc:picChg>
        <pc:picChg chg="mod">
          <ac:chgData name="Thomas Stensitzki" userId="75cafe6b-2f2a-469b-85c4-eec3b9c972ba" providerId="ADAL" clId="{363DE228-8D93-47E2-A1D5-6CB8C68569A9}" dt="2021-04-11T10:53:01.072" v="1126" actId="1440"/>
          <ac:picMkLst>
            <pc:docMk/>
            <pc:sldMk cId="2687296234" sldId="434"/>
            <ac:picMk id="6146" creationId="{92D81F6E-E9E8-423F-B476-C9A7B153E4F5}"/>
          </ac:picMkLst>
        </pc:picChg>
        <pc:picChg chg="mod">
          <ac:chgData name="Thomas Stensitzki" userId="75cafe6b-2f2a-469b-85c4-eec3b9c972ba" providerId="ADAL" clId="{363DE228-8D93-47E2-A1D5-6CB8C68569A9}" dt="2021-04-11T10:52:59.108" v="1125" actId="1440"/>
          <ac:picMkLst>
            <pc:docMk/>
            <pc:sldMk cId="2687296234" sldId="434"/>
            <ac:picMk id="7170" creationId="{13327137-1C18-483A-89C4-A6B02C1839BA}"/>
          </ac:picMkLst>
        </pc:picChg>
      </pc:sldChg>
      <pc:sldChg chg="addSp">
        <pc:chgData name="Thomas Stensitzki" userId="75cafe6b-2f2a-469b-85c4-eec3b9c972ba" providerId="ADAL" clId="{363DE228-8D93-47E2-A1D5-6CB8C68569A9}" dt="2021-04-11T10:52:13.159" v="1115"/>
        <pc:sldMkLst>
          <pc:docMk/>
          <pc:sldMk cId="2895350850" sldId="434"/>
        </pc:sldMkLst>
        <pc:picChg chg="add">
          <ac:chgData name="Thomas Stensitzki" userId="75cafe6b-2f2a-469b-85c4-eec3b9c972ba" providerId="ADAL" clId="{363DE228-8D93-47E2-A1D5-6CB8C68569A9}" dt="2021-04-11T10:52:13.159" v="1115"/>
          <ac:picMkLst>
            <pc:docMk/>
            <pc:sldMk cId="2895350850" sldId="434"/>
            <ac:picMk id="6146" creationId="{92D81F6E-E9E8-423F-B476-C9A7B153E4F5}"/>
          </ac:picMkLst>
        </pc:picChg>
      </pc:sldChg>
      <pc:sldChg chg="addSp">
        <pc:chgData name="Thomas Stensitzki" userId="75cafe6b-2f2a-469b-85c4-eec3b9c972ba" providerId="ADAL" clId="{363DE228-8D93-47E2-A1D5-6CB8C68569A9}" dt="2021-04-11T10:52:27" v="1119"/>
        <pc:sldMkLst>
          <pc:docMk/>
          <pc:sldMk cId="3634695529" sldId="434"/>
        </pc:sldMkLst>
        <pc:picChg chg="add">
          <ac:chgData name="Thomas Stensitzki" userId="75cafe6b-2f2a-469b-85c4-eec3b9c972ba" providerId="ADAL" clId="{363DE228-8D93-47E2-A1D5-6CB8C68569A9}" dt="2021-04-11T10:52:27" v="1119"/>
          <ac:picMkLst>
            <pc:docMk/>
            <pc:sldMk cId="3634695529" sldId="434"/>
            <ac:picMk id="7170" creationId="{13327137-1C18-483A-89C4-A6B02C1839BA}"/>
          </ac:picMkLst>
        </pc:picChg>
      </pc:sldChg>
      <pc:sldChg chg="addSp">
        <pc:chgData name="Thomas Stensitzki" userId="75cafe6b-2f2a-469b-85c4-eec3b9c972ba" providerId="ADAL" clId="{363DE228-8D93-47E2-A1D5-6CB8C68569A9}" dt="2021-04-11T11:04:49.791" v="1326"/>
        <pc:sldMkLst>
          <pc:docMk/>
          <pc:sldMk cId="887293857" sldId="435"/>
        </pc:sldMkLst>
        <pc:picChg chg="add">
          <ac:chgData name="Thomas Stensitzki" userId="75cafe6b-2f2a-469b-85c4-eec3b9c972ba" providerId="ADAL" clId="{363DE228-8D93-47E2-A1D5-6CB8C68569A9}" dt="2021-04-11T11:04:49.791" v="1326"/>
          <ac:picMkLst>
            <pc:docMk/>
            <pc:sldMk cId="887293857" sldId="435"/>
            <ac:picMk id="9218" creationId="{D3A02A13-26FD-41D8-B700-08CA3E901D2E}"/>
          </ac:picMkLst>
        </pc:picChg>
      </pc:sldChg>
      <pc:sldChg chg="modSp add del mod">
        <pc:chgData name="Thomas Stensitzki" userId="75cafe6b-2f2a-469b-85c4-eec3b9c972ba" providerId="ADAL" clId="{363DE228-8D93-47E2-A1D5-6CB8C68569A9}" dt="2021-04-11T11:05:09.825" v="1329" actId="1440"/>
        <pc:sldMkLst>
          <pc:docMk/>
          <pc:sldMk cId="3916441034" sldId="435"/>
        </pc:sldMkLst>
        <pc:spChg chg="mod">
          <ac:chgData name="Thomas Stensitzki" userId="75cafe6b-2f2a-469b-85c4-eec3b9c972ba" providerId="ADAL" clId="{363DE228-8D93-47E2-A1D5-6CB8C68569A9}" dt="2021-04-11T11:04:45.627" v="1325"/>
          <ac:spMkLst>
            <pc:docMk/>
            <pc:sldMk cId="3916441034" sldId="435"/>
            <ac:spMk id="2" creationId="{50183ADD-E6D0-4570-B5FB-F95BA9130DEC}"/>
          </ac:spMkLst>
        </pc:spChg>
        <pc:picChg chg="mod">
          <ac:chgData name="Thomas Stensitzki" userId="75cafe6b-2f2a-469b-85c4-eec3b9c972ba" providerId="ADAL" clId="{363DE228-8D93-47E2-A1D5-6CB8C68569A9}" dt="2021-04-11T11:05:09.825" v="1329" actId="1440"/>
          <ac:picMkLst>
            <pc:docMk/>
            <pc:sldMk cId="3916441034" sldId="435"/>
            <ac:picMk id="9218" creationId="{D3A02A13-26FD-41D8-B700-08CA3E901D2E}"/>
          </ac:picMkLst>
        </pc:picChg>
      </pc:sldChg>
      <pc:sldChg chg="modSp add del mod modNotesTx">
        <pc:chgData name="Thomas Stensitzki" userId="75cafe6b-2f2a-469b-85c4-eec3b9c972ba" providerId="ADAL" clId="{363DE228-8D93-47E2-A1D5-6CB8C68569A9}" dt="2021-04-11T10:59:00.719" v="1242" actId="47"/>
        <pc:sldMkLst>
          <pc:docMk/>
          <pc:sldMk cId="2634348727" sldId="436"/>
        </pc:sldMkLst>
        <pc:spChg chg="mod">
          <ac:chgData name="Thomas Stensitzki" userId="75cafe6b-2f2a-469b-85c4-eec3b9c972ba" providerId="ADAL" clId="{363DE228-8D93-47E2-A1D5-6CB8C68569A9}" dt="2021-04-11T10:57:37.157" v="1204" actId="14100"/>
          <ac:spMkLst>
            <pc:docMk/>
            <pc:sldMk cId="2634348727" sldId="436"/>
            <ac:spMk id="2" creationId="{909DC09D-B9A6-4493-9A72-1CA7ECB1F5CA}"/>
          </ac:spMkLst>
        </pc:spChg>
        <pc:spChg chg="mod">
          <ac:chgData name="Thomas Stensitzki" userId="75cafe6b-2f2a-469b-85c4-eec3b9c972ba" providerId="ADAL" clId="{363DE228-8D93-47E2-A1D5-6CB8C68569A9}" dt="2021-04-11T10:58:42.621" v="1241" actId="108"/>
          <ac:spMkLst>
            <pc:docMk/>
            <pc:sldMk cId="2634348727" sldId="436"/>
            <ac:spMk id="5" creationId="{C24DACB5-1BEC-4C86-9652-BAFD8DE56FEF}"/>
          </ac:spMkLst>
        </pc:spChg>
      </pc:sldChg>
      <pc:sldChg chg="modSp add del mod">
        <pc:chgData name="Thomas Stensitzki" userId="75cafe6b-2f2a-469b-85c4-eec3b9c972ba" providerId="ADAL" clId="{363DE228-8D93-47E2-A1D5-6CB8C68569A9}" dt="2021-04-11T12:44:24.984" v="2516" actId="1076"/>
        <pc:sldMkLst>
          <pc:docMk/>
          <pc:sldMk cId="2665106704" sldId="437"/>
        </pc:sldMkLst>
        <pc:spChg chg="mod">
          <ac:chgData name="Thomas Stensitzki" userId="75cafe6b-2f2a-469b-85c4-eec3b9c972ba" providerId="ADAL" clId="{363DE228-8D93-47E2-A1D5-6CB8C68569A9}" dt="2021-04-11T12:44:17.106" v="2513"/>
          <ac:spMkLst>
            <pc:docMk/>
            <pc:sldMk cId="2665106704" sldId="437"/>
            <ac:spMk id="2" creationId="{11E5EEC8-6493-4BA0-8811-4A3F48FE62AF}"/>
          </ac:spMkLst>
        </pc:spChg>
        <pc:picChg chg="mod">
          <ac:chgData name="Thomas Stensitzki" userId="75cafe6b-2f2a-469b-85c4-eec3b9c972ba" providerId="ADAL" clId="{363DE228-8D93-47E2-A1D5-6CB8C68569A9}" dt="2021-04-11T12:44:24.984" v="2516" actId="1076"/>
          <ac:picMkLst>
            <pc:docMk/>
            <pc:sldMk cId="2665106704" sldId="437"/>
            <ac:picMk id="27650" creationId="{FD39F129-7796-4810-9C7D-E4C220E4CF67}"/>
          </ac:picMkLst>
        </pc:picChg>
      </pc:sldChg>
      <pc:sldChg chg="addSp">
        <pc:chgData name="Thomas Stensitzki" userId="75cafe6b-2f2a-469b-85c4-eec3b9c972ba" providerId="ADAL" clId="{363DE228-8D93-47E2-A1D5-6CB8C68569A9}" dt="2021-04-11T12:44:22.143" v="2514"/>
        <pc:sldMkLst>
          <pc:docMk/>
          <pc:sldMk cId="4058580615" sldId="437"/>
        </pc:sldMkLst>
        <pc:picChg chg="add">
          <ac:chgData name="Thomas Stensitzki" userId="75cafe6b-2f2a-469b-85c4-eec3b9c972ba" providerId="ADAL" clId="{363DE228-8D93-47E2-A1D5-6CB8C68569A9}" dt="2021-04-11T12:44:22.143" v="2514"/>
          <ac:picMkLst>
            <pc:docMk/>
            <pc:sldMk cId="4058580615" sldId="437"/>
            <ac:picMk id="27650" creationId="{FD39F129-7796-4810-9C7D-E4C220E4CF67}"/>
          </ac:picMkLst>
        </pc:picChg>
      </pc:sldChg>
      <pc:sldChg chg="modSp add mod ord modNotesTx">
        <pc:chgData name="Thomas Stensitzki" userId="75cafe6b-2f2a-469b-85c4-eec3b9c972ba" providerId="ADAL" clId="{363DE228-8D93-47E2-A1D5-6CB8C68569A9}" dt="2021-04-13T16:04:47.051" v="3178" actId="20577"/>
        <pc:sldMkLst>
          <pc:docMk/>
          <pc:sldMk cId="1968010775" sldId="438"/>
        </pc:sldMkLst>
        <pc:spChg chg="mod">
          <ac:chgData name="Thomas Stensitzki" userId="75cafe6b-2f2a-469b-85c4-eec3b9c972ba" providerId="ADAL" clId="{363DE228-8D93-47E2-A1D5-6CB8C68569A9}" dt="2021-04-13T16:04:47.051" v="3178" actId="20577"/>
          <ac:spMkLst>
            <pc:docMk/>
            <pc:sldMk cId="1968010775" sldId="438"/>
            <ac:spMk id="5" creationId="{C24DACB5-1BEC-4C86-9652-BAFD8DE56FEF}"/>
          </ac:spMkLst>
        </pc:spChg>
      </pc:sldChg>
      <pc:sldChg chg="modSp add mod ord modNotesTx">
        <pc:chgData name="Thomas Stensitzki" userId="75cafe6b-2f2a-469b-85c4-eec3b9c972ba" providerId="ADAL" clId="{363DE228-8D93-47E2-A1D5-6CB8C68569A9}" dt="2021-04-13T16:13:41.313" v="3660" actId="6549"/>
        <pc:sldMkLst>
          <pc:docMk/>
          <pc:sldMk cId="2987264023" sldId="439"/>
        </pc:sldMkLst>
        <pc:spChg chg="mod">
          <ac:chgData name="Thomas Stensitzki" userId="75cafe6b-2f2a-469b-85c4-eec3b9c972ba" providerId="ADAL" clId="{363DE228-8D93-47E2-A1D5-6CB8C68569A9}" dt="2021-04-13T16:12:56.672" v="3595" actId="14100"/>
          <ac:spMkLst>
            <pc:docMk/>
            <pc:sldMk cId="2987264023" sldId="439"/>
            <ac:spMk id="2" creationId="{909DC09D-B9A6-4493-9A72-1CA7ECB1F5CA}"/>
          </ac:spMkLst>
        </pc:spChg>
        <pc:spChg chg="mod">
          <ac:chgData name="Thomas Stensitzki" userId="75cafe6b-2f2a-469b-85c4-eec3b9c972ba" providerId="ADAL" clId="{363DE228-8D93-47E2-A1D5-6CB8C68569A9}" dt="2021-04-13T16:08:44.443" v="3468" actId="20577"/>
          <ac:spMkLst>
            <pc:docMk/>
            <pc:sldMk cId="2987264023" sldId="439"/>
            <ac:spMk id="5" creationId="{C24DACB5-1BEC-4C86-9652-BAFD8DE56FEF}"/>
          </ac:spMkLst>
        </pc:spChg>
      </pc:sldChg>
      <pc:sldChg chg="addSp delSp modSp add del mod modNotesTx">
        <pc:chgData name="Thomas Stensitzki" userId="75cafe6b-2f2a-469b-85c4-eec3b9c972ba" providerId="ADAL" clId="{363DE228-8D93-47E2-A1D5-6CB8C68569A9}" dt="2021-04-11T12:37:45.059" v="2458" actId="1440"/>
        <pc:sldMkLst>
          <pc:docMk/>
          <pc:sldMk cId="1174508103" sldId="440"/>
        </pc:sldMkLst>
        <pc:spChg chg="mod">
          <ac:chgData name="Thomas Stensitzki" userId="75cafe6b-2f2a-469b-85c4-eec3b9c972ba" providerId="ADAL" clId="{363DE228-8D93-47E2-A1D5-6CB8C68569A9}" dt="2021-04-11T11:07:20.765" v="1344"/>
          <ac:spMkLst>
            <pc:docMk/>
            <pc:sldMk cId="1174508103" sldId="440"/>
            <ac:spMk id="2" creationId="{50183ADD-E6D0-4570-B5FB-F95BA9130DEC}"/>
          </ac:spMkLst>
        </pc:spChg>
        <pc:spChg chg="add del">
          <ac:chgData name="Thomas Stensitzki" userId="75cafe6b-2f2a-469b-85c4-eec3b9c972ba" providerId="ADAL" clId="{363DE228-8D93-47E2-A1D5-6CB8C68569A9}" dt="2021-04-11T11:08:34.453" v="1354" actId="478"/>
          <ac:spMkLst>
            <pc:docMk/>
            <pc:sldMk cId="1174508103" sldId="440"/>
            <ac:spMk id="5" creationId="{5C1E7465-D3BE-4DAF-94E7-7205D4418D86}"/>
          </ac:spMkLst>
        </pc:spChg>
        <pc:picChg chg="mod">
          <ac:chgData name="Thomas Stensitzki" userId="75cafe6b-2f2a-469b-85c4-eec3b9c972ba" providerId="ADAL" clId="{363DE228-8D93-47E2-A1D5-6CB8C68569A9}" dt="2021-04-11T12:37:45.059" v="2458" actId="1440"/>
          <ac:picMkLst>
            <pc:docMk/>
            <pc:sldMk cId="1174508103" sldId="440"/>
            <ac:picMk id="10242" creationId="{0282E682-DF59-4945-9355-C607E45806E4}"/>
          </ac:picMkLst>
        </pc:picChg>
      </pc:sldChg>
      <pc:sldChg chg="addSp">
        <pc:chgData name="Thomas Stensitzki" userId="75cafe6b-2f2a-469b-85c4-eec3b9c972ba" providerId="ADAL" clId="{363DE228-8D93-47E2-A1D5-6CB8C68569A9}" dt="2021-04-11T11:07:47.962" v="1345"/>
        <pc:sldMkLst>
          <pc:docMk/>
          <pc:sldMk cId="2499793211" sldId="440"/>
        </pc:sldMkLst>
        <pc:picChg chg="add">
          <ac:chgData name="Thomas Stensitzki" userId="75cafe6b-2f2a-469b-85c4-eec3b9c972ba" providerId="ADAL" clId="{363DE228-8D93-47E2-A1D5-6CB8C68569A9}" dt="2021-04-11T11:07:47.962" v="1345"/>
          <ac:picMkLst>
            <pc:docMk/>
            <pc:sldMk cId="2499793211" sldId="440"/>
            <ac:picMk id="10242" creationId="{0282E682-DF59-4945-9355-C607E45806E4}"/>
          </ac:picMkLst>
        </pc:picChg>
      </pc:sldChg>
      <pc:sldChg chg="addSp">
        <pc:chgData name="Thomas Stensitzki" userId="75cafe6b-2f2a-469b-85c4-eec3b9c972ba" providerId="ADAL" clId="{363DE228-8D93-47E2-A1D5-6CB8C68569A9}" dt="2021-04-11T11:13:54.324" v="1471"/>
        <pc:sldMkLst>
          <pc:docMk/>
          <pc:sldMk cId="260459853" sldId="441"/>
        </pc:sldMkLst>
        <pc:picChg chg="add">
          <ac:chgData name="Thomas Stensitzki" userId="75cafe6b-2f2a-469b-85c4-eec3b9c972ba" providerId="ADAL" clId="{363DE228-8D93-47E2-A1D5-6CB8C68569A9}" dt="2021-04-11T11:13:54.324" v="1471"/>
          <ac:picMkLst>
            <pc:docMk/>
            <pc:sldMk cId="260459853" sldId="441"/>
            <ac:picMk id="13314" creationId="{84B9686C-48C0-45C9-AD07-90660856CC97}"/>
          </ac:picMkLst>
        </pc:picChg>
      </pc:sldChg>
      <pc:sldChg chg="addSp modSp add del mod">
        <pc:chgData name="Thomas Stensitzki" userId="75cafe6b-2f2a-469b-85c4-eec3b9c972ba" providerId="ADAL" clId="{363DE228-8D93-47E2-A1D5-6CB8C68569A9}" dt="2021-04-13T16:27:37.624" v="3871" actId="14100"/>
        <pc:sldMkLst>
          <pc:docMk/>
          <pc:sldMk cId="1134792597" sldId="441"/>
        </pc:sldMkLst>
        <pc:spChg chg="mod">
          <ac:chgData name="Thomas Stensitzki" userId="75cafe6b-2f2a-469b-85c4-eec3b9c972ba" providerId="ADAL" clId="{363DE228-8D93-47E2-A1D5-6CB8C68569A9}" dt="2021-04-11T11:13:50.672" v="1470"/>
          <ac:spMkLst>
            <pc:docMk/>
            <pc:sldMk cId="1134792597" sldId="441"/>
            <ac:spMk id="2" creationId="{50183ADD-E6D0-4570-B5FB-F95BA9130DEC}"/>
          </ac:spMkLst>
        </pc:spChg>
        <pc:spChg chg="add mod">
          <ac:chgData name="Thomas Stensitzki" userId="75cafe6b-2f2a-469b-85c4-eec3b9c972ba" providerId="ADAL" clId="{363DE228-8D93-47E2-A1D5-6CB8C68569A9}" dt="2021-04-13T16:27:37.624" v="3871" actId="14100"/>
          <ac:spMkLst>
            <pc:docMk/>
            <pc:sldMk cId="1134792597" sldId="441"/>
            <ac:spMk id="3" creationId="{C5673F5D-A124-49F9-A94A-8B2D2411BE61}"/>
          </ac:spMkLst>
        </pc:spChg>
        <pc:picChg chg="mod">
          <ac:chgData name="Thomas Stensitzki" userId="75cafe6b-2f2a-469b-85c4-eec3b9c972ba" providerId="ADAL" clId="{363DE228-8D93-47E2-A1D5-6CB8C68569A9}" dt="2021-04-13T16:26:40.571" v="3865" actId="1036"/>
          <ac:picMkLst>
            <pc:docMk/>
            <pc:sldMk cId="1134792597" sldId="441"/>
            <ac:picMk id="13314" creationId="{84B9686C-48C0-45C9-AD07-90660856CC97}"/>
          </ac:picMkLst>
        </pc:picChg>
      </pc:sldChg>
      <pc:sldChg chg="addSp">
        <pc:chgData name="Thomas Stensitzki" userId="75cafe6b-2f2a-469b-85c4-eec3b9c972ba" providerId="ADAL" clId="{363DE228-8D93-47E2-A1D5-6CB8C68569A9}" dt="2021-04-11T11:08:38.735" v="1356"/>
        <pc:sldMkLst>
          <pc:docMk/>
          <pc:sldMk cId="429761498" sldId="442"/>
        </pc:sldMkLst>
        <pc:picChg chg="add">
          <ac:chgData name="Thomas Stensitzki" userId="75cafe6b-2f2a-469b-85c4-eec3b9c972ba" providerId="ADAL" clId="{363DE228-8D93-47E2-A1D5-6CB8C68569A9}" dt="2021-04-11T11:08:38.735" v="1356"/>
          <ac:picMkLst>
            <pc:docMk/>
            <pc:sldMk cId="429761498" sldId="442"/>
            <ac:picMk id="11266" creationId="{960DDDFF-56CC-481E-9B48-90E1A58D7A39}"/>
          </ac:picMkLst>
        </pc:picChg>
      </pc:sldChg>
      <pc:sldChg chg="addSp">
        <pc:chgData name="Thomas Stensitzki" userId="75cafe6b-2f2a-469b-85c4-eec3b9c972ba" providerId="ADAL" clId="{363DE228-8D93-47E2-A1D5-6CB8C68569A9}" dt="2021-04-11T11:09:45.179" v="1361"/>
        <pc:sldMkLst>
          <pc:docMk/>
          <pc:sldMk cId="1411663160" sldId="442"/>
        </pc:sldMkLst>
        <pc:picChg chg="add">
          <ac:chgData name="Thomas Stensitzki" userId="75cafe6b-2f2a-469b-85c4-eec3b9c972ba" providerId="ADAL" clId="{363DE228-8D93-47E2-A1D5-6CB8C68569A9}" dt="2021-04-11T11:09:45.179" v="1361"/>
          <ac:picMkLst>
            <pc:docMk/>
            <pc:sldMk cId="1411663160" sldId="442"/>
            <ac:picMk id="12290" creationId="{01009F62-B242-48CC-8117-02C2E562F017}"/>
          </ac:picMkLst>
        </pc:picChg>
      </pc:sldChg>
      <pc:sldChg chg="delSp modSp add del mod">
        <pc:chgData name="Thomas Stensitzki" userId="75cafe6b-2f2a-469b-85c4-eec3b9c972ba" providerId="ADAL" clId="{363DE228-8D93-47E2-A1D5-6CB8C68569A9}" dt="2021-04-13T16:26:31.793" v="3849" actId="1035"/>
        <pc:sldMkLst>
          <pc:docMk/>
          <pc:sldMk cId="3082151148" sldId="442"/>
        </pc:sldMkLst>
        <pc:spChg chg="del">
          <ac:chgData name="Thomas Stensitzki" userId="75cafe6b-2f2a-469b-85c4-eec3b9c972ba" providerId="ADAL" clId="{363DE228-8D93-47E2-A1D5-6CB8C68569A9}" dt="2021-04-11T11:08:37.412" v="1355" actId="478"/>
          <ac:spMkLst>
            <pc:docMk/>
            <pc:sldMk cId="3082151148" sldId="442"/>
            <ac:spMk id="5" creationId="{5C1E7465-D3BE-4DAF-94E7-7205D4418D86}"/>
          </ac:spMkLst>
        </pc:spChg>
        <pc:picChg chg="del">
          <ac:chgData name="Thomas Stensitzki" userId="75cafe6b-2f2a-469b-85c4-eec3b9c972ba" providerId="ADAL" clId="{363DE228-8D93-47E2-A1D5-6CB8C68569A9}" dt="2021-04-11T11:08:25.034" v="1353" actId="478"/>
          <ac:picMkLst>
            <pc:docMk/>
            <pc:sldMk cId="3082151148" sldId="442"/>
            <ac:picMk id="10242" creationId="{0282E682-DF59-4945-9355-C607E45806E4}"/>
          </ac:picMkLst>
        </pc:picChg>
        <pc:picChg chg="mod">
          <ac:chgData name="Thomas Stensitzki" userId="75cafe6b-2f2a-469b-85c4-eec3b9c972ba" providerId="ADAL" clId="{363DE228-8D93-47E2-A1D5-6CB8C68569A9}" dt="2021-04-13T16:26:31.793" v="3849" actId="1035"/>
          <ac:picMkLst>
            <pc:docMk/>
            <pc:sldMk cId="3082151148" sldId="442"/>
            <ac:picMk id="11266" creationId="{960DDDFF-56CC-481E-9B48-90E1A58D7A39}"/>
          </ac:picMkLst>
        </pc:picChg>
        <pc:picChg chg="mod">
          <ac:chgData name="Thomas Stensitzki" userId="75cafe6b-2f2a-469b-85c4-eec3b9c972ba" providerId="ADAL" clId="{363DE228-8D93-47E2-A1D5-6CB8C68569A9}" dt="2021-04-13T16:26:27.473" v="3838" actId="1036"/>
          <ac:picMkLst>
            <pc:docMk/>
            <pc:sldMk cId="3082151148" sldId="442"/>
            <ac:picMk id="12290" creationId="{01009F62-B242-48CC-8117-02C2E562F017}"/>
          </ac:picMkLst>
        </pc:picChg>
      </pc:sldChg>
      <pc:sldChg chg="addSp modSp add del mod chgLayout">
        <pc:chgData name="Thomas Stensitzki" userId="75cafe6b-2f2a-469b-85c4-eec3b9c972ba" providerId="ADAL" clId="{363DE228-8D93-47E2-A1D5-6CB8C68569A9}" dt="2021-04-13T16:30:27.207" v="3874" actId="1076"/>
        <pc:sldMkLst>
          <pc:docMk/>
          <pc:sldMk cId="2894310663" sldId="443"/>
        </pc:sldMkLst>
        <pc:spChg chg="mod ord">
          <ac:chgData name="Thomas Stensitzki" userId="75cafe6b-2f2a-469b-85c4-eec3b9c972ba" providerId="ADAL" clId="{363DE228-8D93-47E2-A1D5-6CB8C68569A9}" dt="2021-04-11T12:16:22.638" v="1734" actId="700"/>
          <ac:spMkLst>
            <pc:docMk/>
            <pc:sldMk cId="2894310663" sldId="443"/>
            <ac:spMk id="2" creationId="{50183ADD-E6D0-4570-B5FB-F95BA9130DEC}"/>
          </ac:spMkLst>
        </pc:spChg>
        <pc:spChg chg="add mod ord">
          <ac:chgData name="Thomas Stensitzki" userId="75cafe6b-2f2a-469b-85c4-eec3b9c972ba" providerId="ADAL" clId="{363DE228-8D93-47E2-A1D5-6CB8C68569A9}" dt="2021-04-11T12:17:43.883" v="1766" actId="20577"/>
          <ac:spMkLst>
            <pc:docMk/>
            <pc:sldMk cId="2894310663" sldId="443"/>
            <ac:spMk id="3" creationId="{BA26520B-182E-4663-8494-7C118FD95DC0}"/>
          </ac:spMkLst>
        </pc:spChg>
        <pc:spChg chg="add mod">
          <ac:chgData name="Thomas Stensitzki" userId="75cafe6b-2f2a-469b-85c4-eec3b9c972ba" providerId="ADAL" clId="{363DE228-8D93-47E2-A1D5-6CB8C68569A9}" dt="2021-04-11T12:18:18.284" v="1772" actId="1076"/>
          <ac:spMkLst>
            <pc:docMk/>
            <pc:sldMk cId="2894310663" sldId="443"/>
            <ac:spMk id="6" creationId="{092F3A9E-3C85-42E7-AAE2-570492847E53}"/>
          </ac:spMkLst>
        </pc:spChg>
        <pc:picChg chg="mod">
          <ac:chgData name="Thomas Stensitzki" userId="75cafe6b-2f2a-469b-85c4-eec3b9c972ba" providerId="ADAL" clId="{363DE228-8D93-47E2-A1D5-6CB8C68569A9}" dt="2021-04-13T16:30:27.207" v="3874" actId="1076"/>
          <ac:picMkLst>
            <pc:docMk/>
            <pc:sldMk cId="2894310663" sldId="443"/>
            <ac:picMk id="14338" creationId="{C8543E28-7205-4AC6-A54D-0064BA5D8A10}"/>
          </ac:picMkLst>
        </pc:picChg>
      </pc:sldChg>
      <pc:sldChg chg="addSp">
        <pc:chgData name="Thomas Stensitzki" userId="75cafe6b-2f2a-469b-85c4-eec3b9c972ba" providerId="ADAL" clId="{363DE228-8D93-47E2-A1D5-6CB8C68569A9}" dt="2021-04-11T12:16:02.719" v="1730"/>
        <pc:sldMkLst>
          <pc:docMk/>
          <pc:sldMk cId="3726450046" sldId="443"/>
        </pc:sldMkLst>
        <pc:picChg chg="add">
          <ac:chgData name="Thomas Stensitzki" userId="75cafe6b-2f2a-469b-85c4-eec3b9c972ba" providerId="ADAL" clId="{363DE228-8D93-47E2-A1D5-6CB8C68569A9}" dt="2021-04-11T12:16:02.719" v="1730"/>
          <ac:picMkLst>
            <pc:docMk/>
            <pc:sldMk cId="3726450046" sldId="443"/>
            <ac:picMk id="14338" creationId="{C8543E28-7205-4AC6-A54D-0064BA5D8A10}"/>
          </ac:picMkLst>
        </pc:picChg>
      </pc:sldChg>
      <pc:sldChg chg="addSp delSp modSp add mod chgLayout">
        <pc:chgData name="Thomas Stensitzki" userId="75cafe6b-2f2a-469b-85c4-eec3b9c972ba" providerId="ADAL" clId="{363DE228-8D93-47E2-A1D5-6CB8C68569A9}" dt="2021-04-13T16:29:49.374" v="3873" actId="113"/>
        <pc:sldMkLst>
          <pc:docMk/>
          <pc:sldMk cId="625199879" sldId="444"/>
        </pc:sldMkLst>
        <pc:spChg chg="mod ord">
          <ac:chgData name="Thomas Stensitzki" userId="75cafe6b-2f2a-469b-85c4-eec3b9c972ba" providerId="ADAL" clId="{363DE228-8D93-47E2-A1D5-6CB8C68569A9}" dt="2021-04-11T11:14:42.862" v="1477" actId="700"/>
          <ac:spMkLst>
            <pc:docMk/>
            <pc:sldMk cId="625199879" sldId="444"/>
            <ac:spMk id="2" creationId="{50183ADD-E6D0-4570-B5FB-F95BA9130DEC}"/>
          </ac:spMkLst>
        </pc:spChg>
        <pc:spChg chg="add del mod ord">
          <ac:chgData name="Thomas Stensitzki" userId="75cafe6b-2f2a-469b-85c4-eec3b9c972ba" providerId="ADAL" clId="{363DE228-8D93-47E2-A1D5-6CB8C68569A9}" dt="2021-04-11T11:15:02.313" v="1478" actId="3680"/>
          <ac:spMkLst>
            <pc:docMk/>
            <pc:sldMk cId="625199879" sldId="444"/>
            <ac:spMk id="3" creationId="{78D8FCD1-D8DB-4D60-859C-7265AD172D70}"/>
          </ac:spMkLst>
        </pc:spChg>
        <pc:graphicFrameChg chg="add mod ord modGraphic">
          <ac:chgData name="Thomas Stensitzki" userId="75cafe6b-2f2a-469b-85c4-eec3b9c972ba" providerId="ADAL" clId="{363DE228-8D93-47E2-A1D5-6CB8C68569A9}" dt="2021-04-13T16:29:49.374" v="3873" actId="113"/>
          <ac:graphicFrameMkLst>
            <pc:docMk/>
            <pc:sldMk cId="625199879" sldId="444"/>
            <ac:graphicFrameMk id="4" creationId="{0F22A601-A9C9-4363-ABFD-8ED7802B0289}"/>
          </ac:graphicFrameMkLst>
        </pc:graphicFrameChg>
        <pc:picChg chg="del">
          <ac:chgData name="Thomas Stensitzki" userId="75cafe6b-2f2a-469b-85c4-eec3b9c972ba" providerId="ADAL" clId="{363DE228-8D93-47E2-A1D5-6CB8C68569A9}" dt="2021-04-11T11:14:38.490" v="1476" actId="478"/>
          <ac:picMkLst>
            <pc:docMk/>
            <pc:sldMk cId="625199879" sldId="444"/>
            <ac:picMk id="13314" creationId="{84B9686C-48C0-45C9-AD07-90660856CC97}"/>
          </ac:picMkLst>
        </pc:picChg>
      </pc:sldChg>
      <pc:sldChg chg="modSp add del mod">
        <pc:chgData name="Thomas Stensitzki" userId="75cafe6b-2f2a-469b-85c4-eec3b9c972ba" providerId="ADAL" clId="{363DE228-8D93-47E2-A1D5-6CB8C68569A9}" dt="2021-04-11T12:37:35.160" v="2453" actId="1440"/>
        <pc:sldMkLst>
          <pc:docMk/>
          <pc:sldMk cId="1296016441" sldId="445"/>
        </pc:sldMkLst>
        <pc:spChg chg="mod">
          <ac:chgData name="Thomas Stensitzki" userId="75cafe6b-2f2a-469b-85c4-eec3b9c972ba" providerId="ADAL" clId="{363DE228-8D93-47E2-A1D5-6CB8C68569A9}" dt="2021-04-11T12:19:09.631" v="1797"/>
          <ac:spMkLst>
            <pc:docMk/>
            <pc:sldMk cId="1296016441" sldId="445"/>
            <ac:spMk id="2" creationId="{50183ADD-E6D0-4570-B5FB-F95BA9130DEC}"/>
          </ac:spMkLst>
        </pc:spChg>
        <pc:picChg chg="mod">
          <ac:chgData name="Thomas Stensitzki" userId="75cafe6b-2f2a-469b-85c4-eec3b9c972ba" providerId="ADAL" clId="{363DE228-8D93-47E2-A1D5-6CB8C68569A9}" dt="2021-04-11T12:37:35.160" v="2453" actId="1440"/>
          <ac:picMkLst>
            <pc:docMk/>
            <pc:sldMk cId="1296016441" sldId="445"/>
            <ac:picMk id="15362" creationId="{45A7CBBE-01F4-4EDA-9C23-0C2D154F86BA}"/>
          </ac:picMkLst>
        </pc:picChg>
      </pc:sldChg>
      <pc:sldChg chg="addSp">
        <pc:chgData name="Thomas Stensitzki" userId="75cafe6b-2f2a-469b-85c4-eec3b9c972ba" providerId="ADAL" clId="{363DE228-8D93-47E2-A1D5-6CB8C68569A9}" dt="2021-04-11T12:19:16.182" v="1798"/>
        <pc:sldMkLst>
          <pc:docMk/>
          <pc:sldMk cId="1359793213" sldId="445"/>
        </pc:sldMkLst>
        <pc:picChg chg="add">
          <ac:chgData name="Thomas Stensitzki" userId="75cafe6b-2f2a-469b-85c4-eec3b9c972ba" providerId="ADAL" clId="{363DE228-8D93-47E2-A1D5-6CB8C68569A9}" dt="2021-04-11T12:19:16.182" v="1798"/>
          <ac:picMkLst>
            <pc:docMk/>
            <pc:sldMk cId="1359793213" sldId="445"/>
            <ac:picMk id="15362" creationId="{45A7CBBE-01F4-4EDA-9C23-0C2D154F86BA}"/>
          </ac:picMkLst>
        </pc:picChg>
      </pc:sldChg>
      <pc:sldChg chg="addSp">
        <pc:chgData name="Thomas Stensitzki" userId="75cafe6b-2f2a-469b-85c4-eec3b9c972ba" providerId="ADAL" clId="{363DE228-8D93-47E2-A1D5-6CB8C68569A9}" dt="2021-04-11T12:20:38.424" v="1824"/>
        <pc:sldMkLst>
          <pc:docMk/>
          <pc:sldMk cId="2314800460" sldId="446"/>
        </pc:sldMkLst>
        <pc:picChg chg="add">
          <ac:chgData name="Thomas Stensitzki" userId="75cafe6b-2f2a-469b-85c4-eec3b9c972ba" providerId="ADAL" clId="{363DE228-8D93-47E2-A1D5-6CB8C68569A9}" dt="2021-04-11T12:20:38.424" v="1824"/>
          <ac:picMkLst>
            <pc:docMk/>
            <pc:sldMk cId="2314800460" sldId="446"/>
            <ac:picMk id="16386" creationId="{73AAB821-D611-4DB7-B190-1DEFD0271BC9}"/>
          </ac:picMkLst>
        </pc:picChg>
      </pc:sldChg>
      <pc:sldChg chg="modSp add del mod">
        <pc:chgData name="Thomas Stensitzki" userId="75cafe6b-2f2a-469b-85c4-eec3b9c972ba" providerId="ADAL" clId="{363DE228-8D93-47E2-A1D5-6CB8C68569A9}" dt="2021-04-11T12:37:30.682" v="2452" actId="1440"/>
        <pc:sldMkLst>
          <pc:docMk/>
          <pc:sldMk cId="2712150207" sldId="446"/>
        </pc:sldMkLst>
        <pc:spChg chg="mod">
          <ac:chgData name="Thomas Stensitzki" userId="75cafe6b-2f2a-469b-85c4-eec3b9c972ba" providerId="ADAL" clId="{363DE228-8D93-47E2-A1D5-6CB8C68569A9}" dt="2021-04-11T12:20:32.521" v="1823"/>
          <ac:spMkLst>
            <pc:docMk/>
            <pc:sldMk cId="2712150207" sldId="446"/>
            <ac:spMk id="2" creationId="{50183ADD-E6D0-4570-B5FB-F95BA9130DEC}"/>
          </ac:spMkLst>
        </pc:spChg>
        <pc:picChg chg="mod">
          <ac:chgData name="Thomas Stensitzki" userId="75cafe6b-2f2a-469b-85c4-eec3b9c972ba" providerId="ADAL" clId="{363DE228-8D93-47E2-A1D5-6CB8C68569A9}" dt="2021-04-11T12:37:30.682" v="2452" actId="1440"/>
          <ac:picMkLst>
            <pc:docMk/>
            <pc:sldMk cId="2712150207" sldId="446"/>
            <ac:picMk id="16386" creationId="{73AAB821-D611-4DB7-B190-1DEFD0271BC9}"/>
          </ac:picMkLst>
        </pc:picChg>
      </pc:sldChg>
      <pc:sldChg chg="addSp modSp add del mod chgLayout">
        <pc:chgData name="Thomas Stensitzki" userId="75cafe6b-2f2a-469b-85c4-eec3b9c972ba" providerId="ADAL" clId="{363DE228-8D93-47E2-A1D5-6CB8C68569A9}" dt="2021-04-11T12:37:27.555" v="2451" actId="1440"/>
        <pc:sldMkLst>
          <pc:docMk/>
          <pc:sldMk cId="3622258366" sldId="447"/>
        </pc:sldMkLst>
        <pc:spChg chg="mod ord">
          <ac:chgData name="Thomas Stensitzki" userId="75cafe6b-2f2a-469b-85c4-eec3b9c972ba" providerId="ADAL" clId="{363DE228-8D93-47E2-A1D5-6CB8C68569A9}" dt="2021-04-11T12:24:01.159" v="1879" actId="700"/>
          <ac:spMkLst>
            <pc:docMk/>
            <pc:sldMk cId="3622258366" sldId="447"/>
            <ac:spMk id="2" creationId="{50183ADD-E6D0-4570-B5FB-F95BA9130DEC}"/>
          </ac:spMkLst>
        </pc:spChg>
        <pc:spChg chg="add mod ord">
          <ac:chgData name="Thomas Stensitzki" userId="75cafe6b-2f2a-469b-85c4-eec3b9c972ba" providerId="ADAL" clId="{363DE228-8D93-47E2-A1D5-6CB8C68569A9}" dt="2021-04-11T12:26:11.509" v="2070" actId="20577"/>
          <ac:spMkLst>
            <pc:docMk/>
            <pc:sldMk cId="3622258366" sldId="447"/>
            <ac:spMk id="3" creationId="{753A6C28-5235-4785-817A-3E51163696AE}"/>
          </ac:spMkLst>
        </pc:spChg>
        <pc:picChg chg="mod">
          <ac:chgData name="Thomas Stensitzki" userId="75cafe6b-2f2a-469b-85c4-eec3b9c972ba" providerId="ADAL" clId="{363DE228-8D93-47E2-A1D5-6CB8C68569A9}" dt="2021-04-11T12:37:27.555" v="2451" actId="1440"/>
          <ac:picMkLst>
            <pc:docMk/>
            <pc:sldMk cId="3622258366" sldId="447"/>
            <ac:picMk id="17410" creationId="{01F8CDA8-6946-4ACB-8DF9-C38B518CA35E}"/>
          </ac:picMkLst>
        </pc:picChg>
      </pc:sldChg>
      <pc:sldChg chg="addSp">
        <pc:chgData name="Thomas Stensitzki" userId="75cafe6b-2f2a-469b-85c4-eec3b9c972ba" providerId="ADAL" clId="{363DE228-8D93-47E2-A1D5-6CB8C68569A9}" dt="2021-04-11T12:23:52.069" v="1875"/>
        <pc:sldMkLst>
          <pc:docMk/>
          <pc:sldMk cId="3804870860" sldId="447"/>
        </pc:sldMkLst>
        <pc:picChg chg="add">
          <ac:chgData name="Thomas Stensitzki" userId="75cafe6b-2f2a-469b-85c4-eec3b9c972ba" providerId="ADAL" clId="{363DE228-8D93-47E2-A1D5-6CB8C68569A9}" dt="2021-04-11T12:23:52.069" v="1875"/>
          <ac:picMkLst>
            <pc:docMk/>
            <pc:sldMk cId="3804870860" sldId="447"/>
            <ac:picMk id="17410" creationId="{01F8CDA8-6946-4ACB-8DF9-C38B518CA35E}"/>
          </ac:picMkLst>
        </pc:picChg>
      </pc:sldChg>
      <pc:sldChg chg="modSp add mod ord modNotesTx">
        <pc:chgData name="Thomas Stensitzki" userId="75cafe6b-2f2a-469b-85c4-eec3b9c972ba" providerId="ADAL" clId="{363DE228-8D93-47E2-A1D5-6CB8C68569A9}" dt="2021-04-13T16:05:31.779" v="3208" actId="20577"/>
        <pc:sldMkLst>
          <pc:docMk/>
          <pc:sldMk cId="1736350639" sldId="448"/>
        </pc:sldMkLst>
        <pc:spChg chg="mod">
          <ac:chgData name="Thomas Stensitzki" userId="75cafe6b-2f2a-469b-85c4-eec3b9c972ba" providerId="ADAL" clId="{363DE228-8D93-47E2-A1D5-6CB8C68569A9}" dt="2021-04-13T16:05:31.779" v="3208" actId="20577"/>
          <ac:spMkLst>
            <pc:docMk/>
            <pc:sldMk cId="1736350639" sldId="448"/>
            <ac:spMk id="5" creationId="{C24DACB5-1BEC-4C86-9652-BAFD8DE56FEF}"/>
          </ac:spMkLst>
        </pc:spChg>
      </pc:sldChg>
      <pc:sldChg chg="addSp">
        <pc:chgData name="Thomas Stensitzki" userId="75cafe6b-2f2a-469b-85c4-eec3b9c972ba" providerId="ADAL" clId="{363DE228-8D93-47E2-A1D5-6CB8C68569A9}" dt="2021-04-11T12:27:26.506" v="2097"/>
        <pc:sldMkLst>
          <pc:docMk/>
          <pc:sldMk cId="732407738" sldId="449"/>
        </pc:sldMkLst>
        <pc:picChg chg="add">
          <ac:chgData name="Thomas Stensitzki" userId="75cafe6b-2f2a-469b-85c4-eec3b9c972ba" providerId="ADAL" clId="{363DE228-8D93-47E2-A1D5-6CB8C68569A9}" dt="2021-04-11T12:27:26.506" v="2097"/>
          <ac:picMkLst>
            <pc:docMk/>
            <pc:sldMk cId="732407738" sldId="449"/>
            <ac:picMk id="19458" creationId="{AD4FC084-E460-4FDE-B24B-B8078181CB5A}"/>
          </ac:picMkLst>
        </pc:picChg>
      </pc:sldChg>
      <pc:sldChg chg="modSp add del mod">
        <pc:chgData name="Thomas Stensitzki" userId="75cafe6b-2f2a-469b-85c4-eec3b9c972ba" providerId="ADAL" clId="{363DE228-8D93-47E2-A1D5-6CB8C68569A9}" dt="2021-04-11T12:37:25.067" v="2450" actId="1440"/>
        <pc:sldMkLst>
          <pc:docMk/>
          <pc:sldMk cId="2730803217" sldId="449"/>
        </pc:sldMkLst>
        <pc:spChg chg="mod">
          <ac:chgData name="Thomas Stensitzki" userId="75cafe6b-2f2a-469b-85c4-eec3b9c972ba" providerId="ADAL" clId="{363DE228-8D93-47E2-A1D5-6CB8C68569A9}" dt="2021-04-11T12:26:57.186" v="2092"/>
          <ac:spMkLst>
            <pc:docMk/>
            <pc:sldMk cId="2730803217" sldId="449"/>
            <ac:spMk id="2" creationId="{50183ADD-E6D0-4570-B5FB-F95BA9130DEC}"/>
          </ac:spMkLst>
        </pc:spChg>
        <pc:picChg chg="mod">
          <ac:chgData name="Thomas Stensitzki" userId="75cafe6b-2f2a-469b-85c4-eec3b9c972ba" providerId="ADAL" clId="{363DE228-8D93-47E2-A1D5-6CB8C68569A9}" dt="2021-04-11T12:37:25.067" v="2450" actId="1440"/>
          <ac:picMkLst>
            <pc:docMk/>
            <pc:sldMk cId="2730803217" sldId="449"/>
            <ac:picMk id="18434" creationId="{4404F047-5A3E-4015-9D2D-FFC316BCED24}"/>
          </ac:picMkLst>
        </pc:picChg>
        <pc:picChg chg="mod">
          <ac:chgData name="Thomas Stensitzki" userId="75cafe6b-2f2a-469b-85c4-eec3b9c972ba" providerId="ADAL" clId="{363DE228-8D93-47E2-A1D5-6CB8C68569A9}" dt="2021-04-11T12:37:24.295" v="2449" actId="1440"/>
          <ac:picMkLst>
            <pc:docMk/>
            <pc:sldMk cId="2730803217" sldId="449"/>
            <ac:picMk id="19458" creationId="{AD4FC084-E460-4FDE-B24B-B8078181CB5A}"/>
          </ac:picMkLst>
        </pc:picChg>
      </pc:sldChg>
      <pc:sldChg chg="addSp">
        <pc:chgData name="Thomas Stensitzki" userId="75cafe6b-2f2a-469b-85c4-eec3b9c972ba" providerId="ADAL" clId="{363DE228-8D93-47E2-A1D5-6CB8C68569A9}" dt="2021-04-11T12:27:08.898" v="2093"/>
        <pc:sldMkLst>
          <pc:docMk/>
          <pc:sldMk cId="2947644510" sldId="449"/>
        </pc:sldMkLst>
        <pc:picChg chg="add">
          <ac:chgData name="Thomas Stensitzki" userId="75cafe6b-2f2a-469b-85c4-eec3b9c972ba" providerId="ADAL" clId="{363DE228-8D93-47E2-A1D5-6CB8C68569A9}" dt="2021-04-11T12:27:08.898" v="2093"/>
          <ac:picMkLst>
            <pc:docMk/>
            <pc:sldMk cId="2947644510" sldId="449"/>
            <ac:picMk id="18434" creationId="{4404F047-5A3E-4015-9D2D-FFC316BCED24}"/>
          </ac:picMkLst>
        </pc:picChg>
      </pc:sldChg>
      <pc:sldChg chg="modSp add del mod modNotesTx">
        <pc:chgData name="Thomas Stensitzki" userId="75cafe6b-2f2a-469b-85c4-eec3b9c972ba" providerId="ADAL" clId="{363DE228-8D93-47E2-A1D5-6CB8C68569A9}" dt="2021-04-11T12:37:18.740" v="2447" actId="1440"/>
        <pc:sldMkLst>
          <pc:docMk/>
          <pc:sldMk cId="1458715789" sldId="450"/>
        </pc:sldMkLst>
        <pc:spChg chg="mod">
          <ac:chgData name="Thomas Stensitzki" userId="75cafe6b-2f2a-469b-85c4-eec3b9c972ba" providerId="ADAL" clId="{363DE228-8D93-47E2-A1D5-6CB8C68569A9}" dt="2021-04-11T12:29:15.667" v="2133"/>
          <ac:spMkLst>
            <pc:docMk/>
            <pc:sldMk cId="1458715789" sldId="450"/>
            <ac:spMk id="2" creationId="{50183ADD-E6D0-4570-B5FB-F95BA9130DEC}"/>
          </ac:spMkLst>
        </pc:spChg>
        <pc:picChg chg="mod">
          <ac:chgData name="Thomas Stensitzki" userId="75cafe6b-2f2a-469b-85c4-eec3b9c972ba" providerId="ADAL" clId="{363DE228-8D93-47E2-A1D5-6CB8C68569A9}" dt="2021-04-11T12:37:18.740" v="2447" actId="1440"/>
          <ac:picMkLst>
            <pc:docMk/>
            <pc:sldMk cId="1458715789" sldId="450"/>
            <ac:picMk id="21506" creationId="{BE06DE3E-E764-42FF-886E-5F8F7A206360}"/>
          </ac:picMkLst>
        </pc:picChg>
      </pc:sldChg>
      <pc:sldChg chg="addSp">
        <pc:chgData name="Thomas Stensitzki" userId="75cafe6b-2f2a-469b-85c4-eec3b9c972ba" providerId="ADAL" clId="{363DE228-8D93-47E2-A1D5-6CB8C68569A9}" dt="2021-04-11T12:29:33.419" v="2136"/>
        <pc:sldMkLst>
          <pc:docMk/>
          <pc:sldMk cId="3580567376" sldId="450"/>
        </pc:sldMkLst>
        <pc:picChg chg="add">
          <ac:chgData name="Thomas Stensitzki" userId="75cafe6b-2f2a-469b-85c4-eec3b9c972ba" providerId="ADAL" clId="{363DE228-8D93-47E2-A1D5-6CB8C68569A9}" dt="2021-04-11T12:29:33.419" v="2136"/>
          <ac:picMkLst>
            <pc:docMk/>
            <pc:sldMk cId="3580567376" sldId="450"/>
            <ac:picMk id="21506" creationId="{BE06DE3E-E764-42FF-886E-5F8F7A206360}"/>
          </ac:picMkLst>
        </pc:picChg>
      </pc:sldChg>
      <pc:sldChg chg="addSp">
        <pc:chgData name="Thomas Stensitzki" userId="75cafe6b-2f2a-469b-85c4-eec3b9c972ba" providerId="ADAL" clId="{363DE228-8D93-47E2-A1D5-6CB8C68569A9}" dt="2021-04-11T12:27:51.512" v="2103"/>
        <pc:sldMkLst>
          <pc:docMk/>
          <pc:sldMk cId="211374260" sldId="451"/>
        </pc:sldMkLst>
        <pc:picChg chg="add">
          <ac:chgData name="Thomas Stensitzki" userId="75cafe6b-2f2a-469b-85c4-eec3b9c972ba" providerId="ADAL" clId="{363DE228-8D93-47E2-A1D5-6CB8C68569A9}" dt="2021-04-11T12:27:51.512" v="2103"/>
          <ac:picMkLst>
            <pc:docMk/>
            <pc:sldMk cId="211374260" sldId="451"/>
            <ac:picMk id="20482" creationId="{F1BF2DED-0738-4DEB-B581-70C36CD1EDC7}"/>
          </ac:picMkLst>
        </pc:picChg>
      </pc:sldChg>
      <pc:sldChg chg="delSp modSp add del">
        <pc:chgData name="Thomas Stensitzki" userId="75cafe6b-2f2a-469b-85c4-eec3b9c972ba" providerId="ADAL" clId="{363DE228-8D93-47E2-A1D5-6CB8C68569A9}" dt="2021-04-11T12:37:20.585" v="2448" actId="1440"/>
        <pc:sldMkLst>
          <pc:docMk/>
          <pc:sldMk cId="3121195372" sldId="451"/>
        </pc:sldMkLst>
        <pc:picChg chg="del">
          <ac:chgData name="Thomas Stensitzki" userId="75cafe6b-2f2a-469b-85c4-eec3b9c972ba" providerId="ADAL" clId="{363DE228-8D93-47E2-A1D5-6CB8C68569A9}" dt="2021-04-11T12:27:47.758" v="2102" actId="478"/>
          <ac:picMkLst>
            <pc:docMk/>
            <pc:sldMk cId="3121195372" sldId="451"/>
            <ac:picMk id="19458" creationId="{AD4FC084-E460-4FDE-B24B-B8078181CB5A}"/>
          </ac:picMkLst>
        </pc:picChg>
        <pc:picChg chg="mod">
          <ac:chgData name="Thomas Stensitzki" userId="75cafe6b-2f2a-469b-85c4-eec3b9c972ba" providerId="ADAL" clId="{363DE228-8D93-47E2-A1D5-6CB8C68569A9}" dt="2021-04-11T12:37:20.585" v="2448" actId="1440"/>
          <ac:picMkLst>
            <pc:docMk/>
            <pc:sldMk cId="3121195372" sldId="451"/>
            <ac:picMk id="20482" creationId="{F1BF2DED-0738-4DEB-B581-70C36CD1EDC7}"/>
          </ac:picMkLst>
        </pc:picChg>
      </pc:sldChg>
      <pc:sldChg chg="addSp modSp add del mod chgLayout">
        <pc:chgData name="Thomas Stensitzki" userId="75cafe6b-2f2a-469b-85c4-eec3b9c972ba" providerId="ADAL" clId="{363DE228-8D93-47E2-A1D5-6CB8C68569A9}" dt="2021-04-11T12:37:16.586" v="2446" actId="1440"/>
        <pc:sldMkLst>
          <pc:docMk/>
          <pc:sldMk cId="2280653341" sldId="452"/>
        </pc:sldMkLst>
        <pc:spChg chg="mod ord">
          <ac:chgData name="Thomas Stensitzki" userId="75cafe6b-2f2a-469b-85c4-eec3b9c972ba" providerId="ADAL" clId="{363DE228-8D93-47E2-A1D5-6CB8C68569A9}" dt="2021-04-11T12:33:53.835" v="2219" actId="700"/>
          <ac:spMkLst>
            <pc:docMk/>
            <pc:sldMk cId="2280653341" sldId="452"/>
            <ac:spMk id="2" creationId="{50183ADD-E6D0-4570-B5FB-F95BA9130DEC}"/>
          </ac:spMkLst>
        </pc:spChg>
        <pc:spChg chg="add mod ord">
          <ac:chgData name="Thomas Stensitzki" userId="75cafe6b-2f2a-469b-85c4-eec3b9c972ba" providerId="ADAL" clId="{363DE228-8D93-47E2-A1D5-6CB8C68569A9}" dt="2021-04-11T12:35:29.204" v="2412" actId="20577"/>
          <ac:spMkLst>
            <pc:docMk/>
            <pc:sldMk cId="2280653341" sldId="452"/>
            <ac:spMk id="3" creationId="{DF8B6183-66A7-405D-A178-0A011BC0CCDA}"/>
          </ac:spMkLst>
        </pc:spChg>
        <pc:picChg chg="mod">
          <ac:chgData name="Thomas Stensitzki" userId="75cafe6b-2f2a-469b-85c4-eec3b9c972ba" providerId="ADAL" clId="{363DE228-8D93-47E2-A1D5-6CB8C68569A9}" dt="2021-04-11T12:37:16.586" v="2446" actId="1440"/>
          <ac:picMkLst>
            <pc:docMk/>
            <pc:sldMk cId="2280653341" sldId="452"/>
            <ac:picMk id="22530" creationId="{BC769D3B-0C62-48F9-B2D4-935C29420114}"/>
          </ac:picMkLst>
        </pc:picChg>
      </pc:sldChg>
      <pc:sldChg chg="addSp">
        <pc:chgData name="Thomas Stensitzki" userId="75cafe6b-2f2a-469b-85c4-eec3b9c972ba" providerId="ADAL" clId="{363DE228-8D93-47E2-A1D5-6CB8C68569A9}" dt="2021-04-11T12:33:19.481" v="2213"/>
        <pc:sldMkLst>
          <pc:docMk/>
          <pc:sldMk cId="3958338536" sldId="452"/>
        </pc:sldMkLst>
        <pc:picChg chg="add">
          <ac:chgData name="Thomas Stensitzki" userId="75cafe6b-2f2a-469b-85c4-eec3b9c972ba" providerId="ADAL" clId="{363DE228-8D93-47E2-A1D5-6CB8C68569A9}" dt="2021-04-11T12:33:19.481" v="2213"/>
          <ac:picMkLst>
            <pc:docMk/>
            <pc:sldMk cId="3958338536" sldId="452"/>
            <ac:picMk id="22530" creationId="{BC769D3B-0C62-48F9-B2D4-935C29420114}"/>
          </ac:picMkLst>
        </pc:picChg>
      </pc:sldChg>
      <pc:sldChg chg="addSp">
        <pc:chgData name="Thomas Stensitzki" userId="75cafe6b-2f2a-469b-85c4-eec3b9c972ba" providerId="ADAL" clId="{363DE228-8D93-47E2-A1D5-6CB8C68569A9}" dt="2021-04-11T12:36:58.282" v="2439"/>
        <pc:sldMkLst>
          <pc:docMk/>
          <pc:sldMk cId="716402514" sldId="453"/>
        </pc:sldMkLst>
        <pc:picChg chg="add">
          <ac:chgData name="Thomas Stensitzki" userId="75cafe6b-2f2a-469b-85c4-eec3b9c972ba" providerId="ADAL" clId="{363DE228-8D93-47E2-A1D5-6CB8C68569A9}" dt="2021-04-11T12:36:58.282" v="2439"/>
          <ac:picMkLst>
            <pc:docMk/>
            <pc:sldMk cId="716402514" sldId="453"/>
            <ac:picMk id="25602" creationId="{2E5A62CE-B198-418D-AFB2-F840A45B318C}"/>
          </ac:picMkLst>
        </pc:picChg>
      </pc:sldChg>
      <pc:sldChg chg="modSp add del mod modNotesTx">
        <pc:chgData name="Thomas Stensitzki" userId="75cafe6b-2f2a-469b-85c4-eec3b9c972ba" providerId="ADAL" clId="{363DE228-8D93-47E2-A1D5-6CB8C68569A9}" dt="2021-04-11T12:37:13.694" v="2445" actId="1440"/>
        <pc:sldMkLst>
          <pc:docMk/>
          <pc:sldMk cId="3153011246" sldId="453"/>
        </pc:sldMkLst>
        <pc:spChg chg="mod">
          <ac:chgData name="Thomas Stensitzki" userId="75cafe6b-2f2a-469b-85c4-eec3b9c972ba" providerId="ADAL" clId="{363DE228-8D93-47E2-A1D5-6CB8C68569A9}" dt="2021-04-11T12:36:15.457" v="2429"/>
          <ac:spMkLst>
            <pc:docMk/>
            <pc:sldMk cId="3153011246" sldId="453"/>
            <ac:spMk id="2" creationId="{50183ADD-E6D0-4570-B5FB-F95BA9130DEC}"/>
          </ac:spMkLst>
        </pc:spChg>
        <pc:picChg chg="mod">
          <ac:chgData name="Thomas Stensitzki" userId="75cafe6b-2f2a-469b-85c4-eec3b9c972ba" providerId="ADAL" clId="{363DE228-8D93-47E2-A1D5-6CB8C68569A9}" dt="2021-04-11T12:37:11.413" v="2443" actId="1440"/>
          <ac:picMkLst>
            <pc:docMk/>
            <pc:sldMk cId="3153011246" sldId="453"/>
            <ac:picMk id="23554" creationId="{5AE28E0E-192A-4861-A7DD-64B0A5A21BDD}"/>
          </ac:picMkLst>
        </pc:picChg>
        <pc:picChg chg="mod">
          <ac:chgData name="Thomas Stensitzki" userId="75cafe6b-2f2a-469b-85c4-eec3b9c972ba" providerId="ADAL" clId="{363DE228-8D93-47E2-A1D5-6CB8C68569A9}" dt="2021-04-11T12:37:12.670" v="2444" actId="1440"/>
          <ac:picMkLst>
            <pc:docMk/>
            <pc:sldMk cId="3153011246" sldId="453"/>
            <ac:picMk id="24578" creationId="{F39A3F11-39F7-48CB-8419-60EC0F3B9A72}"/>
          </ac:picMkLst>
        </pc:picChg>
        <pc:picChg chg="mod">
          <ac:chgData name="Thomas Stensitzki" userId="75cafe6b-2f2a-469b-85c4-eec3b9c972ba" providerId="ADAL" clId="{363DE228-8D93-47E2-A1D5-6CB8C68569A9}" dt="2021-04-11T12:37:13.694" v="2445" actId="1440"/>
          <ac:picMkLst>
            <pc:docMk/>
            <pc:sldMk cId="3153011246" sldId="453"/>
            <ac:picMk id="25602" creationId="{2E5A62CE-B198-418D-AFB2-F840A45B318C}"/>
          </ac:picMkLst>
        </pc:picChg>
      </pc:sldChg>
      <pc:sldChg chg="addSp">
        <pc:chgData name="Thomas Stensitzki" userId="75cafe6b-2f2a-469b-85c4-eec3b9c972ba" providerId="ADAL" clId="{363DE228-8D93-47E2-A1D5-6CB8C68569A9}" dt="2021-04-11T12:36:34.782" v="2432"/>
        <pc:sldMkLst>
          <pc:docMk/>
          <pc:sldMk cId="4090232713" sldId="453"/>
        </pc:sldMkLst>
        <pc:picChg chg="add">
          <ac:chgData name="Thomas Stensitzki" userId="75cafe6b-2f2a-469b-85c4-eec3b9c972ba" providerId="ADAL" clId="{363DE228-8D93-47E2-A1D5-6CB8C68569A9}" dt="2021-04-11T12:36:34.782" v="2432"/>
          <ac:picMkLst>
            <pc:docMk/>
            <pc:sldMk cId="4090232713" sldId="453"/>
            <ac:picMk id="23554" creationId="{5AE28E0E-192A-4861-A7DD-64B0A5A21BDD}"/>
          </ac:picMkLst>
        </pc:picChg>
      </pc:sldChg>
      <pc:sldChg chg="addSp">
        <pc:chgData name="Thomas Stensitzki" userId="75cafe6b-2f2a-469b-85c4-eec3b9c972ba" providerId="ADAL" clId="{363DE228-8D93-47E2-A1D5-6CB8C68569A9}" dt="2021-04-11T12:36:49.244" v="2436"/>
        <pc:sldMkLst>
          <pc:docMk/>
          <pc:sldMk cId="4203898236" sldId="453"/>
        </pc:sldMkLst>
        <pc:picChg chg="add">
          <ac:chgData name="Thomas Stensitzki" userId="75cafe6b-2f2a-469b-85c4-eec3b9c972ba" providerId="ADAL" clId="{363DE228-8D93-47E2-A1D5-6CB8C68569A9}" dt="2021-04-11T12:36:49.244" v="2436"/>
          <ac:picMkLst>
            <pc:docMk/>
            <pc:sldMk cId="4203898236" sldId="453"/>
            <ac:picMk id="24578" creationId="{F39A3F11-39F7-48CB-8419-60EC0F3B9A72}"/>
          </ac:picMkLst>
        </pc:picChg>
      </pc:sldChg>
      <pc:sldChg chg="addSp">
        <pc:chgData name="Thomas Stensitzki" userId="75cafe6b-2f2a-469b-85c4-eec3b9c972ba" providerId="ADAL" clId="{363DE228-8D93-47E2-A1D5-6CB8C68569A9}" dt="2021-04-11T12:47:36.320" v="2572"/>
        <pc:sldMkLst>
          <pc:docMk/>
          <pc:sldMk cId="1895029209" sldId="454"/>
        </pc:sldMkLst>
        <pc:picChg chg="add">
          <ac:chgData name="Thomas Stensitzki" userId="75cafe6b-2f2a-469b-85c4-eec3b9c972ba" providerId="ADAL" clId="{363DE228-8D93-47E2-A1D5-6CB8C68569A9}" dt="2021-04-11T12:47:36.320" v="2572"/>
          <ac:picMkLst>
            <pc:docMk/>
            <pc:sldMk cId="1895029209" sldId="454"/>
            <ac:picMk id="30722" creationId="{8E0174E7-015E-4B6D-B746-4AF6B2457ED1}"/>
          </ac:picMkLst>
        </pc:picChg>
      </pc:sldChg>
      <pc:sldChg chg="modSp add del mod">
        <pc:chgData name="Thomas Stensitzki" userId="75cafe6b-2f2a-469b-85c4-eec3b9c972ba" providerId="ADAL" clId="{363DE228-8D93-47E2-A1D5-6CB8C68569A9}" dt="2021-04-11T12:48:45.181" v="2582" actId="1076"/>
        <pc:sldMkLst>
          <pc:docMk/>
          <pc:sldMk cId="2162326699" sldId="454"/>
        </pc:sldMkLst>
        <pc:spChg chg="mod">
          <ac:chgData name="Thomas Stensitzki" userId="75cafe6b-2f2a-469b-85c4-eec3b9c972ba" providerId="ADAL" clId="{363DE228-8D93-47E2-A1D5-6CB8C68569A9}" dt="2021-04-11T12:47:16.070" v="2566"/>
          <ac:spMkLst>
            <pc:docMk/>
            <pc:sldMk cId="2162326699" sldId="454"/>
            <ac:spMk id="2" creationId="{50183ADD-E6D0-4570-B5FB-F95BA9130DEC}"/>
          </ac:spMkLst>
        </pc:spChg>
        <pc:picChg chg="mod">
          <ac:chgData name="Thomas Stensitzki" userId="75cafe6b-2f2a-469b-85c4-eec3b9c972ba" providerId="ADAL" clId="{363DE228-8D93-47E2-A1D5-6CB8C68569A9}" dt="2021-04-11T12:47:55.833" v="2577" actId="1076"/>
          <ac:picMkLst>
            <pc:docMk/>
            <pc:sldMk cId="2162326699" sldId="454"/>
            <ac:picMk id="29698" creationId="{C3645A00-ECA2-4058-B0FB-020A2E7C29A6}"/>
          </ac:picMkLst>
        </pc:picChg>
        <pc:picChg chg="mod">
          <ac:chgData name="Thomas Stensitzki" userId="75cafe6b-2f2a-469b-85c4-eec3b9c972ba" providerId="ADAL" clId="{363DE228-8D93-47E2-A1D5-6CB8C68569A9}" dt="2021-04-11T12:47:44.659" v="2575" actId="1076"/>
          <ac:picMkLst>
            <pc:docMk/>
            <pc:sldMk cId="2162326699" sldId="454"/>
            <ac:picMk id="30722" creationId="{8E0174E7-015E-4B6D-B746-4AF6B2457ED1}"/>
          </ac:picMkLst>
        </pc:picChg>
        <pc:picChg chg="mod">
          <ac:chgData name="Thomas Stensitzki" userId="75cafe6b-2f2a-469b-85c4-eec3b9c972ba" providerId="ADAL" clId="{363DE228-8D93-47E2-A1D5-6CB8C68569A9}" dt="2021-04-11T12:48:45.181" v="2582" actId="1076"/>
          <ac:picMkLst>
            <pc:docMk/>
            <pc:sldMk cId="2162326699" sldId="454"/>
            <ac:picMk id="31746" creationId="{1DABC163-7246-4150-9A77-805CAE6DBC5D}"/>
          </ac:picMkLst>
        </pc:picChg>
      </pc:sldChg>
      <pc:sldChg chg="addSp">
        <pc:chgData name="Thomas Stensitzki" userId="75cafe6b-2f2a-469b-85c4-eec3b9c972ba" providerId="ADAL" clId="{363DE228-8D93-47E2-A1D5-6CB8C68569A9}" dt="2021-04-11T12:47:25.149" v="2567"/>
        <pc:sldMkLst>
          <pc:docMk/>
          <pc:sldMk cId="2548891359" sldId="454"/>
        </pc:sldMkLst>
        <pc:picChg chg="add">
          <ac:chgData name="Thomas Stensitzki" userId="75cafe6b-2f2a-469b-85c4-eec3b9c972ba" providerId="ADAL" clId="{363DE228-8D93-47E2-A1D5-6CB8C68569A9}" dt="2021-04-11T12:47:25.149" v="2567"/>
          <ac:picMkLst>
            <pc:docMk/>
            <pc:sldMk cId="2548891359" sldId="454"/>
            <ac:picMk id="29698" creationId="{C3645A00-ECA2-4058-B0FB-020A2E7C29A6}"/>
          </ac:picMkLst>
        </pc:picChg>
      </pc:sldChg>
      <pc:sldChg chg="addSp">
        <pc:chgData name="Thomas Stensitzki" userId="75cafe6b-2f2a-469b-85c4-eec3b9c972ba" providerId="ADAL" clId="{363DE228-8D93-47E2-A1D5-6CB8C68569A9}" dt="2021-04-11T12:48:21.492" v="2578"/>
        <pc:sldMkLst>
          <pc:docMk/>
          <pc:sldMk cId="3299701344" sldId="454"/>
        </pc:sldMkLst>
        <pc:picChg chg="add">
          <ac:chgData name="Thomas Stensitzki" userId="75cafe6b-2f2a-469b-85c4-eec3b9c972ba" providerId="ADAL" clId="{363DE228-8D93-47E2-A1D5-6CB8C68569A9}" dt="2021-04-11T12:48:21.492" v="2578"/>
          <ac:picMkLst>
            <pc:docMk/>
            <pc:sldMk cId="3299701344" sldId="454"/>
            <ac:picMk id="31746" creationId="{1DABC163-7246-4150-9A77-805CAE6DBC5D}"/>
          </ac:picMkLst>
        </pc:picChg>
      </pc:sldChg>
      <pc:sldChg chg="modSp add mod ord modNotesTx">
        <pc:chgData name="Thomas Stensitzki" userId="75cafe6b-2f2a-469b-85c4-eec3b9c972ba" providerId="ADAL" clId="{363DE228-8D93-47E2-A1D5-6CB8C68569A9}" dt="2021-04-13T16:15:34.270" v="3781" actId="6549"/>
        <pc:sldMkLst>
          <pc:docMk/>
          <pc:sldMk cId="348069652" sldId="455"/>
        </pc:sldMkLst>
        <pc:spChg chg="mod">
          <ac:chgData name="Thomas Stensitzki" userId="75cafe6b-2f2a-469b-85c4-eec3b9c972ba" providerId="ADAL" clId="{363DE228-8D93-47E2-A1D5-6CB8C68569A9}" dt="2021-04-13T16:14:39.969" v="3718" actId="20577"/>
          <ac:spMkLst>
            <pc:docMk/>
            <pc:sldMk cId="348069652" sldId="455"/>
            <ac:spMk id="5" creationId="{C24DACB5-1BEC-4C86-9652-BAFD8DE56FEF}"/>
          </ac:spMkLst>
        </pc:spChg>
      </pc:sldChg>
      <pc:sldChg chg="modSp add del mod">
        <pc:chgData name="Thomas Stensitzki" userId="75cafe6b-2f2a-469b-85c4-eec3b9c972ba" providerId="ADAL" clId="{363DE228-8D93-47E2-A1D5-6CB8C68569A9}" dt="2021-04-11T12:46:29.471" v="2549" actId="1076"/>
        <pc:sldMkLst>
          <pc:docMk/>
          <pc:sldMk cId="2139259870" sldId="456"/>
        </pc:sldMkLst>
        <pc:spChg chg="mod">
          <ac:chgData name="Thomas Stensitzki" userId="75cafe6b-2f2a-469b-85c4-eec3b9c972ba" providerId="ADAL" clId="{363DE228-8D93-47E2-A1D5-6CB8C68569A9}" dt="2021-04-11T12:46:19.027" v="2545"/>
          <ac:spMkLst>
            <pc:docMk/>
            <pc:sldMk cId="2139259870" sldId="456"/>
            <ac:spMk id="2" creationId="{11E5EEC8-6493-4BA0-8811-4A3F48FE62AF}"/>
          </ac:spMkLst>
        </pc:spChg>
        <pc:picChg chg="mod">
          <ac:chgData name="Thomas Stensitzki" userId="75cafe6b-2f2a-469b-85c4-eec3b9c972ba" providerId="ADAL" clId="{363DE228-8D93-47E2-A1D5-6CB8C68569A9}" dt="2021-04-11T12:46:29.471" v="2549" actId="1076"/>
          <ac:picMkLst>
            <pc:docMk/>
            <pc:sldMk cId="2139259870" sldId="456"/>
            <ac:picMk id="28674" creationId="{6E7C17D7-E3A0-483A-9862-4184DD9A9732}"/>
          </ac:picMkLst>
        </pc:picChg>
      </pc:sldChg>
      <pc:sldChg chg="addSp">
        <pc:chgData name="Thomas Stensitzki" userId="75cafe6b-2f2a-469b-85c4-eec3b9c972ba" providerId="ADAL" clId="{363DE228-8D93-47E2-A1D5-6CB8C68569A9}" dt="2021-04-11T12:46:23.976" v="2546"/>
        <pc:sldMkLst>
          <pc:docMk/>
          <pc:sldMk cId="3180100850" sldId="456"/>
        </pc:sldMkLst>
        <pc:picChg chg="add">
          <ac:chgData name="Thomas Stensitzki" userId="75cafe6b-2f2a-469b-85c4-eec3b9c972ba" providerId="ADAL" clId="{363DE228-8D93-47E2-A1D5-6CB8C68569A9}" dt="2021-04-11T12:46:23.976" v="2546"/>
          <ac:picMkLst>
            <pc:docMk/>
            <pc:sldMk cId="3180100850" sldId="456"/>
            <ac:picMk id="28674" creationId="{6E7C17D7-E3A0-483A-9862-4184DD9A9732}"/>
          </ac:picMkLst>
        </pc:picChg>
      </pc:sldChg>
      <pc:sldChg chg="add del">
        <pc:chgData name="Thomas Stensitzki" userId="75cafe6b-2f2a-469b-85c4-eec3b9c972ba" providerId="ADAL" clId="{363DE228-8D93-47E2-A1D5-6CB8C68569A9}" dt="2021-04-13T16:08:58.964" v="3469" actId="47"/>
        <pc:sldMkLst>
          <pc:docMk/>
          <pc:sldMk cId="2683604596" sldId="457"/>
        </pc:sldMkLst>
      </pc:sldChg>
      <pc:sldChg chg="addSp modSp add del mod chgLayout modNotesTx">
        <pc:chgData name="Thomas Stensitzki" userId="75cafe6b-2f2a-469b-85c4-eec3b9c972ba" providerId="ADAL" clId="{363DE228-8D93-47E2-A1D5-6CB8C68569A9}" dt="2021-04-11T12:55:48.328" v="2759"/>
        <pc:sldMkLst>
          <pc:docMk/>
          <pc:sldMk cId="1637553502" sldId="458"/>
        </pc:sldMkLst>
        <pc:spChg chg="mod ord">
          <ac:chgData name="Thomas Stensitzki" userId="75cafe6b-2f2a-469b-85c4-eec3b9c972ba" providerId="ADAL" clId="{363DE228-8D93-47E2-A1D5-6CB8C68569A9}" dt="2021-04-11T12:53:22.927" v="2655" actId="700"/>
          <ac:spMkLst>
            <pc:docMk/>
            <pc:sldMk cId="1637553502" sldId="458"/>
            <ac:spMk id="2" creationId="{50183ADD-E6D0-4570-B5FB-F95BA9130DEC}"/>
          </ac:spMkLst>
        </pc:spChg>
        <pc:spChg chg="add mod ord">
          <ac:chgData name="Thomas Stensitzki" userId="75cafe6b-2f2a-469b-85c4-eec3b9c972ba" providerId="ADAL" clId="{363DE228-8D93-47E2-A1D5-6CB8C68569A9}" dt="2021-04-11T12:55:33.347" v="2758" actId="27636"/>
          <ac:spMkLst>
            <pc:docMk/>
            <pc:sldMk cId="1637553502" sldId="458"/>
            <ac:spMk id="3" creationId="{70EF8CC2-F62B-46A7-BE9F-E9D86257BB56}"/>
          </ac:spMkLst>
        </pc:spChg>
        <pc:picChg chg="mod">
          <ac:chgData name="Thomas Stensitzki" userId="75cafe6b-2f2a-469b-85c4-eec3b9c972ba" providerId="ADAL" clId="{363DE228-8D93-47E2-A1D5-6CB8C68569A9}" dt="2021-04-11T12:53:17.299" v="2654" actId="1076"/>
          <ac:picMkLst>
            <pc:docMk/>
            <pc:sldMk cId="1637553502" sldId="458"/>
            <ac:picMk id="32770" creationId="{5BC0231E-536B-41F0-87EE-B6A8992D5DC6}"/>
          </ac:picMkLst>
        </pc:picChg>
        <pc:picChg chg="mod">
          <ac:chgData name="Thomas Stensitzki" userId="75cafe6b-2f2a-469b-85c4-eec3b9c972ba" providerId="ADAL" clId="{363DE228-8D93-47E2-A1D5-6CB8C68569A9}" dt="2021-04-11T12:53:15.049" v="2653" actId="1076"/>
          <ac:picMkLst>
            <pc:docMk/>
            <pc:sldMk cId="1637553502" sldId="458"/>
            <ac:picMk id="33794" creationId="{E218DB04-B23B-4A06-91C9-44B74FB67672}"/>
          </ac:picMkLst>
        </pc:picChg>
      </pc:sldChg>
      <pc:sldChg chg="addSp">
        <pc:chgData name="Thomas Stensitzki" userId="75cafe6b-2f2a-469b-85c4-eec3b9c972ba" providerId="ADAL" clId="{363DE228-8D93-47E2-A1D5-6CB8C68569A9}" dt="2021-04-11T12:52:58.962" v="2646"/>
        <pc:sldMkLst>
          <pc:docMk/>
          <pc:sldMk cId="1979311415" sldId="458"/>
        </pc:sldMkLst>
        <pc:picChg chg="add">
          <ac:chgData name="Thomas Stensitzki" userId="75cafe6b-2f2a-469b-85c4-eec3b9c972ba" providerId="ADAL" clId="{363DE228-8D93-47E2-A1D5-6CB8C68569A9}" dt="2021-04-11T12:52:58.962" v="2646"/>
          <ac:picMkLst>
            <pc:docMk/>
            <pc:sldMk cId="1979311415" sldId="458"/>
            <ac:picMk id="32770" creationId="{5BC0231E-536B-41F0-87EE-B6A8992D5DC6}"/>
          </ac:picMkLst>
        </pc:picChg>
      </pc:sldChg>
      <pc:sldChg chg="addSp">
        <pc:chgData name="Thomas Stensitzki" userId="75cafe6b-2f2a-469b-85c4-eec3b9c972ba" providerId="ADAL" clId="{363DE228-8D93-47E2-A1D5-6CB8C68569A9}" dt="2021-04-11T12:53:09.077" v="2650"/>
        <pc:sldMkLst>
          <pc:docMk/>
          <pc:sldMk cId="3755221492" sldId="458"/>
        </pc:sldMkLst>
        <pc:picChg chg="add">
          <ac:chgData name="Thomas Stensitzki" userId="75cafe6b-2f2a-469b-85c4-eec3b9c972ba" providerId="ADAL" clId="{363DE228-8D93-47E2-A1D5-6CB8C68569A9}" dt="2021-04-11T12:53:09.077" v="2650"/>
          <ac:picMkLst>
            <pc:docMk/>
            <pc:sldMk cId="3755221492" sldId="458"/>
            <ac:picMk id="33794" creationId="{E218DB04-B23B-4A06-91C9-44B74FB67672}"/>
          </ac:picMkLst>
        </pc:picChg>
      </pc:sldChg>
      <pc:sldChg chg="modSp add mod ord modNotesTx">
        <pc:chgData name="Thomas Stensitzki" userId="75cafe6b-2f2a-469b-85c4-eec3b9c972ba" providerId="ADAL" clId="{363DE228-8D93-47E2-A1D5-6CB8C68569A9}" dt="2021-04-13T15:57:37.180" v="2859"/>
        <pc:sldMkLst>
          <pc:docMk/>
          <pc:sldMk cId="788649752" sldId="459"/>
        </pc:sldMkLst>
        <pc:spChg chg="mod">
          <ac:chgData name="Thomas Stensitzki" userId="75cafe6b-2f2a-469b-85c4-eec3b9c972ba" providerId="ADAL" clId="{363DE228-8D93-47E2-A1D5-6CB8C68569A9}" dt="2021-04-11T13:01:05.786" v="2843" actId="20577"/>
          <ac:spMkLst>
            <pc:docMk/>
            <pc:sldMk cId="788649752" sldId="459"/>
            <ac:spMk id="5" creationId="{C24DACB5-1BEC-4C86-9652-BAFD8DE56FEF}"/>
          </ac:spMkLst>
        </pc:spChg>
      </pc:sldChg>
      <pc:sldChg chg="addSp">
        <pc:chgData name="Thomas Stensitzki" userId="75cafe6b-2f2a-469b-85c4-eec3b9c972ba" providerId="ADAL" clId="{363DE228-8D93-47E2-A1D5-6CB8C68569A9}" dt="2021-04-11T13:01:24.618" v="2845"/>
        <pc:sldMkLst>
          <pc:docMk/>
          <pc:sldMk cId="20385009" sldId="460"/>
        </pc:sldMkLst>
        <pc:picChg chg="add">
          <ac:chgData name="Thomas Stensitzki" userId="75cafe6b-2f2a-469b-85c4-eec3b9c972ba" providerId="ADAL" clId="{363DE228-8D93-47E2-A1D5-6CB8C68569A9}" dt="2021-04-11T13:01:24.618" v="2845"/>
          <ac:picMkLst>
            <pc:docMk/>
            <pc:sldMk cId="20385009" sldId="460"/>
            <ac:picMk id="34818" creationId="{D9689A9F-A110-4FD0-9746-0DED56526C66}"/>
          </ac:picMkLst>
        </pc:picChg>
      </pc:sldChg>
      <pc:sldChg chg="modSp add del mod">
        <pc:chgData name="Thomas Stensitzki" userId="75cafe6b-2f2a-469b-85c4-eec3b9c972ba" providerId="ADAL" clId="{363DE228-8D93-47E2-A1D5-6CB8C68569A9}" dt="2021-04-11T13:01:29.492" v="2848" actId="1076"/>
        <pc:sldMkLst>
          <pc:docMk/>
          <pc:sldMk cId="1264814093" sldId="460"/>
        </pc:sldMkLst>
        <pc:spChg chg="mod">
          <ac:chgData name="Thomas Stensitzki" userId="75cafe6b-2f2a-469b-85c4-eec3b9c972ba" providerId="ADAL" clId="{363DE228-8D93-47E2-A1D5-6CB8C68569A9}" dt="2021-04-11T13:01:15.209" v="2844"/>
          <ac:spMkLst>
            <pc:docMk/>
            <pc:sldMk cId="1264814093" sldId="460"/>
            <ac:spMk id="2" creationId="{50183ADD-E6D0-4570-B5FB-F95BA9130DEC}"/>
          </ac:spMkLst>
        </pc:spChg>
        <pc:picChg chg="mod">
          <ac:chgData name="Thomas Stensitzki" userId="75cafe6b-2f2a-469b-85c4-eec3b9c972ba" providerId="ADAL" clId="{363DE228-8D93-47E2-A1D5-6CB8C68569A9}" dt="2021-04-11T13:01:29.492" v="2848" actId="1076"/>
          <ac:picMkLst>
            <pc:docMk/>
            <pc:sldMk cId="1264814093" sldId="460"/>
            <ac:picMk id="34818" creationId="{D9689A9F-A110-4FD0-9746-0DED56526C66}"/>
          </ac:picMkLst>
        </pc:picChg>
      </pc:sldChg>
      <pc:sldChg chg="modSp add mod">
        <pc:chgData name="Thomas Stensitzki" userId="75cafe6b-2f2a-469b-85c4-eec3b9c972ba" providerId="ADAL" clId="{363DE228-8D93-47E2-A1D5-6CB8C68569A9}" dt="2021-04-13T15:58:53.009" v="2897" actId="1036"/>
        <pc:sldMkLst>
          <pc:docMk/>
          <pc:sldMk cId="3877520136" sldId="461"/>
        </pc:sldMkLst>
        <pc:spChg chg="mod">
          <ac:chgData name="Thomas Stensitzki" userId="75cafe6b-2f2a-469b-85c4-eec3b9c972ba" providerId="ADAL" clId="{363DE228-8D93-47E2-A1D5-6CB8C68569A9}" dt="2021-04-13T15:58:53.009" v="2897" actId="1036"/>
          <ac:spMkLst>
            <pc:docMk/>
            <pc:sldMk cId="3877520136" sldId="461"/>
            <ac:spMk id="2" creationId="{909DC09D-B9A6-4493-9A72-1CA7ECB1F5CA}"/>
          </ac:spMkLst>
        </pc:spChg>
      </pc:sldChg>
      <pc:sldChg chg="modSp add mod ord">
        <pc:chgData name="Thomas Stensitzki" userId="75cafe6b-2f2a-469b-85c4-eec3b9c972ba" providerId="ADAL" clId="{363DE228-8D93-47E2-A1D5-6CB8C68569A9}" dt="2021-04-13T15:59:23.476" v="2944" actId="14100"/>
        <pc:sldMkLst>
          <pc:docMk/>
          <pc:sldMk cId="2362987111" sldId="462"/>
        </pc:sldMkLst>
        <pc:spChg chg="mod">
          <ac:chgData name="Thomas Stensitzki" userId="75cafe6b-2f2a-469b-85c4-eec3b9c972ba" providerId="ADAL" clId="{363DE228-8D93-47E2-A1D5-6CB8C68569A9}" dt="2021-04-13T15:59:23.476" v="2944" actId="14100"/>
          <ac:spMkLst>
            <pc:docMk/>
            <pc:sldMk cId="2362987111" sldId="462"/>
            <ac:spMk id="2" creationId="{909DC09D-B9A6-4493-9A72-1CA7ECB1F5CA}"/>
          </ac:spMkLst>
        </pc:spChg>
      </pc:sldChg>
      <pc:sldChg chg="modSp add mod ord">
        <pc:chgData name="Thomas Stensitzki" userId="75cafe6b-2f2a-469b-85c4-eec3b9c972ba" providerId="ADAL" clId="{363DE228-8D93-47E2-A1D5-6CB8C68569A9}" dt="2021-04-13T16:00:02.977" v="2977" actId="1036"/>
        <pc:sldMkLst>
          <pc:docMk/>
          <pc:sldMk cId="22916493" sldId="463"/>
        </pc:sldMkLst>
        <pc:spChg chg="mod">
          <ac:chgData name="Thomas Stensitzki" userId="75cafe6b-2f2a-469b-85c4-eec3b9c972ba" providerId="ADAL" clId="{363DE228-8D93-47E2-A1D5-6CB8C68569A9}" dt="2021-04-13T16:00:02.977" v="2977" actId="1036"/>
          <ac:spMkLst>
            <pc:docMk/>
            <pc:sldMk cId="22916493" sldId="463"/>
            <ac:spMk id="2" creationId="{909DC09D-B9A6-4493-9A72-1CA7ECB1F5CA}"/>
          </ac:spMkLst>
        </pc:spChg>
      </pc:sldChg>
      <pc:sldChg chg="modSp add mod ord">
        <pc:chgData name="Thomas Stensitzki" userId="75cafe6b-2f2a-469b-85c4-eec3b9c972ba" providerId="ADAL" clId="{363DE228-8D93-47E2-A1D5-6CB8C68569A9}" dt="2021-04-13T16:00:25.706" v="3011" actId="14100"/>
        <pc:sldMkLst>
          <pc:docMk/>
          <pc:sldMk cId="4141395919" sldId="464"/>
        </pc:sldMkLst>
        <pc:spChg chg="mod">
          <ac:chgData name="Thomas Stensitzki" userId="75cafe6b-2f2a-469b-85c4-eec3b9c972ba" providerId="ADAL" clId="{363DE228-8D93-47E2-A1D5-6CB8C68569A9}" dt="2021-04-13T16:00:25.706" v="3011" actId="14100"/>
          <ac:spMkLst>
            <pc:docMk/>
            <pc:sldMk cId="4141395919" sldId="464"/>
            <ac:spMk id="2" creationId="{909DC09D-B9A6-4493-9A72-1CA7ECB1F5CA}"/>
          </ac:spMkLst>
        </pc:spChg>
      </pc:sldChg>
      <pc:sldChg chg="modSp add mod ord">
        <pc:chgData name="Thomas Stensitzki" userId="75cafe6b-2f2a-469b-85c4-eec3b9c972ba" providerId="ADAL" clId="{363DE228-8D93-47E2-A1D5-6CB8C68569A9}" dt="2021-04-13T16:02:15.998" v="3044" actId="1035"/>
        <pc:sldMkLst>
          <pc:docMk/>
          <pc:sldMk cId="2927016727" sldId="465"/>
        </pc:sldMkLst>
        <pc:spChg chg="mod">
          <ac:chgData name="Thomas Stensitzki" userId="75cafe6b-2f2a-469b-85c4-eec3b9c972ba" providerId="ADAL" clId="{363DE228-8D93-47E2-A1D5-6CB8C68569A9}" dt="2021-04-13T16:02:15.998" v="3044" actId="1035"/>
          <ac:spMkLst>
            <pc:docMk/>
            <pc:sldMk cId="2927016727" sldId="465"/>
            <ac:spMk id="2" creationId="{909DC09D-B9A6-4493-9A72-1CA7ECB1F5CA}"/>
          </ac:spMkLst>
        </pc:spChg>
      </pc:sldChg>
      <pc:sldChg chg="modSp add mod ord">
        <pc:chgData name="Thomas Stensitzki" userId="75cafe6b-2f2a-469b-85c4-eec3b9c972ba" providerId="ADAL" clId="{363DE228-8D93-47E2-A1D5-6CB8C68569A9}" dt="2021-04-13T16:04:38.921" v="3176" actId="20577"/>
        <pc:sldMkLst>
          <pc:docMk/>
          <pc:sldMk cId="749460758" sldId="466"/>
        </pc:sldMkLst>
        <pc:spChg chg="mod">
          <ac:chgData name="Thomas Stensitzki" userId="75cafe6b-2f2a-469b-85c4-eec3b9c972ba" providerId="ADAL" clId="{363DE228-8D93-47E2-A1D5-6CB8C68569A9}" dt="2021-04-13T16:02:37.113" v="3073" actId="14100"/>
          <ac:spMkLst>
            <pc:docMk/>
            <pc:sldMk cId="749460758" sldId="466"/>
            <ac:spMk id="2" creationId="{909DC09D-B9A6-4493-9A72-1CA7ECB1F5CA}"/>
          </ac:spMkLst>
        </pc:spChg>
        <pc:spChg chg="mod">
          <ac:chgData name="Thomas Stensitzki" userId="75cafe6b-2f2a-469b-85c4-eec3b9c972ba" providerId="ADAL" clId="{363DE228-8D93-47E2-A1D5-6CB8C68569A9}" dt="2021-04-13T16:04:38.921" v="3176" actId="20577"/>
          <ac:spMkLst>
            <pc:docMk/>
            <pc:sldMk cId="749460758" sldId="466"/>
            <ac:spMk id="5" creationId="{C24DACB5-1BEC-4C86-9652-BAFD8DE56FEF}"/>
          </ac:spMkLst>
        </pc:spChg>
      </pc:sldChg>
      <pc:sldChg chg="modSp add mod ord">
        <pc:chgData name="Thomas Stensitzki" userId="75cafe6b-2f2a-469b-85c4-eec3b9c972ba" providerId="ADAL" clId="{363DE228-8D93-47E2-A1D5-6CB8C68569A9}" dt="2021-04-13T16:04:31.774" v="3174" actId="20577"/>
        <pc:sldMkLst>
          <pc:docMk/>
          <pc:sldMk cId="2400256164" sldId="467"/>
        </pc:sldMkLst>
        <pc:spChg chg="mod">
          <ac:chgData name="Thomas Stensitzki" userId="75cafe6b-2f2a-469b-85c4-eec3b9c972ba" providerId="ADAL" clId="{363DE228-8D93-47E2-A1D5-6CB8C68569A9}" dt="2021-04-13T16:03:24.453" v="3103" actId="14100"/>
          <ac:spMkLst>
            <pc:docMk/>
            <pc:sldMk cId="2400256164" sldId="467"/>
            <ac:spMk id="2" creationId="{909DC09D-B9A6-4493-9A72-1CA7ECB1F5CA}"/>
          </ac:spMkLst>
        </pc:spChg>
        <pc:spChg chg="mod">
          <ac:chgData name="Thomas Stensitzki" userId="75cafe6b-2f2a-469b-85c4-eec3b9c972ba" providerId="ADAL" clId="{363DE228-8D93-47E2-A1D5-6CB8C68569A9}" dt="2021-04-13T16:04:31.774" v="3174" actId="20577"/>
          <ac:spMkLst>
            <pc:docMk/>
            <pc:sldMk cId="2400256164" sldId="467"/>
            <ac:spMk id="5" creationId="{C24DACB5-1BEC-4C86-9652-BAFD8DE56FEF}"/>
          </ac:spMkLst>
        </pc:spChg>
      </pc:sldChg>
      <pc:sldChg chg="modSp add mod ord">
        <pc:chgData name="Thomas Stensitzki" userId="75cafe6b-2f2a-469b-85c4-eec3b9c972ba" providerId="ADAL" clId="{363DE228-8D93-47E2-A1D5-6CB8C68569A9}" dt="2021-04-13T16:04:22.751" v="3172" actId="20577"/>
        <pc:sldMkLst>
          <pc:docMk/>
          <pc:sldMk cId="980357780" sldId="468"/>
        </pc:sldMkLst>
        <pc:spChg chg="mod">
          <ac:chgData name="Thomas Stensitzki" userId="75cafe6b-2f2a-469b-85c4-eec3b9c972ba" providerId="ADAL" clId="{363DE228-8D93-47E2-A1D5-6CB8C68569A9}" dt="2021-04-13T16:03:46.991" v="3126" actId="14100"/>
          <ac:spMkLst>
            <pc:docMk/>
            <pc:sldMk cId="980357780" sldId="468"/>
            <ac:spMk id="2" creationId="{909DC09D-B9A6-4493-9A72-1CA7ECB1F5CA}"/>
          </ac:spMkLst>
        </pc:spChg>
        <pc:spChg chg="mod">
          <ac:chgData name="Thomas Stensitzki" userId="75cafe6b-2f2a-469b-85c4-eec3b9c972ba" providerId="ADAL" clId="{363DE228-8D93-47E2-A1D5-6CB8C68569A9}" dt="2021-04-13T16:04:22.751" v="3172" actId="20577"/>
          <ac:spMkLst>
            <pc:docMk/>
            <pc:sldMk cId="980357780" sldId="468"/>
            <ac:spMk id="5" creationId="{C24DACB5-1BEC-4C86-9652-BAFD8DE56FEF}"/>
          </ac:spMkLst>
        </pc:spChg>
      </pc:sldChg>
      <pc:sldChg chg="modSp add mod ord">
        <pc:chgData name="Thomas Stensitzki" userId="75cafe6b-2f2a-469b-85c4-eec3b9c972ba" providerId="ADAL" clId="{363DE228-8D93-47E2-A1D5-6CB8C68569A9}" dt="2021-04-13T16:04:16.308" v="3170" actId="20577"/>
        <pc:sldMkLst>
          <pc:docMk/>
          <pc:sldMk cId="1498882424" sldId="469"/>
        </pc:sldMkLst>
        <pc:spChg chg="mod">
          <ac:chgData name="Thomas Stensitzki" userId="75cafe6b-2f2a-469b-85c4-eec3b9c972ba" providerId="ADAL" clId="{363DE228-8D93-47E2-A1D5-6CB8C68569A9}" dt="2021-04-13T16:04:08.845" v="3168" actId="1035"/>
          <ac:spMkLst>
            <pc:docMk/>
            <pc:sldMk cId="1498882424" sldId="469"/>
            <ac:spMk id="2" creationId="{909DC09D-B9A6-4493-9A72-1CA7ECB1F5CA}"/>
          </ac:spMkLst>
        </pc:spChg>
        <pc:spChg chg="mod">
          <ac:chgData name="Thomas Stensitzki" userId="75cafe6b-2f2a-469b-85c4-eec3b9c972ba" providerId="ADAL" clId="{363DE228-8D93-47E2-A1D5-6CB8C68569A9}" dt="2021-04-13T16:04:16.308" v="3170" actId="20577"/>
          <ac:spMkLst>
            <pc:docMk/>
            <pc:sldMk cId="1498882424" sldId="469"/>
            <ac:spMk id="5" creationId="{C24DACB5-1BEC-4C86-9652-BAFD8DE56FEF}"/>
          </ac:spMkLst>
        </pc:spChg>
      </pc:sldChg>
      <pc:sldChg chg="modSp add mod ord">
        <pc:chgData name="Thomas Stensitzki" userId="75cafe6b-2f2a-469b-85c4-eec3b9c972ba" providerId="ADAL" clId="{363DE228-8D93-47E2-A1D5-6CB8C68569A9}" dt="2021-04-13T16:05:07.975" v="3203" actId="1035"/>
        <pc:sldMkLst>
          <pc:docMk/>
          <pc:sldMk cId="4225794366" sldId="470"/>
        </pc:sldMkLst>
        <pc:spChg chg="mod">
          <ac:chgData name="Thomas Stensitzki" userId="75cafe6b-2f2a-469b-85c4-eec3b9c972ba" providerId="ADAL" clId="{363DE228-8D93-47E2-A1D5-6CB8C68569A9}" dt="2021-04-13T16:05:07.975" v="3203" actId="1035"/>
          <ac:spMkLst>
            <pc:docMk/>
            <pc:sldMk cId="4225794366" sldId="470"/>
            <ac:spMk id="2" creationId="{909DC09D-B9A6-4493-9A72-1CA7ECB1F5CA}"/>
          </ac:spMkLst>
        </pc:spChg>
      </pc:sldChg>
      <pc:sldChg chg="modSp add mod ord">
        <pc:chgData name="Thomas Stensitzki" userId="75cafe6b-2f2a-469b-85c4-eec3b9c972ba" providerId="ADAL" clId="{363DE228-8D93-47E2-A1D5-6CB8C68569A9}" dt="2021-04-13T16:05:51.873" v="3236" actId="1036"/>
        <pc:sldMkLst>
          <pc:docMk/>
          <pc:sldMk cId="755424041" sldId="471"/>
        </pc:sldMkLst>
        <pc:spChg chg="mod">
          <ac:chgData name="Thomas Stensitzki" userId="75cafe6b-2f2a-469b-85c4-eec3b9c972ba" providerId="ADAL" clId="{363DE228-8D93-47E2-A1D5-6CB8C68569A9}" dt="2021-04-13T16:05:51.873" v="3236" actId="1036"/>
          <ac:spMkLst>
            <pc:docMk/>
            <pc:sldMk cId="755424041" sldId="471"/>
            <ac:spMk id="2" creationId="{909DC09D-B9A6-4493-9A72-1CA7ECB1F5CA}"/>
          </ac:spMkLst>
        </pc:spChg>
      </pc:sldChg>
      <pc:sldChg chg="modSp add mod ord">
        <pc:chgData name="Thomas Stensitzki" userId="75cafe6b-2f2a-469b-85c4-eec3b9c972ba" providerId="ADAL" clId="{363DE228-8D93-47E2-A1D5-6CB8C68569A9}" dt="2021-04-13T16:06:07.369" v="3263" actId="1035"/>
        <pc:sldMkLst>
          <pc:docMk/>
          <pc:sldMk cId="2377230893" sldId="472"/>
        </pc:sldMkLst>
        <pc:spChg chg="mod">
          <ac:chgData name="Thomas Stensitzki" userId="75cafe6b-2f2a-469b-85c4-eec3b9c972ba" providerId="ADAL" clId="{363DE228-8D93-47E2-A1D5-6CB8C68569A9}" dt="2021-04-13T16:06:07.369" v="3263" actId="1035"/>
          <ac:spMkLst>
            <pc:docMk/>
            <pc:sldMk cId="2377230893" sldId="472"/>
            <ac:spMk id="2" creationId="{909DC09D-B9A6-4493-9A72-1CA7ECB1F5CA}"/>
          </ac:spMkLst>
        </pc:spChg>
      </pc:sldChg>
      <pc:sldChg chg="modSp add mod ord">
        <pc:chgData name="Thomas Stensitzki" userId="75cafe6b-2f2a-469b-85c4-eec3b9c972ba" providerId="ADAL" clId="{363DE228-8D93-47E2-A1D5-6CB8C68569A9}" dt="2021-04-13T16:06:34.039" v="3300" actId="1036"/>
        <pc:sldMkLst>
          <pc:docMk/>
          <pc:sldMk cId="2293811491" sldId="473"/>
        </pc:sldMkLst>
        <pc:spChg chg="mod">
          <ac:chgData name="Thomas Stensitzki" userId="75cafe6b-2f2a-469b-85c4-eec3b9c972ba" providerId="ADAL" clId="{363DE228-8D93-47E2-A1D5-6CB8C68569A9}" dt="2021-04-13T16:06:34.039" v="3300" actId="1036"/>
          <ac:spMkLst>
            <pc:docMk/>
            <pc:sldMk cId="2293811491" sldId="473"/>
            <ac:spMk id="2" creationId="{909DC09D-B9A6-4493-9A72-1CA7ECB1F5CA}"/>
          </ac:spMkLst>
        </pc:spChg>
      </pc:sldChg>
      <pc:sldChg chg="modSp add mod">
        <pc:chgData name="Thomas Stensitzki" userId="75cafe6b-2f2a-469b-85c4-eec3b9c972ba" providerId="ADAL" clId="{363DE228-8D93-47E2-A1D5-6CB8C68569A9}" dt="2021-04-13T16:06:47.171" v="3320" actId="1036"/>
        <pc:sldMkLst>
          <pc:docMk/>
          <pc:sldMk cId="3651213508" sldId="474"/>
        </pc:sldMkLst>
        <pc:spChg chg="mod">
          <ac:chgData name="Thomas Stensitzki" userId="75cafe6b-2f2a-469b-85c4-eec3b9c972ba" providerId="ADAL" clId="{363DE228-8D93-47E2-A1D5-6CB8C68569A9}" dt="2021-04-13T16:06:47.171" v="3320" actId="1036"/>
          <ac:spMkLst>
            <pc:docMk/>
            <pc:sldMk cId="3651213508" sldId="474"/>
            <ac:spMk id="2" creationId="{909DC09D-B9A6-4493-9A72-1CA7ECB1F5CA}"/>
          </ac:spMkLst>
        </pc:spChg>
      </pc:sldChg>
      <pc:sldChg chg="modSp add mod ord">
        <pc:chgData name="Thomas Stensitzki" userId="75cafe6b-2f2a-469b-85c4-eec3b9c972ba" providerId="ADAL" clId="{363DE228-8D93-47E2-A1D5-6CB8C68569A9}" dt="2021-04-13T16:07:01.826" v="3346" actId="1035"/>
        <pc:sldMkLst>
          <pc:docMk/>
          <pc:sldMk cId="2954743898" sldId="475"/>
        </pc:sldMkLst>
        <pc:spChg chg="mod">
          <ac:chgData name="Thomas Stensitzki" userId="75cafe6b-2f2a-469b-85c4-eec3b9c972ba" providerId="ADAL" clId="{363DE228-8D93-47E2-A1D5-6CB8C68569A9}" dt="2021-04-13T16:07:01.826" v="3346" actId="1035"/>
          <ac:spMkLst>
            <pc:docMk/>
            <pc:sldMk cId="2954743898" sldId="475"/>
            <ac:spMk id="2" creationId="{909DC09D-B9A6-4493-9A72-1CA7ECB1F5CA}"/>
          </ac:spMkLst>
        </pc:spChg>
      </pc:sldChg>
      <pc:sldChg chg="modSp add mod ord">
        <pc:chgData name="Thomas Stensitzki" userId="75cafe6b-2f2a-469b-85c4-eec3b9c972ba" providerId="ADAL" clId="{363DE228-8D93-47E2-A1D5-6CB8C68569A9}" dt="2021-04-13T16:07:12.843" v="3368" actId="1036"/>
        <pc:sldMkLst>
          <pc:docMk/>
          <pc:sldMk cId="3637848067" sldId="476"/>
        </pc:sldMkLst>
        <pc:spChg chg="mod">
          <ac:chgData name="Thomas Stensitzki" userId="75cafe6b-2f2a-469b-85c4-eec3b9c972ba" providerId="ADAL" clId="{363DE228-8D93-47E2-A1D5-6CB8C68569A9}" dt="2021-04-13T16:07:12.843" v="3368" actId="1036"/>
          <ac:spMkLst>
            <pc:docMk/>
            <pc:sldMk cId="3637848067" sldId="476"/>
            <ac:spMk id="2" creationId="{909DC09D-B9A6-4493-9A72-1CA7ECB1F5CA}"/>
          </ac:spMkLst>
        </pc:spChg>
      </pc:sldChg>
      <pc:sldChg chg="modSp add mod ord">
        <pc:chgData name="Thomas Stensitzki" userId="75cafe6b-2f2a-469b-85c4-eec3b9c972ba" providerId="ADAL" clId="{363DE228-8D93-47E2-A1D5-6CB8C68569A9}" dt="2021-04-13T16:07:31.139" v="3394" actId="14100"/>
        <pc:sldMkLst>
          <pc:docMk/>
          <pc:sldMk cId="1694765860" sldId="477"/>
        </pc:sldMkLst>
        <pc:spChg chg="mod">
          <ac:chgData name="Thomas Stensitzki" userId="75cafe6b-2f2a-469b-85c4-eec3b9c972ba" providerId="ADAL" clId="{363DE228-8D93-47E2-A1D5-6CB8C68569A9}" dt="2021-04-13T16:07:31.139" v="3394" actId="14100"/>
          <ac:spMkLst>
            <pc:docMk/>
            <pc:sldMk cId="1694765860" sldId="477"/>
            <ac:spMk id="2" creationId="{909DC09D-B9A6-4493-9A72-1CA7ECB1F5CA}"/>
          </ac:spMkLst>
        </pc:spChg>
      </pc:sldChg>
      <pc:sldChg chg="modSp add mod">
        <pc:chgData name="Thomas Stensitzki" userId="75cafe6b-2f2a-469b-85c4-eec3b9c972ba" providerId="ADAL" clId="{363DE228-8D93-47E2-A1D5-6CB8C68569A9}" dt="2021-04-13T16:07:52.644" v="3419" actId="14100"/>
        <pc:sldMkLst>
          <pc:docMk/>
          <pc:sldMk cId="1953275783" sldId="478"/>
        </pc:sldMkLst>
        <pc:spChg chg="mod">
          <ac:chgData name="Thomas Stensitzki" userId="75cafe6b-2f2a-469b-85c4-eec3b9c972ba" providerId="ADAL" clId="{363DE228-8D93-47E2-A1D5-6CB8C68569A9}" dt="2021-04-13T16:07:52.644" v="3419" actId="14100"/>
          <ac:spMkLst>
            <pc:docMk/>
            <pc:sldMk cId="1953275783" sldId="478"/>
            <ac:spMk id="2" creationId="{909DC09D-B9A6-4493-9A72-1CA7ECB1F5CA}"/>
          </ac:spMkLst>
        </pc:spChg>
      </pc:sldChg>
      <pc:sldChg chg="modSp add mod">
        <pc:chgData name="Thomas Stensitzki" userId="75cafe6b-2f2a-469b-85c4-eec3b9c972ba" providerId="ADAL" clId="{363DE228-8D93-47E2-A1D5-6CB8C68569A9}" dt="2021-04-13T16:08:06.638" v="3444" actId="1036"/>
        <pc:sldMkLst>
          <pc:docMk/>
          <pc:sldMk cId="642574017" sldId="479"/>
        </pc:sldMkLst>
        <pc:spChg chg="mod">
          <ac:chgData name="Thomas Stensitzki" userId="75cafe6b-2f2a-469b-85c4-eec3b9c972ba" providerId="ADAL" clId="{363DE228-8D93-47E2-A1D5-6CB8C68569A9}" dt="2021-04-13T16:08:06.638" v="3444" actId="1036"/>
          <ac:spMkLst>
            <pc:docMk/>
            <pc:sldMk cId="642574017" sldId="479"/>
            <ac:spMk id="2" creationId="{909DC09D-B9A6-4493-9A72-1CA7ECB1F5CA}"/>
          </ac:spMkLst>
        </pc:spChg>
      </pc:sldChg>
      <pc:sldChg chg="modSp add mod ord">
        <pc:chgData name="Thomas Stensitzki" userId="75cafe6b-2f2a-469b-85c4-eec3b9c972ba" providerId="ADAL" clId="{363DE228-8D93-47E2-A1D5-6CB8C68569A9}" dt="2021-04-13T16:08:19.199" v="3465" actId="1035"/>
        <pc:sldMkLst>
          <pc:docMk/>
          <pc:sldMk cId="2167556490" sldId="480"/>
        </pc:sldMkLst>
        <pc:spChg chg="mod">
          <ac:chgData name="Thomas Stensitzki" userId="75cafe6b-2f2a-469b-85c4-eec3b9c972ba" providerId="ADAL" clId="{363DE228-8D93-47E2-A1D5-6CB8C68569A9}" dt="2021-04-13T16:08:19.199" v="3465" actId="1035"/>
          <ac:spMkLst>
            <pc:docMk/>
            <pc:sldMk cId="2167556490" sldId="480"/>
            <ac:spMk id="2" creationId="{909DC09D-B9A6-4493-9A72-1CA7ECB1F5CA}"/>
          </ac:spMkLst>
        </pc:spChg>
      </pc:sldChg>
      <pc:sldChg chg="modSp add mod ord modNotesTx">
        <pc:chgData name="Thomas Stensitzki" userId="75cafe6b-2f2a-469b-85c4-eec3b9c972ba" providerId="ADAL" clId="{363DE228-8D93-47E2-A1D5-6CB8C68569A9}" dt="2021-04-13T16:12:40.832" v="3593" actId="6549"/>
        <pc:sldMkLst>
          <pc:docMk/>
          <pc:sldMk cId="1129715017" sldId="481"/>
        </pc:sldMkLst>
        <pc:spChg chg="mod">
          <ac:chgData name="Thomas Stensitzki" userId="75cafe6b-2f2a-469b-85c4-eec3b9c972ba" providerId="ADAL" clId="{363DE228-8D93-47E2-A1D5-6CB8C68569A9}" dt="2021-04-13T16:11:22.912" v="3517" actId="1035"/>
          <ac:spMkLst>
            <pc:docMk/>
            <pc:sldMk cId="1129715017" sldId="481"/>
            <ac:spMk id="2" creationId="{909DC09D-B9A6-4493-9A72-1CA7ECB1F5CA}"/>
          </ac:spMkLst>
        </pc:spChg>
        <pc:spChg chg="mod">
          <ac:chgData name="Thomas Stensitzki" userId="75cafe6b-2f2a-469b-85c4-eec3b9c972ba" providerId="ADAL" clId="{363DE228-8D93-47E2-A1D5-6CB8C68569A9}" dt="2021-04-13T16:11:14.137" v="3488" actId="20577"/>
          <ac:spMkLst>
            <pc:docMk/>
            <pc:sldMk cId="1129715017" sldId="481"/>
            <ac:spMk id="5" creationId="{C24DACB5-1BEC-4C86-9652-BAFD8DE56FEF}"/>
          </ac:spMkLst>
        </pc:spChg>
      </pc:sldChg>
      <pc:sldChg chg="modSp add mod ord modNotesTx">
        <pc:chgData name="Thomas Stensitzki" userId="75cafe6b-2f2a-469b-85c4-eec3b9c972ba" providerId="ADAL" clId="{363DE228-8D93-47E2-A1D5-6CB8C68569A9}" dt="2021-04-13T16:12:35.724" v="3592" actId="6549"/>
        <pc:sldMkLst>
          <pc:docMk/>
          <pc:sldMk cId="447580809" sldId="482"/>
        </pc:sldMkLst>
        <pc:spChg chg="mod">
          <ac:chgData name="Thomas Stensitzki" userId="75cafe6b-2f2a-469b-85c4-eec3b9c972ba" providerId="ADAL" clId="{363DE228-8D93-47E2-A1D5-6CB8C68569A9}" dt="2021-04-13T16:11:48.887" v="3557" actId="14100"/>
          <ac:spMkLst>
            <pc:docMk/>
            <pc:sldMk cId="447580809" sldId="482"/>
            <ac:spMk id="2" creationId="{909DC09D-B9A6-4493-9A72-1CA7ECB1F5CA}"/>
          </ac:spMkLst>
        </pc:spChg>
      </pc:sldChg>
      <pc:sldChg chg="modSp add mod ord">
        <pc:chgData name="Thomas Stensitzki" userId="75cafe6b-2f2a-469b-85c4-eec3b9c972ba" providerId="ADAL" clId="{363DE228-8D93-47E2-A1D5-6CB8C68569A9}" dt="2021-04-13T16:12:09.558" v="3563" actId="14100"/>
        <pc:sldMkLst>
          <pc:docMk/>
          <pc:sldMk cId="2109578151" sldId="483"/>
        </pc:sldMkLst>
        <pc:spChg chg="mod">
          <ac:chgData name="Thomas Stensitzki" userId="75cafe6b-2f2a-469b-85c4-eec3b9c972ba" providerId="ADAL" clId="{363DE228-8D93-47E2-A1D5-6CB8C68569A9}" dt="2021-04-13T16:12:09.558" v="3563" actId="14100"/>
          <ac:spMkLst>
            <pc:docMk/>
            <pc:sldMk cId="2109578151" sldId="483"/>
            <ac:spMk id="2" creationId="{909DC09D-B9A6-4493-9A72-1CA7ECB1F5CA}"/>
          </ac:spMkLst>
        </pc:spChg>
      </pc:sldChg>
      <pc:sldChg chg="modSp add mod modNotesTx">
        <pc:chgData name="Thomas Stensitzki" userId="75cafe6b-2f2a-469b-85c4-eec3b9c972ba" providerId="ADAL" clId="{363DE228-8D93-47E2-A1D5-6CB8C68569A9}" dt="2021-04-13T16:12:29.431" v="3591" actId="6549"/>
        <pc:sldMkLst>
          <pc:docMk/>
          <pc:sldMk cId="3880581928" sldId="484"/>
        </pc:sldMkLst>
        <pc:spChg chg="mod">
          <ac:chgData name="Thomas Stensitzki" userId="75cafe6b-2f2a-469b-85c4-eec3b9c972ba" providerId="ADAL" clId="{363DE228-8D93-47E2-A1D5-6CB8C68569A9}" dt="2021-04-13T16:12:21.007" v="3590" actId="1035"/>
          <ac:spMkLst>
            <pc:docMk/>
            <pc:sldMk cId="3880581928" sldId="484"/>
            <ac:spMk id="2" creationId="{909DC09D-B9A6-4493-9A72-1CA7ECB1F5CA}"/>
          </ac:spMkLst>
        </pc:spChg>
      </pc:sldChg>
      <pc:sldChg chg="modSp add mod modNotesTx">
        <pc:chgData name="Thomas Stensitzki" userId="75cafe6b-2f2a-469b-85c4-eec3b9c972ba" providerId="ADAL" clId="{363DE228-8D93-47E2-A1D5-6CB8C68569A9}" dt="2021-04-13T16:13:36.587" v="3658" actId="6549"/>
        <pc:sldMkLst>
          <pc:docMk/>
          <pc:sldMk cId="1578197255" sldId="485"/>
        </pc:sldMkLst>
        <pc:spChg chg="mod">
          <ac:chgData name="Thomas Stensitzki" userId="75cafe6b-2f2a-469b-85c4-eec3b9c972ba" providerId="ADAL" clId="{363DE228-8D93-47E2-A1D5-6CB8C68569A9}" dt="2021-04-13T16:13:15.144" v="3630" actId="1035"/>
          <ac:spMkLst>
            <pc:docMk/>
            <pc:sldMk cId="1578197255" sldId="485"/>
            <ac:spMk id="2" creationId="{909DC09D-B9A6-4493-9A72-1CA7ECB1F5CA}"/>
          </ac:spMkLst>
        </pc:spChg>
      </pc:sldChg>
      <pc:sldChg chg="modSp add mod">
        <pc:chgData name="Thomas Stensitzki" userId="75cafe6b-2f2a-469b-85c4-eec3b9c972ba" providerId="ADAL" clId="{363DE228-8D93-47E2-A1D5-6CB8C68569A9}" dt="2021-04-13T16:13:29.521" v="3657" actId="1036"/>
        <pc:sldMkLst>
          <pc:docMk/>
          <pc:sldMk cId="129048746" sldId="486"/>
        </pc:sldMkLst>
        <pc:spChg chg="mod">
          <ac:chgData name="Thomas Stensitzki" userId="75cafe6b-2f2a-469b-85c4-eec3b9c972ba" providerId="ADAL" clId="{363DE228-8D93-47E2-A1D5-6CB8C68569A9}" dt="2021-04-13T16:13:29.521" v="3657" actId="1036"/>
          <ac:spMkLst>
            <pc:docMk/>
            <pc:sldMk cId="129048746" sldId="486"/>
            <ac:spMk id="2" creationId="{909DC09D-B9A6-4493-9A72-1CA7ECB1F5CA}"/>
          </ac:spMkLst>
        </pc:spChg>
      </pc:sldChg>
      <pc:sldChg chg="addSp delSp modSp add mod">
        <pc:chgData name="Thomas Stensitzki" userId="75cafe6b-2f2a-469b-85c4-eec3b9c972ba" providerId="ADAL" clId="{363DE228-8D93-47E2-A1D5-6CB8C68569A9}" dt="2021-04-13T16:14:03.456" v="3692"/>
        <pc:sldMkLst>
          <pc:docMk/>
          <pc:sldMk cId="3805749550" sldId="487"/>
        </pc:sldMkLst>
        <pc:spChg chg="mod">
          <ac:chgData name="Thomas Stensitzki" userId="75cafe6b-2f2a-469b-85c4-eec3b9c972ba" providerId="ADAL" clId="{363DE228-8D93-47E2-A1D5-6CB8C68569A9}" dt="2021-04-13T16:13:56.978" v="3690" actId="1035"/>
          <ac:spMkLst>
            <pc:docMk/>
            <pc:sldMk cId="3805749550" sldId="487"/>
            <ac:spMk id="2" creationId="{909DC09D-B9A6-4493-9A72-1CA7ECB1F5CA}"/>
          </ac:spMkLst>
        </pc:spChg>
        <pc:spChg chg="add del mod">
          <ac:chgData name="Thomas Stensitzki" userId="75cafe6b-2f2a-469b-85c4-eec3b9c972ba" providerId="ADAL" clId="{363DE228-8D93-47E2-A1D5-6CB8C68569A9}" dt="2021-04-13T16:14:03.456" v="3692"/>
          <ac:spMkLst>
            <pc:docMk/>
            <pc:sldMk cId="3805749550" sldId="487"/>
            <ac:spMk id="6" creationId="{2247C5DC-A300-4E24-8030-8875DEAEF50F}"/>
          </ac:spMkLst>
        </pc:spChg>
      </pc:sldChg>
      <pc:sldChg chg="modSp add mod">
        <pc:chgData name="Thomas Stensitzki" userId="75cafe6b-2f2a-469b-85c4-eec3b9c972ba" providerId="ADAL" clId="{363DE228-8D93-47E2-A1D5-6CB8C68569A9}" dt="2021-04-13T16:14:10.905" v="3714" actId="1036"/>
        <pc:sldMkLst>
          <pc:docMk/>
          <pc:sldMk cId="2133647224" sldId="488"/>
        </pc:sldMkLst>
        <pc:spChg chg="mod">
          <ac:chgData name="Thomas Stensitzki" userId="75cafe6b-2f2a-469b-85c4-eec3b9c972ba" providerId="ADAL" clId="{363DE228-8D93-47E2-A1D5-6CB8C68569A9}" dt="2021-04-13T16:14:10.905" v="3714" actId="1036"/>
          <ac:spMkLst>
            <pc:docMk/>
            <pc:sldMk cId="2133647224" sldId="488"/>
            <ac:spMk id="2" creationId="{909DC09D-B9A6-4493-9A72-1CA7ECB1F5CA}"/>
          </ac:spMkLst>
        </pc:spChg>
      </pc:sldChg>
      <pc:sldChg chg="modSp add mod ord modNotesTx">
        <pc:chgData name="Thomas Stensitzki" userId="75cafe6b-2f2a-469b-85c4-eec3b9c972ba" providerId="ADAL" clId="{363DE228-8D93-47E2-A1D5-6CB8C68569A9}" dt="2021-04-13T16:15:30.018" v="3780" actId="6549"/>
        <pc:sldMkLst>
          <pc:docMk/>
          <pc:sldMk cId="3106687663" sldId="489"/>
        </pc:sldMkLst>
        <pc:spChg chg="mod">
          <ac:chgData name="Thomas Stensitzki" userId="75cafe6b-2f2a-469b-85c4-eec3b9c972ba" providerId="ADAL" clId="{363DE228-8D93-47E2-A1D5-6CB8C68569A9}" dt="2021-04-13T16:14:58.216" v="3749" actId="1035"/>
          <ac:spMkLst>
            <pc:docMk/>
            <pc:sldMk cId="3106687663" sldId="489"/>
            <ac:spMk id="2" creationId="{909DC09D-B9A6-4493-9A72-1CA7ECB1F5CA}"/>
          </ac:spMkLst>
        </pc:spChg>
      </pc:sldChg>
      <pc:sldChg chg="modSp add mod ord">
        <pc:chgData name="Thomas Stensitzki" userId="75cafe6b-2f2a-469b-85c4-eec3b9c972ba" providerId="ADAL" clId="{363DE228-8D93-47E2-A1D5-6CB8C68569A9}" dt="2021-04-13T16:15:18.568" v="3779" actId="14100"/>
        <pc:sldMkLst>
          <pc:docMk/>
          <pc:sldMk cId="344419499" sldId="490"/>
        </pc:sldMkLst>
        <pc:spChg chg="mod">
          <ac:chgData name="Thomas Stensitzki" userId="75cafe6b-2f2a-469b-85c4-eec3b9c972ba" providerId="ADAL" clId="{363DE228-8D93-47E2-A1D5-6CB8C68569A9}" dt="2021-04-13T16:15:18.568" v="3779" actId="14100"/>
          <ac:spMkLst>
            <pc:docMk/>
            <pc:sldMk cId="344419499" sldId="490"/>
            <ac:spMk id="2" creationId="{909DC09D-B9A6-4493-9A72-1CA7ECB1F5CA}"/>
          </ac:spMkLst>
        </pc:spChg>
      </pc:sldChg>
      <pc:sldChg chg="addSp delSp modSp add mod">
        <pc:chgData name="Thomas Stensitzki" userId="75cafe6b-2f2a-469b-85c4-eec3b9c972ba" providerId="ADAL" clId="{363DE228-8D93-47E2-A1D5-6CB8C68569A9}" dt="2021-04-17T16:51:45.081" v="4048" actId="478"/>
        <pc:sldMkLst>
          <pc:docMk/>
          <pc:sldMk cId="3946489210" sldId="491"/>
        </pc:sldMkLst>
        <pc:spChg chg="del">
          <ac:chgData name="Thomas Stensitzki" userId="75cafe6b-2f2a-469b-85c4-eec3b9c972ba" providerId="ADAL" clId="{363DE228-8D93-47E2-A1D5-6CB8C68569A9}" dt="2021-04-17T16:46:29.580" v="3946" actId="478"/>
          <ac:spMkLst>
            <pc:docMk/>
            <pc:sldMk cId="3946489210" sldId="491"/>
            <ac:spMk id="2" creationId="{86A4A9C3-88F1-47B1-832C-DF14CF7A00CF}"/>
          </ac:spMkLst>
        </pc:spChg>
        <pc:spChg chg="del mod">
          <ac:chgData name="Thomas Stensitzki" userId="75cafe6b-2f2a-469b-85c4-eec3b9c972ba" providerId="ADAL" clId="{363DE228-8D93-47E2-A1D5-6CB8C68569A9}" dt="2021-04-17T16:51:30.714" v="4047" actId="478"/>
          <ac:spMkLst>
            <pc:docMk/>
            <pc:sldMk cId="3946489210" sldId="491"/>
            <ac:spMk id="3" creationId="{CBA95633-B02D-4A15-A8B1-A38E0A70FD27}"/>
          </ac:spMkLst>
        </pc:spChg>
        <pc:spChg chg="add del mod">
          <ac:chgData name="Thomas Stensitzki" userId="75cafe6b-2f2a-469b-85c4-eec3b9c972ba" providerId="ADAL" clId="{363DE228-8D93-47E2-A1D5-6CB8C68569A9}" dt="2021-04-17T16:46:31.691" v="3947" actId="478"/>
          <ac:spMkLst>
            <pc:docMk/>
            <pc:sldMk cId="3946489210" sldId="491"/>
            <ac:spMk id="5" creationId="{F1147857-D483-4933-9D90-2F212DBC4A97}"/>
          </ac:spMkLst>
        </pc:spChg>
        <pc:spChg chg="add mod">
          <ac:chgData name="Thomas Stensitzki" userId="75cafe6b-2f2a-469b-85c4-eec3b9c972ba" providerId="ADAL" clId="{363DE228-8D93-47E2-A1D5-6CB8C68569A9}" dt="2021-04-17T16:50:52.145" v="3997" actId="108"/>
          <ac:spMkLst>
            <pc:docMk/>
            <pc:sldMk cId="3946489210" sldId="491"/>
            <ac:spMk id="6" creationId="{EA252111-2DC5-4225-9C36-9E59262ACFF5}"/>
          </ac:spMkLst>
        </pc:spChg>
        <pc:spChg chg="add mod">
          <ac:chgData name="Thomas Stensitzki" userId="75cafe6b-2f2a-469b-85c4-eec3b9c972ba" providerId="ADAL" clId="{363DE228-8D93-47E2-A1D5-6CB8C68569A9}" dt="2021-04-17T16:51:22.710" v="4026" actId="1035"/>
          <ac:spMkLst>
            <pc:docMk/>
            <pc:sldMk cId="3946489210" sldId="491"/>
            <ac:spMk id="7" creationId="{A77062F2-E3B9-4230-9446-1FF51090FD82}"/>
          </ac:spMkLst>
        </pc:spChg>
        <pc:spChg chg="add mod">
          <ac:chgData name="Thomas Stensitzki" userId="75cafe6b-2f2a-469b-85c4-eec3b9c972ba" providerId="ADAL" clId="{363DE228-8D93-47E2-A1D5-6CB8C68569A9}" dt="2021-04-17T16:51:19.974" v="4021" actId="1036"/>
          <ac:spMkLst>
            <pc:docMk/>
            <pc:sldMk cId="3946489210" sldId="491"/>
            <ac:spMk id="8" creationId="{05EE9CC1-A2F7-4BDD-8234-105E3FEC49FE}"/>
          </ac:spMkLst>
        </pc:spChg>
        <pc:spChg chg="add mod">
          <ac:chgData name="Thomas Stensitzki" userId="75cafe6b-2f2a-469b-85c4-eec3b9c972ba" providerId="ADAL" clId="{363DE228-8D93-47E2-A1D5-6CB8C68569A9}" dt="2021-04-17T16:51:28.229" v="4046" actId="1035"/>
          <ac:spMkLst>
            <pc:docMk/>
            <pc:sldMk cId="3946489210" sldId="491"/>
            <ac:spMk id="9" creationId="{0EECB2FE-7B66-4F87-BA62-5FB00090E3B1}"/>
          </ac:spMkLst>
        </pc:spChg>
        <pc:spChg chg="add del mod">
          <ac:chgData name="Thomas Stensitzki" userId="75cafe6b-2f2a-469b-85c4-eec3b9c972ba" providerId="ADAL" clId="{363DE228-8D93-47E2-A1D5-6CB8C68569A9}" dt="2021-04-17T16:51:45.081" v="4048" actId="478"/>
          <ac:spMkLst>
            <pc:docMk/>
            <pc:sldMk cId="3946489210" sldId="491"/>
            <ac:spMk id="11" creationId="{01BF68C4-EF3E-4EC8-BB13-660FEC79E2B6}"/>
          </ac:spMkLst>
        </pc:spChg>
      </pc:sldChg>
    </pc:docChg>
  </pc:docChgLst>
  <pc:docChgLst>
    <pc:chgData name="Thomas Stensitzki" userId="75cafe6b-2f2a-469b-85c4-eec3b9c972ba" providerId="ADAL" clId="{6585694B-F83B-4578-8CAA-5F1AF6E51586}"/>
    <pc:docChg chg="undo custSel addSld delSld modSld delSection modSection">
      <pc:chgData name="Thomas Stensitzki" userId="75cafe6b-2f2a-469b-85c4-eec3b9c972ba" providerId="ADAL" clId="{6585694B-F83B-4578-8CAA-5F1AF6E51586}" dt="2022-12-08T15:47:06.396" v="281" actId="20577"/>
      <pc:docMkLst>
        <pc:docMk/>
      </pc:docMkLst>
      <pc:sldChg chg="modSp mod">
        <pc:chgData name="Thomas Stensitzki" userId="75cafe6b-2f2a-469b-85c4-eec3b9c972ba" providerId="ADAL" clId="{6585694B-F83B-4578-8CAA-5F1AF6E51586}" dt="2022-12-04T15:26:34.427" v="13" actId="20577"/>
        <pc:sldMkLst>
          <pc:docMk/>
          <pc:sldMk cId="671489701" sldId="256"/>
        </pc:sldMkLst>
        <pc:spChg chg="mod">
          <ac:chgData name="Thomas Stensitzki" userId="75cafe6b-2f2a-469b-85c4-eec3b9c972ba" providerId="ADAL" clId="{6585694B-F83B-4578-8CAA-5F1AF6E51586}" dt="2022-12-04T15:26:34.427" v="13" actId="20577"/>
          <ac:spMkLst>
            <pc:docMk/>
            <pc:sldMk cId="671489701" sldId="256"/>
            <ac:spMk id="3" creationId="{CBA95633-B02D-4A15-A8B1-A38E0A70FD27}"/>
          </ac:spMkLst>
        </pc:spChg>
      </pc:sldChg>
      <pc:sldChg chg="modSp mod">
        <pc:chgData name="Thomas Stensitzki" userId="75cafe6b-2f2a-469b-85c4-eec3b9c972ba" providerId="ADAL" clId="{6585694B-F83B-4578-8CAA-5F1AF6E51586}" dt="2022-12-08T15:46:46.270" v="275"/>
        <pc:sldMkLst>
          <pc:docMk/>
          <pc:sldMk cId="2855324227" sldId="257"/>
        </pc:sldMkLst>
        <pc:graphicFrameChg chg="mod modGraphic">
          <ac:chgData name="Thomas Stensitzki" userId="75cafe6b-2f2a-469b-85c4-eec3b9c972ba" providerId="ADAL" clId="{6585694B-F83B-4578-8CAA-5F1AF6E51586}" dt="2022-12-08T15:46:46.270" v="275"/>
          <ac:graphicFrameMkLst>
            <pc:docMk/>
            <pc:sldMk cId="2855324227" sldId="257"/>
            <ac:graphicFrameMk id="6" creationId="{0F955DCC-462D-431D-BBDE-26F10687D590}"/>
          </ac:graphicFrameMkLst>
        </pc:graphicFrameChg>
      </pc:sldChg>
      <pc:sldChg chg="modSp mod">
        <pc:chgData name="Thomas Stensitzki" userId="75cafe6b-2f2a-469b-85c4-eec3b9c972ba" providerId="ADAL" clId="{6585694B-F83B-4578-8CAA-5F1AF6E51586}" dt="2022-12-04T15:31:52.519" v="77" actId="20577"/>
        <pc:sldMkLst>
          <pc:docMk/>
          <pc:sldMk cId="3332792154" sldId="258"/>
        </pc:sldMkLst>
        <pc:spChg chg="mod">
          <ac:chgData name="Thomas Stensitzki" userId="75cafe6b-2f2a-469b-85c4-eec3b9c972ba" providerId="ADAL" clId="{6585694B-F83B-4578-8CAA-5F1AF6E51586}" dt="2022-12-04T15:31:52.519" v="77" actId="20577"/>
          <ac:spMkLst>
            <pc:docMk/>
            <pc:sldMk cId="3332792154" sldId="258"/>
            <ac:spMk id="3" creationId="{3A5A44EB-7FB9-473A-8ED3-C49DDD2E65AB}"/>
          </ac:spMkLst>
        </pc:spChg>
      </pc:sldChg>
      <pc:sldChg chg="modSp mod">
        <pc:chgData name="Thomas Stensitzki" userId="75cafe6b-2f2a-469b-85c4-eec3b9c972ba" providerId="ADAL" clId="{6585694B-F83B-4578-8CAA-5F1AF6E51586}" dt="2022-12-08T15:47:06.396" v="281" actId="20577"/>
        <pc:sldMkLst>
          <pc:docMk/>
          <pc:sldMk cId="2698998357" sldId="260"/>
        </pc:sldMkLst>
        <pc:spChg chg="mod">
          <ac:chgData name="Thomas Stensitzki" userId="75cafe6b-2f2a-469b-85c4-eec3b9c972ba" providerId="ADAL" clId="{6585694B-F83B-4578-8CAA-5F1AF6E51586}" dt="2022-12-04T15:27:42.196" v="37"/>
          <ac:spMkLst>
            <pc:docMk/>
            <pc:sldMk cId="2698998357" sldId="260"/>
            <ac:spMk id="4" creationId="{F3A15CBD-C746-44A3-A4F0-4898CE2F02E6}"/>
          </ac:spMkLst>
        </pc:spChg>
        <pc:spChg chg="mod">
          <ac:chgData name="Thomas Stensitzki" userId="75cafe6b-2f2a-469b-85c4-eec3b9c972ba" providerId="ADAL" clId="{6585694B-F83B-4578-8CAA-5F1AF6E51586}" dt="2022-12-08T15:47:06.396" v="281" actId="20577"/>
          <ac:spMkLst>
            <pc:docMk/>
            <pc:sldMk cId="2698998357" sldId="260"/>
            <ac:spMk id="5" creationId="{F3459BE7-1731-4733-A912-12977C68CFD6}"/>
          </ac:spMkLst>
        </pc:spChg>
      </pc:sldChg>
      <pc:sldChg chg="del">
        <pc:chgData name="Thomas Stensitzki" userId="75cafe6b-2f2a-469b-85c4-eec3b9c972ba" providerId="ADAL" clId="{6585694B-F83B-4578-8CAA-5F1AF6E51586}" dt="2022-12-08T14:14:53.910" v="92" actId="18676"/>
        <pc:sldMkLst>
          <pc:docMk/>
          <pc:sldMk cId="4007670073" sldId="268"/>
        </pc:sldMkLst>
      </pc:sldChg>
      <pc:sldChg chg="modSp mod">
        <pc:chgData name="Thomas Stensitzki" userId="75cafe6b-2f2a-469b-85c4-eec3b9c972ba" providerId="ADAL" clId="{6585694B-F83B-4578-8CAA-5F1AF6E51586}" dt="2022-12-08T15:39:39.165" v="263"/>
        <pc:sldMkLst>
          <pc:docMk/>
          <pc:sldMk cId="2721051844" sldId="269"/>
        </pc:sldMkLst>
        <pc:spChg chg="mod">
          <ac:chgData name="Thomas Stensitzki" userId="75cafe6b-2f2a-469b-85c4-eec3b9c972ba" providerId="ADAL" clId="{6585694B-F83B-4578-8CAA-5F1AF6E51586}" dt="2022-12-08T15:39:39.165" v="263"/>
          <ac:spMkLst>
            <pc:docMk/>
            <pc:sldMk cId="2721051844" sldId="269"/>
            <ac:spMk id="5" creationId="{C24DACB5-1BEC-4C86-9652-BAFD8DE56FEF}"/>
          </ac:spMkLst>
        </pc:spChg>
      </pc:sldChg>
      <pc:sldChg chg="del">
        <pc:chgData name="Thomas Stensitzki" userId="75cafe6b-2f2a-469b-85c4-eec3b9c972ba" providerId="ADAL" clId="{6585694B-F83B-4578-8CAA-5F1AF6E51586}" dt="2022-12-08T14:14:40.492" v="91" actId="47"/>
        <pc:sldMkLst>
          <pc:docMk/>
          <pc:sldMk cId="2227487991" sldId="378"/>
        </pc:sldMkLst>
      </pc:sldChg>
      <pc:sldChg chg="del">
        <pc:chgData name="Thomas Stensitzki" userId="75cafe6b-2f2a-469b-85c4-eec3b9c972ba" providerId="ADAL" clId="{6585694B-F83B-4578-8CAA-5F1AF6E51586}" dt="2022-12-08T14:14:37.960" v="90" actId="18676"/>
        <pc:sldMkLst>
          <pc:docMk/>
          <pc:sldMk cId="3797754622" sldId="515"/>
        </pc:sldMkLst>
      </pc:sldChg>
      <pc:sldChg chg="modSp mod">
        <pc:chgData name="Thomas Stensitzki" userId="75cafe6b-2f2a-469b-85c4-eec3b9c972ba" providerId="ADAL" clId="{6585694B-F83B-4578-8CAA-5F1AF6E51586}" dt="2022-12-08T15:17:12.315" v="217" actId="20577"/>
        <pc:sldMkLst>
          <pc:docMk/>
          <pc:sldMk cId="1728515471" sldId="561"/>
        </pc:sldMkLst>
        <pc:graphicFrameChg chg="mod modGraphic">
          <ac:chgData name="Thomas Stensitzki" userId="75cafe6b-2f2a-469b-85c4-eec3b9c972ba" providerId="ADAL" clId="{6585694B-F83B-4578-8CAA-5F1AF6E51586}" dt="2022-12-08T15:17:12.315" v="217" actId="20577"/>
          <ac:graphicFrameMkLst>
            <pc:docMk/>
            <pc:sldMk cId="1728515471" sldId="561"/>
            <ac:graphicFrameMk id="4" creationId="{55EDB790-67BC-42E5-B64A-5647620B8383}"/>
          </ac:graphicFrameMkLst>
        </pc:graphicFrameChg>
      </pc:sldChg>
      <pc:sldChg chg="del">
        <pc:chgData name="Thomas Stensitzki" userId="75cafe6b-2f2a-469b-85c4-eec3b9c972ba" providerId="ADAL" clId="{6585694B-F83B-4578-8CAA-5F1AF6E51586}" dt="2022-12-04T15:28:36.906" v="45" actId="47"/>
        <pc:sldMkLst>
          <pc:docMk/>
          <pc:sldMk cId="4104137776" sldId="567"/>
        </pc:sldMkLst>
      </pc:sldChg>
      <pc:sldChg chg="modSp mod modShow">
        <pc:chgData name="Thomas Stensitzki" userId="75cafe6b-2f2a-469b-85c4-eec3b9c972ba" providerId="ADAL" clId="{6585694B-F83B-4578-8CAA-5F1AF6E51586}" dt="2022-12-08T15:46:34.692" v="273" actId="20577"/>
        <pc:sldMkLst>
          <pc:docMk/>
          <pc:sldMk cId="1856989855" sldId="606"/>
        </pc:sldMkLst>
        <pc:spChg chg="mod">
          <ac:chgData name="Thomas Stensitzki" userId="75cafe6b-2f2a-469b-85c4-eec3b9c972ba" providerId="ADAL" clId="{6585694B-F83B-4578-8CAA-5F1AF6E51586}" dt="2022-12-08T15:46:34.692" v="273" actId="20577"/>
          <ac:spMkLst>
            <pc:docMk/>
            <pc:sldMk cId="1856989855" sldId="606"/>
            <ac:spMk id="4" creationId="{F3A15CBD-C746-44A3-A4F0-4898CE2F02E6}"/>
          </ac:spMkLst>
        </pc:spChg>
        <pc:spChg chg="mod">
          <ac:chgData name="Thomas Stensitzki" userId="75cafe6b-2f2a-469b-85c4-eec3b9c972ba" providerId="ADAL" clId="{6585694B-F83B-4578-8CAA-5F1AF6E51586}" dt="2022-12-08T14:15:16.013" v="147" actId="20577"/>
          <ac:spMkLst>
            <pc:docMk/>
            <pc:sldMk cId="1856989855" sldId="606"/>
            <ac:spMk id="5" creationId="{F3459BE7-1731-4733-A912-12977C68CFD6}"/>
          </ac:spMkLst>
        </pc:spChg>
      </pc:sldChg>
      <pc:sldChg chg="addSp delSp modSp new mod modClrScheme chgLayout">
        <pc:chgData name="Thomas Stensitzki" userId="75cafe6b-2f2a-469b-85c4-eec3b9c972ba" providerId="ADAL" clId="{6585694B-F83B-4578-8CAA-5F1AF6E51586}" dt="2022-12-08T15:46:40.606" v="274"/>
        <pc:sldMkLst>
          <pc:docMk/>
          <pc:sldMk cId="4003618409" sldId="608"/>
        </pc:sldMkLst>
        <pc:spChg chg="del mod ord">
          <ac:chgData name="Thomas Stensitzki" userId="75cafe6b-2f2a-469b-85c4-eec3b9c972ba" providerId="ADAL" clId="{6585694B-F83B-4578-8CAA-5F1AF6E51586}" dt="2022-12-08T14:15:36.611" v="149" actId="700"/>
          <ac:spMkLst>
            <pc:docMk/>
            <pc:sldMk cId="4003618409" sldId="608"/>
            <ac:spMk id="2" creationId="{9BBEA893-F22E-CEA0-BA14-AA7B7E5CCE96}"/>
          </ac:spMkLst>
        </pc:spChg>
        <pc:spChg chg="del mod ord">
          <ac:chgData name="Thomas Stensitzki" userId="75cafe6b-2f2a-469b-85c4-eec3b9c972ba" providerId="ADAL" clId="{6585694B-F83B-4578-8CAA-5F1AF6E51586}" dt="2022-12-08T14:15:36.611" v="149" actId="700"/>
          <ac:spMkLst>
            <pc:docMk/>
            <pc:sldMk cId="4003618409" sldId="608"/>
            <ac:spMk id="3" creationId="{BB49B110-0523-266E-7A61-C2801D7B7217}"/>
          </ac:spMkLst>
        </pc:spChg>
        <pc:spChg chg="add mod ord">
          <ac:chgData name="Thomas Stensitzki" userId="75cafe6b-2f2a-469b-85c4-eec3b9c972ba" providerId="ADAL" clId="{6585694B-F83B-4578-8CAA-5F1AF6E51586}" dt="2022-12-08T15:46:40.606" v="274"/>
          <ac:spMkLst>
            <pc:docMk/>
            <pc:sldMk cId="4003618409" sldId="608"/>
            <ac:spMk id="4" creationId="{C0B0B73D-CD73-C293-5EF2-4813AD511D2F}"/>
          </ac:spMkLst>
        </pc:spChg>
        <pc:spChg chg="add mod ord">
          <ac:chgData name="Thomas Stensitzki" userId="75cafe6b-2f2a-469b-85c4-eec3b9c972ba" providerId="ADAL" clId="{6585694B-F83B-4578-8CAA-5F1AF6E51586}" dt="2022-12-08T14:15:54.001" v="184"/>
          <ac:spMkLst>
            <pc:docMk/>
            <pc:sldMk cId="4003618409" sldId="608"/>
            <ac:spMk id="5" creationId="{3066861D-633E-76ED-199F-ABF1A0FFCA7C}"/>
          </ac:spMkLst>
        </pc:spChg>
      </pc:sldChg>
      <pc:sldChg chg="del">
        <pc:chgData name="Thomas Stensitzki" userId="75cafe6b-2f2a-469b-85c4-eec3b9c972ba" providerId="ADAL" clId="{6585694B-F83B-4578-8CAA-5F1AF6E51586}" dt="2022-12-04T15:28:22.207" v="42" actId="47"/>
        <pc:sldMkLst>
          <pc:docMk/>
          <pc:sldMk cId="1055936327" sldId="615"/>
        </pc:sldMkLst>
      </pc:sldChg>
      <pc:sldChg chg="del">
        <pc:chgData name="Thomas Stensitzki" userId="75cafe6b-2f2a-469b-85c4-eec3b9c972ba" providerId="ADAL" clId="{6585694B-F83B-4578-8CAA-5F1AF6E51586}" dt="2022-12-04T15:28:13.840" v="41" actId="47"/>
        <pc:sldMkLst>
          <pc:docMk/>
          <pc:sldMk cId="4105418081" sldId="616"/>
        </pc:sldMkLst>
      </pc:sldChg>
      <pc:sldChg chg="del">
        <pc:chgData name="Thomas Stensitzki" userId="75cafe6b-2f2a-469b-85c4-eec3b9c972ba" providerId="ADAL" clId="{6585694B-F83B-4578-8CAA-5F1AF6E51586}" dt="2022-12-04T15:28:08.275" v="40" actId="47"/>
        <pc:sldMkLst>
          <pc:docMk/>
          <pc:sldMk cId="2500841606" sldId="617"/>
        </pc:sldMkLst>
      </pc:sldChg>
      <pc:sldChg chg="del">
        <pc:chgData name="Thomas Stensitzki" userId="75cafe6b-2f2a-469b-85c4-eec3b9c972ba" providerId="ADAL" clId="{6585694B-F83B-4578-8CAA-5F1AF6E51586}" dt="2022-12-04T15:28:08.275" v="40" actId="47"/>
        <pc:sldMkLst>
          <pc:docMk/>
          <pc:sldMk cId="1322085727" sldId="618"/>
        </pc:sldMkLst>
      </pc:sldChg>
      <pc:sldChg chg="del">
        <pc:chgData name="Thomas Stensitzki" userId="75cafe6b-2f2a-469b-85c4-eec3b9c972ba" providerId="ADAL" clId="{6585694B-F83B-4578-8CAA-5F1AF6E51586}" dt="2022-12-04T15:28:08.275" v="40" actId="47"/>
        <pc:sldMkLst>
          <pc:docMk/>
          <pc:sldMk cId="198888969" sldId="619"/>
        </pc:sldMkLst>
      </pc:sldChg>
      <pc:sldChg chg="del">
        <pc:chgData name="Thomas Stensitzki" userId="75cafe6b-2f2a-469b-85c4-eec3b9c972ba" providerId="ADAL" clId="{6585694B-F83B-4578-8CAA-5F1AF6E51586}" dt="2022-12-04T15:28:08.275" v="40" actId="47"/>
        <pc:sldMkLst>
          <pc:docMk/>
          <pc:sldMk cId="3201512428" sldId="620"/>
        </pc:sldMkLst>
      </pc:sldChg>
      <pc:sldChg chg="del">
        <pc:chgData name="Thomas Stensitzki" userId="75cafe6b-2f2a-469b-85c4-eec3b9c972ba" providerId="ADAL" clId="{6585694B-F83B-4578-8CAA-5F1AF6E51586}" dt="2022-12-04T15:28:08.275" v="40" actId="47"/>
        <pc:sldMkLst>
          <pc:docMk/>
          <pc:sldMk cId="495201301" sldId="621"/>
        </pc:sldMkLst>
      </pc:sldChg>
      <pc:sldChg chg="del">
        <pc:chgData name="Thomas Stensitzki" userId="75cafe6b-2f2a-469b-85c4-eec3b9c972ba" providerId="ADAL" clId="{6585694B-F83B-4578-8CAA-5F1AF6E51586}" dt="2022-12-04T15:28:36.906" v="45" actId="47"/>
        <pc:sldMkLst>
          <pc:docMk/>
          <pc:sldMk cId="1216098891" sldId="622"/>
        </pc:sldMkLst>
      </pc:sldChg>
      <pc:sldChg chg="del">
        <pc:chgData name="Thomas Stensitzki" userId="75cafe6b-2f2a-469b-85c4-eec3b9c972ba" providerId="ADAL" clId="{6585694B-F83B-4578-8CAA-5F1AF6E51586}" dt="2022-12-04T15:28:36.906" v="45" actId="47"/>
        <pc:sldMkLst>
          <pc:docMk/>
          <pc:sldMk cId="1625578544" sldId="623"/>
        </pc:sldMkLst>
      </pc:sldChg>
      <pc:sldChg chg="del">
        <pc:chgData name="Thomas Stensitzki" userId="75cafe6b-2f2a-469b-85c4-eec3b9c972ba" providerId="ADAL" clId="{6585694B-F83B-4578-8CAA-5F1AF6E51586}" dt="2022-12-04T15:28:36.906" v="45" actId="47"/>
        <pc:sldMkLst>
          <pc:docMk/>
          <pc:sldMk cId="3928386235" sldId="624"/>
        </pc:sldMkLst>
      </pc:sldChg>
      <pc:sldChg chg="del">
        <pc:chgData name="Thomas Stensitzki" userId="75cafe6b-2f2a-469b-85c4-eec3b9c972ba" providerId="ADAL" clId="{6585694B-F83B-4578-8CAA-5F1AF6E51586}" dt="2022-12-04T15:28:22.207" v="42" actId="47"/>
        <pc:sldMkLst>
          <pc:docMk/>
          <pc:sldMk cId="2431608557" sldId="625"/>
        </pc:sldMkLst>
      </pc:sldChg>
      <pc:sldChg chg="del">
        <pc:chgData name="Thomas Stensitzki" userId="75cafe6b-2f2a-469b-85c4-eec3b9c972ba" providerId="ADAL" clId="{6585694B-F83B-4578-8CAA-5F1AF6E51586}" dt="2022-12-04T15:28:36.906" v="45" actId="47"/>
        <pc:sldMkLst>
          <pc:docMk/>
          <pc:sldMk cId="1333001301" sldId="626"/>
        </pc:sldMkLst>
      </pc:sldChg>
      <pc:sldChg chg="del">
        <pc:chgData name="Thomas Stensitzki" userId="75cafe6b-2f2a-469b-85c4-eec3b9c972ba" providerId="ADAL" clId="{6585694B-F83B-4578-8CAA-5F1AF6E51586}" dt="2022-12-04T15:28:22.207" v="42" actId="47"/>
        <pc:sldMkLst>
          <pc:docMk/>
          <pc:sldMk cId="2864403089" sldId="627"/>
        </pc:sldMkLst>
      </pc:sldChg>
      <pc:sldChg chg="del">
        <pc:chgData name="Thomas Stensitzki" userId="75cafe6b-2f2a-469b-85c4-eec3b9c972ba" providerId="ADAL" clId="{6585694B-F83B-4578-8CAA-5F1AF6E51586}" dt="2022-12-04T15:28:41.975" v="46" actId="47"/>
        <pc:sldMkLst>
          <pc:docMk/>
          <pc:sldMk cId="2624383707" sldId="628"/>
        </pc:sldMkLst>
      </pc:sldChg>
      <pc:sldChg chg="del">
        <pc:chgData name="Thomas Stensitzki" userId="75cafe6b-2f2a-469b-85c4-eec3b9c972ba" providerId="ADAL" clId="{6585694B-F83B-4578-8CAA-5F1AF6E51586}" dt="2022-12-04T15:28:22.207" v="42" actId="47"/>
        <pc:sldMkLst>
          <pc:docMk/>
          <pc:sldMk cId="182847428" sldId="629"/>
        </pc:sldMkLst>
      </pc:sldChg>
      <pc:sldChg chg="del">
        <pc:chgData name="Thomas Stensitzki" userId="75cafe6b-2f2a-469b-85c4-eec3b9c972ba" providerId="ADAL" clId="{6585694B-F83B-4578-8CAA-5F1AF6E51586}" dt="2022-12-04T15:28:22.207" v="42" actId="47"/>
        <pc:sldMkLst>
          <pc:docMk/>
          <pc:sldMk cId="1125589417" sldId="630"/>
        </pc:sldMkLst>
      </pc:sldChg>
      <pc:sldChg chg="del">
        <pc:chgData name="Thomas Stensitzki" userId="75cafe6b-2f2a-469b-85c4-eec3b9c972ba" providerId="ADAL" clId="{6585694B-F83B-4578-8CAA-5F1AF6E51586}" dt="2022-12-04T15:28:22.207" v="42" actId="47"/>
        <pc:sldMkLst>
          <pc:docMk/>
          <pc:sldMk cId="1294991851" sldId="631"/>
        </pc:sldMkLst>
      </pc:sldChg>
      <pc:sldChg chg="del">
        <pc:chgData name="Thomas Stensitzki" userId="75cafe6b-2f2a-469b-85c4-eec3b9c972ba" providerId="ADAL" clId="{6585694B-F83B-4578-8CAA-5F1AF6E51586}" dt="2022-12-04T15:28:41.975" v="46" actId="47"/>
        <pc:sldMkLst>
          <pc:docMk/>
          <pc:sldMk cId="74767398" sldId="632"/>
        </pc:sldMkLst>
      </pc:sldChg>
      <pc:sldChg chg="del">
        <pc:chgData name="Thomas Stensitzki" userId="75cafe6b-2f2a-469b-85c4-eec3b9c972ba" providerId="ADAL" clId="{6585694B-F83B-4578-8CAA-5F1AF6E51586}" dt="2022-12-04T15:28:41.975" v="46" actId="47"/>
        <pc:sldMkLst>
          <pc:docMk/>
          <pc:sldMk cId="222009446" sldId="633"/>
        </pc:sldMkLst>
      </pc:sldChg>
      <pc:sldChg chg="del">
        <pc:chgData name="Thomas Stensitzki" userId="75cafe6b-2f2a-469b-85c4-eec3b9c972ba" providerId="ADAL" clId="{6585694B-F83B-4578-8CAA-5F1AF6E51586}" dt="2022-12-04T15:28:29.850" v="43" actId="47"/>
        <pc:sldMkLst>
          <pc:docMk/>
          <pc:sldMk cId="641717594" sldId="634"/>
        </pc:sldMkLst>
      </pc:sldChg>
      <pc:sldChg chg="del">
        <pc:chgData name="Thomas Stensitzki" userId="75cafe6b-2f2a-469b-85c4-eec3b9c972ba" providerId="ADAL" clId="{6585694B-F83B-4578-8CAA-5F1AF6E51586}" dt="2022-12-04T15:28:51.336" v="47" actId="47"/>
        <pc:sldMkLst>
          <pc:docMk/>
          <pc:sldMk cId="1631157761" sldId="635"/>
        </pc:sldMkLst>
      </pc:sldChg>
      <pc:sldChg chg="del">
        <pc:chgData name="Thomas Stensitzki" userId="75cafe6b-2f2a-469b-85c4-eec3b9c972ba" providerId="ADAL" clId="{6585694B-F83B-4578-8CAA-5F1AF6E51586}" dt="2022-12-04T15:28:51.336" v="47" actId="47"/>
        <pc:sldMkLst>
          <pc:docMk/>
          <pc:sldMk cId="2329644470" sldId="636"/>
        </pc:sldMkLst>
      </pc:sldChg>
      <pc:sldChg chg="del">
        <pc:chgData name="Thomas Stensitzki" userId="75cafe6b-2f2a-469b-85c4-eec3b9c972ba" providerId="ADAL" clId="{6585694B-F83B-4578-8CAA-5F1AF6E51586}" dt="2022-12-04T15:28:29.850" v="43" actId="47"/>
        <pc:sldMkLst>
          <pc:docMk/>
          <pc:sldMk cId="3684390708" sldId="637"/>
        </pc:sldMkLst>
      </pc:sldChg>
      <pc:sldChg chg="del">
        <pc:chgData name="Thomas Stensitzki" userId="75cafe6b-2f2a-469b-85c4-eec3b9c972ba" providerId="ADAL" clId="{6585694B-F83B-4578-8CAA-5F1AF6E51586}" dt="2022-12-04T15:28:29.850" v="43" actId="47"/>
        <pc:sldMkLst>
          <pc:docMk/>
          <pc:sldMk cId="3230378298" sldId="638"/>
        </pc:sldMkLst>
      </pc:sldChg>
      <pc:sldChg chg="del">
        <pc:chgData name="Thomas Stensitzki" userId="75cafe6b-2f2a-469b-85c4-eec3b9c972ba" providerId="ADAL" clId="{6585694B-F83B-4578-8CAA-5F1AF6E51586}" dt="2022-12-04T15:28:51.336" v="47" actId="47"/>
        <pc:sldMkLst>
          <pc:docMk/>
          <pc:sldMk cId="3465019233" sldId="639"/>
        </pc:sldMkLst>
      </pc:sldChg>
      <pc:sldChg chg="del">
        <pc:chgData name="Thomas Stensitzki" userId="75cafe6b-2f2a-469b-85c4-eec3b9c972ba" providerId="ADAL" clId="{6585694B-F83B-4578-8CAA-5F1AF6E51586}" dt="2022-12-04T15:28:51.336" v="47" actId="47"/>
        <pc:sldMkLst>
          <pc:docMk/>
          <pc:sldMk cId="3773795940" sldId="640"/>
        </pc:sldMkLst>
      </pc:sldChg>
      <pc:sldChg chg="del">
        <pc:chgData name="Thomas Stensitzki" userId="75cafe6b-2f2a-469b-85c4-eec3b9c972ba" providerId="ADAL" clId="{6585694B-F83B-4578-8CAA-5F1AF6E51586}" dt="2022-12-04T15:28:51.336" v="47" actId="47"/>
        <pc:sldMkLst>
          <pc:docMk/>
          <pc:sldMk cId="2087933606" sldId="641"/>
        </pc:sldMkLst>
      </pc:sldChg>
      <pc:sldChg chg="del">
        <pc:chgData name="Thomas Stensitzki" userId="75cafe6b-2f2a-469b-85c4-eec3b9c972ba" providerId="ADAL" clId="{6585694B-F83B-4578-8CAA-5F1AF6E51586}" dt="2022-12-04T15:28:29.850" v="43" actId="47"/>
        <pc:sldMkLst>
          <pc:docMk/>
          <pc:sldMk cId="1502932586" sldId="642"/>
        </pc:sldMkLst>
      </pc:sldChg>
      <pc:sldChg chg="del">
        <pc:chgData name="Thomas Stensitzki" userId="75cafe6b-2f2a-469b-85c4-eec3b9c972ba" providerId="ADAL" clId="{6585694B-F83B-4578-8CAA-5F1AF6E51586}" dt="2022-12-04T15:28:29.850" v="43" actId="47"/>
        <pc:sldMkLst>
          <pc:docMk/>
          <pc:sldMk cId="2913103850" sldId="643"/>
        </pc:sldMkLst>
      </pc:sldChg>
      <pc:sldChg chg="del">
        <pc:chgData name="Thomas Stensitzki" userId="75cafe6b-2f2a-469b-85c4-eec3b9c972ba" providerId="ADAL" clId="{6585694B-F83B-4578-8CAA-5F1AF6E51586}" dt="2022-12-04T15:28:29.850" v="43" actId="47"/>
        <pc:sldMkLst>
          <pc:docMk/>
          <pc:sldMk cId="942581030" sldId="644"/>
        </pc:sldMkLst>
      </pc:sldChg>
      <pc:sldChg chg="del">
        <pc:chgData name="Thomas Stensitzki" userId="75cafe6b-2f2a-469b-85c4-eec3b9c972ba" providerId="ADAL" clId="{6585694B-F83B-4578-8CAA-5F1AF6E51586}" dt="2022-12-04T15:28:33.471" v="44" actId="47"/>
        <pc:sldMkLst>
          <pc:docMk/>
          <pc:sldMk cId="2729172580" sldId="645"/>
        </pc:sldMkLst>
      </pc:sldChg>
      <pc:sldChg chg="del">
        <pc:chgData name="Thomas Stensitzki" userId="75cafe6b-2f2a-469b-85c4-eec3b9c972ba" providerId="ADAL" clId="{6585694B-F83B-4578-8CAA-5F1AF6E51586}" dt="2022-12-04T15:28:33.471" v="44" actId="47"/>
        <pc:sldMkLst>
          <pc:docMk/>
          <pc:sldMk cId="295227728" sldId="646"/>
        </pc:sldMkLst>
      </pc:sldChg>
      <pc:sldChg chg="del">
        <pc:chgData name="Thomas Stensitzki" userId="75cafe6b-2f2a-469b-85c4-eec3b9c972ba" providerId="ADAL" clId="{6585694B-F83B-4578-8CAA-5F1AF6E51586}" dt="2022-12-04T15:28:13.840" v="41" actId="47"/>
        <pc:sldMkLst>
          <pc:docMk/>
          <pc:sldMk cId="3764594880" sldId="647"/>
        </pc:sldMkLst>
      </pc:sldChg>
      <pc:sldChg chg="del">
        <pc:chgData name="Thomas Stensitzki" userId="75cafe6b-2f2a-469b-85c4-eec3b9c972ba" providerId="ADAL" clId="{6585694B-F83B-4578-8CAA-5F1AF6E51586}" dt="2022-12-04T15:28:22.207" v="42" actId="47"/>
        <pc:sldMkLst>
          <pc:docMk/>
          <pc:sldMk cId="1091040638" sldId="648"/>
        </pc:sldMkLst>
      </pc:sldChg>
      <pc:sldChg chg="del">
        <pc:chgData name="Thomas Stensitzki" userId="75cafe6b-2f2a-469b-85c4-eec3b9c972ba" providerId="ADAL" clId="{6585694B-F83B-4578-8CAA-5F1AF6E51586}" dt="2022-12-04T15:28:22.207" v="42" actId="47"/>
        <pc:sldMkLst>
          <pc:docMk/>
          <pc:sldMk cId="2369649432" sldId="649"/>
        </pc:sldMkLst>
      </pc:sldChg>
      <pc:sldChg chg="del">
        <pc:chgData name="Thomas Stensitzki" userId="75cafe6b-2f2a-469b-85c4-eec3b9c972ba" providerId="ADAL" clId="{6585694B-F83B-4578-8CAA-5F1AF6E51586}" dt="2022-12-04T15:28:22.207" v="42" actId="47"/>
        <pc:sldMkLst>
          <pc:docMk/>
          <pc:sldMk cId="4292684490" sldId="650"/>
        </pc:sldMkLst>
      </pc:sldChg>
      <pc:sldChg chg="del">
        <pc:chgData name="Thomas Stensitzki" userId="75cafe6b-2f2a-469b-85c4-eec3b9c972ba" providerId="ADAL" clId="{6585694B-F83B-4578-8CAA-5F1AF6E51586}" dt="2022-12-04T15:28:22.207" v="42" actId="47"/>
        <pc:sldMkLst>
          <pc:docMk/>
          <pc:sldMk cId="324892990" sldId="651"/>
        </pc:sldMkLst>
      </pc:sldChg>
      <pc:sldChg chg="del">
        <pc:chgData name="Thomas Stensitzki" userId="75cafe6b-2f2a-469b-85c4-eec3b9c972ba" providerId="ADAL" clId="{6585694B-F83B-4578-8CAA-5F1AF6E51586}" dt="2022-12-04T15:28:22.207" v="42" actId="47"/>
        <pc:sldMkLst>
          <pc:docMk/>
          <pc:sldMk cId="2700638492" sldId="652"/>
        </pc:sldMkLst>
      </pc:sldChg>
      <pc:sldChg chg="del">
        <pc:chgData name="Thomas Stensitzki" userId="75cafe6b-2f2a-469b-85c4-eec3b9c972ba" providerId="ADAL" clId="{6585694B-F83B-4578-8CAA-5F1AF6E51586}" dt="2022-12-04T15:28:29.850" v="43" actId="47"/>
        <pc:sldMkLst>
          <pc:docMk/>
          <pc:sldMk cId="1379297492" sldId="653"/>
        </pc:sldMkLst>
      </pc:sldChg>
      <pc:sldChg chg="del">
        <pc:chgData name="Thomas Stensitzki" userId="75cafe6b-2f2a-469b-85c4-eec3b9c972ba" providerId="ADAL" clId="{6585694B-F83B-4578-8CAA-5F1AF6E51586}" dt="2022-12-04T15:28:22.207" v="42" actId="47"/>
        <pc:sldMkLst>
          <pc:docMk/>
          <pc:sldMk cId="20870858" sldId="654"/>
        </pc:sldMkLst>
      </pc:sldChg>
      <pc:sldChg chg="del">
        <pc:chgData name="Thomas Stensitzki" userId="75cafe6b-2f2a-469b-85c4-eec3b9c972ba" providerId="ADAL" clId="{6585694B-F83B-4578-8CAA-5F1AF6E51586}" dt="2022-12-04T15:28:29.850" v="43" actId="47"/>
        <pc:sldMkLst>
          <pc:docMk/>
          <pc:sldMk cId="4081057211" sldId="655"/>
        </pc:sldMkLst>
      </pc:sldChg>
      <pc:sldChg chg="del">
        <pc:chgData name="Thomas Stensitzki" userId="75cafe6b-2f2a-469b-85c4-eec3b9c972ba" providerId="ADAL" clId="{6585694B-F83B-4578-8CAA-5F1AF6E51586}" dt="2022-12-04T15:28:29.850" v="43" actId="47"/>
        <pc:sldMkLst>
          <pc:docMk/>
          <pc:sldMk cId="2870420379" sldId="656"/>
        </pc:sldMkLst>
      </pc:sldChg>
      <pc:sldChg chg="del">
        <pc:chgData name="Thomas Stensitzki" userId="75cafe6b-2f2a-469b-85c4-eec3b9c972ba" providerId="ADAL" clId="{6585694B-F83B-4578-8CAA-5F1AF6E51586}" dt="2022-12-04T15:28:29.850" v="43" actId="47"/>
        <pc:sldMkLst>
          <pc:docMk/>
          <pc:sldMk cId="1841510030" sldId="657"/>
        </pc:sldMkLst>
      </pc:sldChg>
      <pc:sldChg chg="del">
        <pc:chgData name="Thomas Stensitzki" userId="75cafe6b-2f2a-469b-85c4-eec3b9c972ba" providerId="ADAL" clId="{6585694B-F83B-4578-8CAA-5F1AF6E51586}" dt="2022-12-04T15:28:33.471" v="44" actId="47"/>
        <pc:sldMkLst>
          <pc:docMk/>
          <pc:sldMk cId="3337092959" sldId="658"/>
        </pc:sldMkLst>
      </pc:sldChg>
      <pc:sldChg chg="del">
        <pc:chgData name="Thomas Stensitzki" userId="75cafe6b-2f2a-469b-85c4-eec3b9c972ba" providerId="ADAL" clId="{6585694B-F83B-4578-8CAA-5F1AF6E51586}" dt="2022-12-08T14:14:37.960" v="90" actId="18676"/>
        <pc:sldMkLst>
          <pc:docMk/>
          <pc:sldMk cId="1962477249" sldId="659"/>
        </pc:sldMkLst>
      </pc:sldChg>
      <pc:sldChg chg="del">
        <pc:chgData name="Thomas Stensitzki" userId="75cafe6b-2f2a-469b-85c4-eec3b9c972ba" providerId="ADAL" clId="{6585694B-F83B-4578-8CAA-5F1AF6E51586}" dt="2022-12-04T15:28:36.906" v="45" actId="47"/>
        <pc:sldMkLst>
          <pc:docMk/>
          <pc:sldMk cId="1061161082" sldId="660"/>
        </pc:sldMkLst>
      </pc:sldChg>
      <pc:sldChg chg="del">
        <pc:chgData name="Thomas Stensitzki" userId="75cafe6b-2f2a-469b-85c4-eec3b9c972ba" providerId="ADAL" clId="{6585694B-F83B-4578-8CAA-5F1AF6E51586}" dt="2022-12-04T15:28:41.975" v="46" actId="47"/>
        <pc:sldMkLst>
          <pc:docMk/>
          <pc:sldMk cId="2497496185" sldId="661"/>
        </pc:sldMkLst>
      </pc:sldChg>
      <pc:sldChg chg="del">
        <pc:chgData name="Thomas Stensitzki" userId="75cafe6b-2f2a-469b-85c4-eec3b9c972ba" providerId="ADAL" clId="{6585694B-F83B-4578-8CAA-5F1AF6E51586}" dt="2022-12-04T15:28:41.975" v="46" actId="47"/>
        <pc:sldMkLst>
          <pc:docMk/>
          <pc:sldMk cId="301037216" sldId="662"/>
        </pc:sldMkLst>
      </pc:sldChg>
      <pc:sldChg chg="del">
        <pc:chgData name="Thomas Stensitzki" userId="75cafe6b-2f2a-469b-85c4-eec3b9c972ba" providerId="ADAL" clId="{6585694B-F83B-4578-8CAA-5F1AF6E51586}" dt="2022-12-04T15:28:41.975" v="46" actId="47"/>
        <pc:sldMkLst>
          <pc:docMk/>
          <pc:sldMk cId="815879234" sldId="663"/>
        </pc:sldMkLst>
      </pc:sldChg>
      <pc:sldChg chg="del">
        <pc:chgData name="Thomas Stensitzki" userId="75cafe6b-2f2a-469b-85c4-eec3b9c972ba" providerId="ADAL" clId="{6585694B-F83B-4578-8CAA-5F1AF6E51586}" dt="2022-12-04T15:28:41.975" v="46" actId="47"/>
        <pc:sldMkLst>
          <pc:docMk/>
          <pc:sldMk cId="3506364790" sldId="664"/>
        </pc:sldMkLst>
      </pc:sldChg>
    </pc:docChg>
  </pc:docChgLst>
  <pc:docChgLst>
    <pc:chgData name="Thomas Stensitzki" userId="75cafe6b-2f2a-469b-85c4-eec3b9c972ba" providerId="ADAL" clId="{84A5A1CF-D4D8-4DEE-82E8-21007BEBD9EB}"/>
    <pc:docChg chg="undo custSel addSld delSld modSld sldOrd modSection">
      <pc:chgData name="Thomas Stensitzki" userId="75cafe6b-2f2a-469b-85c4-eec3b9c972ba" providerId="ADAL" clId="{84A5A1CF-D4D8-4DEE-82E8-21007BEBD9EB}" dt="2021-12-02T16:26:37.639" v="2824" actId="20577"/>
      <pc:docMkLst>
        <pc:docMk/>
      </pc:docMkLst>
      <pc:sldChg chg="modSp mod modTransition">
        <pc:chgData name="Thomas Stensitzki" userId="75cafe6b-2f2a-469b-85c4-eec3b9c972ba" providerId="ADAL" clId="{84A5A1CF-D4D8-4DEE-82E8-21007BEBD9EB}" dt="2021-11-27T14:22:00.443" v="2304"/>
        <pc:sldMkLst>
          <pc:docMk/>
          <pc:sldMk cId="671489701" sldId="256"/>
        </pc:sldMkLst>
        <pc:spChg chg="mod">
          <ac:chgData name="Thomas Stensitzki" userId="75cafe6b-2f2a-469b-85c4-eec3b9c972ba" providerId="ADAL" clId="{84A5A1CF-D4D8-4DEE-82E8-21007BEBD9EB}" dt="2021-11-27T11:48:08.697" v="30" actId="6549"/>
          <ac:spMkLst>
            <pc:docMk/>
            <pc:sldMk cId="671489701" sldId="256"/>
            <ac:spMk id="3" creationId="{CBA95633-B02D-4A15-A8B1-A38E0A70FD27}"/>
          </ac:spMkLst>
        </pc:spChg>
      </pc:sldChg>
      <pc:sldChg chg="modSp mod modTransition">
        <pc:chgData name="Thomas Stensitzki" userId="75cafe6b-2f2a-469b-85c4-eec3b9c972ba" providerId="ADAL" clId="{84A5A1CF-D4D8-4DEE-82E8-21007BEBD9EB}" dt="2021-11-27T14:22:00.443" v="2304"/>
        <pc:sldMkLst>
          <pc:docMk/>
          <pc:sldMk cId="2855324227" sldId="257"/>
        </pc:sldMkLst>
        <pc:spChg chg="mod">
          <ac:chgData name="Thomas Stensitzki" userId="75cafe6b-2f2a-469b-85c4-eec3b9c972ba" providerId="ADAL" clId="{84A5A1CF-D4D8-4DEE-82E8-21007BEBD9EB}" dt="2021-11-27T11:51:06.044" v="94" actId="114"/>
          <ac:spMkLst>
            <pc:docMk/>
            <pc:sldMk cId="2855324227" sldId="257"/>
            <ac:spMk id="5" creationId="{EE6719E1-4DB6-4D58-BA77-937CF975247C}"/>
          </ac:spMkLst>
        </pc:spChg>
        <pc:graphicFrameChg chg="mod modGraphic">
          <ac:chgData name="Thomas Stensitzki" userId="75cafe6b-2f2a-469b-85c4-eec3b9c972ba" providerId="ADAL" clId="{84A5A1CF-D4D8-4DEE-82E8-21007BEBD9EB}" dt="2021-11-27T11:51:48.069" v="97" actId="14734"/>
          <ac:graphicFrameMkLst>
            <pc:docMk/>
            <pc:sldMk cId="2855324227" sldId="257"/>
            <ac:graphicFrameMk id="6" creationId="{0F955DCC-462D-431D-BBDE-26F10687D590}"/>
          </ac:graphicFrameMkLst>
        </pc:graphicFrameChg>
      </pc:sldChg>
      <pc:sldChg chg="modSp mod modTransition">
        <pc:chgData name="Thomas Stensitzki" userId="75cafe6b-2f2a-469b-85c4-eec3b9c972ba" providerId="ADAL" clId="{84A5A1CF-D4D8-4DEE-82E8-21007BEBD9EB}" dt="2021-11-27T14:22:00.443" v="2304"/>
        <pc:sldMkLst>
          <pc:docMk/>
          <pc:sldMk cId="3332792154" sldId="258"/>
        </pc:sldMkLst>
        <pc:spChg chg="mod">
          <ac:chgData name="Thomas Stensitzki" userId="75cafe6b-2f2a-469b-85c4-eec3b9c972ba" providerId="ADAL" clId="{84A5A1CF-D4D8-4DEE-82E8-21007BEBD9EB}" dt="2021-11-27T11:59:40.198" v="203" actId="6549"/>
          <ac:spMkLst>
            <pc:docMk/>
            <pc:sldMk cId="3332792154" sldId="258"/>
            <ac:spMk id="3" creationId="{3A5A44EB-7FB9-473A-8ED3-C49DDD2E65AB}"/>
          </ac:spMkLst>
        </pc:spChg>
      </pc:sldChg>
      <pc:sldChg chg="modTransition">
        <pc:chgData name="Thomas Stensitzki" userId="75cafe6b-2f2a-469b-85c4-eec3b9c972ba" providerId="ADAL" clId="{84A5A1CF-D4D8-4DEE-82E8-21007BEBD9EB}" dt="2021-11-27T14:22:00.443" v="2304"/>
        <pc:sldMkLst>
          <pc:docMk/>
          <pc:sldMk cId="1545829058" sldId="259"/>
        </pc:sldMkLst>
      </pc:sldChg>
      <pc:sldChg chg="modSp mod modTransition">
        <pc:chgData name="Thomas Stensitzki" userId="75cafe6b-2f2a-469b-85c4-eec3b9c972ba" providerId="ADAL" clId="{84A5A1CF-D4D8-4DEE-82E8-21007BEBD9EB}" dt="2021-11-27T14:22:00.443" v="2304"/>
        <pc:sldMkLst>
          <pc:docMk/>
          <pc:sldMk cId="2698998357" sldId="260"/>
        </pc:sldMkLst>
        <pc:spChg chg="mod">
          <ac:chgData name="Thomas Stensitzki" userId="75cafe6b-2f2a-469b-85c4-eec3b9c972ba" providerId="ADAL" clId="{84A5A1CF-D4D8-4DEE-82E8-21007BEBD9EB}" dt="2021-11-27T11:50:40.722" v="86"/>
          <ac:spMkLst>
            <pc:docMk/>
            <pc:sldMk cId="2698998357" sldId="260"/>
            <ac:spMk id="4" creationId="{F3A15CBD-C746-44A3-A4F0-4898CE2F02E6}"/>
          </ac:spMkLst>
        </pc:spChg>
        <pc:spChg chg="mod">
          <ac:chgData name="Thomas Stensitzki" userId="75cafe6b-2f2a-469b-85c4-eec3b9c972ba" providerId="ADAL" clId="{84A5A1CF-D4D8-4DEE-82E8-21007BEBD9EB}" dt="2021-11-27T11:50:58.944" v="93" actId="20577"/>
          <ac:spMkLst>
            <pc:docMk/>
            <pc:sldMk cId="2698998357" sldId="260"/>
            <ac:spMk id="5" creationId="{F3459BE7-1731-4733-A912-12977C68CFD6}"/>
          </ac:spMkLst>
        </pc:spChg>
      </pc:sldChg>
      <pc:sldChg chg="modSp mod modTransition">
        <pc:chgData name="Thomas Stensitzki" userId="75cafe6b-2f2a-469b-85c4-eec3b9c972ba" providerId="ADAL" clId="{84A5A1CF-D4D8-4DEE-82E8-21007BEBD9EB}" dt="2021-11-27T14:22:00.443" v="2304"/>
        <pc:sldMkLst>
          <pc:docMk/>
          <pc:sldMk cId="4007670073" sldId="268"/>
        </pc:sldMkLst>
        <pc:spChg chg="mod">
          <ac:chgData name="Thomas Stensitzki" userId="75cafe6b-2f2a-469b-85c4-eec3b9c972ba" providerId="ADAL" clId="{84A5A1CF-D4D8-4DEE-82E8-21007BEBD9EB}" dt="2021-11-27T14:16:15.267" v="1968" actId="6549"/>
          <ac:spMkLst>
            <pc:docMk/>
            <pc:sldMk cId="4007670073" sldId="268"/>
            <ac:spMk id="5" creationId="{F3459BE7-1731-4733-A912-12977C68CFD6}"/>
          </ac:spMkLst>
        </pc:spChg>
      </pc:sldChg>
      <pc:sldChg chg="modSp mod modTransition">
        <pc:chgData name="Thomas Stensitzki" userId="75cafe6b-2f2a-469b-85c4-eec3b9c972ba" providerId="ADAL" clId="{84A5A1CF-D4D8-4DEE-82E8-21007BEBD9EB}" dt="2021-11-27T14:27:08.337" v="2662" actId="20577"/>
        <pc:sldMkLst>
          <pc:docMk/>
          <pc:sldMk cId="2721051844" sldId="269"/>
        </pc:sldMkLst>
        <pc:spChg chg="mod">
          <ac:chgData name="Thomas Stensitzki" userId="75cafe6b-2f2a-469b-85c4-eec3b9c972ba" providerId="ADAL" clId="{84A5A1CF-D4D8-4DEE-82E8-21007BEBD9EB}" dt="2021-11-27T14:27:08.337" v="2662" actId="20577"/>
          <ac:spMkLst>
            <pc:docMk/>
            <pc:sldMk cId="2721051844" sldId="269"/>
            <ac:spMk id="5" creationId="{C24DACB5-1BEC-4C86-9652-BAFD8DE56FEF}"/>
          </ac:spMkLst>
        </pc:spChg>
      </pc:sldChg>
      <pc:sldChg chg="modTransition">
        <pc:chgData name="Thomas Stensitzki" userId="75cafe6b-2f2a-469b-85c4-eec3b9c972ba" providerId="ADAL" clId="{84A5A1CF-D4D8-4DEE-82E8-21007BEBD9EB}" dt="2021-11-27T14:22:00.443" v="2304"/>
        <pc:sldMkLst>
          <pc:docMk/>
          <pc:sldMk cId="1928334901" sldId="295"/>
        </pc:sldMkLst>
      </pc:sldChg>
      <pc:sldChg chg="modTransition">
        <pc:chgData name="Thomas Stensitzki" userId="75cafe6b-2f2a-469b-85c4-eec3b9c972ba" providerId="ADAL" clId="{84A5A1CF-D4D8-4DEE-82E8-21007BEBD9EB}" dt="2021-11-27T14:22:00.443" v="2304"/>
        <pc:sldMkLst>
          <pc:docMk/>
          <pc:sldMk cId="466045460" sldId="296"/>
        </pc:sldMkLst>
      </pc:sldChg>
      <pc:sldChg chg="modSp mod modTransition">
        <pc:chgData name="Thomas Stensitzki" userId="75cafe6b-2f2a-469b-85c4-eec3b9c972ba" providerId="ADAL" clId="{84A5A1CF-D4D8-4DEE-82E8-21007BEBD9EB}" dt="2021-11-27T14:22:00.443" v="2304"/>
        <pc:sldMkLst>
          <pc:docMk/>
          <pc:sldMk cId="53967156" sldId="297"/>
        </pc:sldMkLst>
        <pc:spChg chg="mod">
          <ac:chgData name="Thomas Stensitzki" userId="75cafe6b-2f2a-469b-85c4-eec3b9c972ba" providerId="ADAL" clId="{84A5A1CF-D4D8-4DEE-82E8-21007BEBD9EB}" dt="2021-11-27T11:51:42.764" v="95"/>
          <ac:spMkLst>
            <pc:docMk/>
            <pc:sldMk cId="53967156" sldId="297"/>
            <ac:spMk id="4" creationId="{F3A15CBD-C746-44A3-A4F0-4898CE2F02E6}"/>
          </ac:spMkLst>
        </pc:spChg>
        <pc:spChg chg="mod">
          <ac:chgData name="Thomas Stensitzki" userId="75cafe6b-2f2a-469b-85c4-eec3b9c972ba" providerId="ADAL" clId="{84A5A1CF-D4D8-4DEE-82E8-21007BEBD9EB}" dt="2021-11-27T11:52:00.060" v="101" actId="6549"/>
          <ac:spMkLst>
            <pc:docMk/>
            <pc:sldMk cId="53967156" sldId="297"/>
            <ac:spMk id="5" creationId="{F3459BE7-1731-4733-A912-12977C68CFD6}"/>
          </ac:spMkLst>
        </pc:spChg>
      </pc:sldChg>
      <pc:sldChg chg="modTransition">
        <pc:chgData name="Thomas Stensitzki" userId="75cafe6b-2f2a-469b-85c4-eec3b9c972ba" providerId="ADAL" clId="{84A5A1CF-D4D8-4DEE-82E8-21007BEBD9EB}" dt="2021-11-27T14:22:00.443" v="2304"/>
        <pc:sldMkLst>
          <pc:docMk/>
          <pc:sldMk cId="2814967912" sldId="311"/>
        </pc:sldMkLst>
      </pc:sldChg>
      <pc:sldChg chg="modTransition">
        <pc:chgData name="Thomas Stensitzki" userId="75cafe6b-2f2a-469b-85c4-eec3b9c972ba" providerId="ADAL" clId="{84A5A1CF-D4D8-4DEE-82E8-21007BEBD9EB}" dt="2021-11-27T14:22:00.443" v="2304"/>
        <pc:sldMkLst>
          <pc:docMk/>
          <pc:sldMk cId="726195275" sldId="313"/>
        </pc:sldMkLst>
      </pc:sldChg>
      <pc:sldChg chg="modSp mod modTransition">
        <pc:chgData name="Thomas Stensitzki" userId="75cafe6b-2f2a-469b-85c4-eec3b9c972ba" providerId="ADAL" clId="{84A5A1CF-D4D8-4DEE-82E8-21007BEBD9EB}" dt="2021-11-27T14:22:00.443" v="2304"/>
        <pc:sldMkLst>
          <pc:docMk/>
          <pc:sldMk cId="2227487991" sldId="378"/>
        </pc:sldMkLst>
        <pc:spChg chg="mod">
          <ac:chgData name="Thomas Stensitzki" userId="75cafe6b-2f2a-469b-85c4-eec3b9c972ba" providerId="ADAL" clId="{84A5A1CF-D4D8-4DEE-82E8-21007BEBD9EB}" dt="2021-11-27T14:16:24.438" v="1970" actId="14100"/>
          <ac:spMkLst>
            <pc:docMk/>
            <pc:sldMk cId="2227487991" sldId="378"/>
            <ac:spMk id="2" creationId="{909DC09D-B9A6-4493-9A72-1CA7ECB1F5CA}"/>
          </ac:spMkLst>
        </pc:spChg>
        <pc:spChg chg="mod">
          <ac:chgData name="Thomas Stensitzki" userId="75cafe6b-2f2a-469b-85c4-eec3b9c972ba" providerId="ADAL" clId="{84A5A1CF-D4D8-4DEE-82E8-21007BEBD9EB}" dt="2021-11-27T13:11:10.116" v="730"/>
          <ac:spMkLst>
            <pc:docMk/>
            <pc:sldMk cId="2227487991" sldId="378"/>
            <ac:spMk id="5" creationId="{C24DACB5-1BEC-4C86-9652-BAFD8DE56FEF}"/>
          </ac:spMkLst>
        </pc:spChg>
      </pc:sldChg>
      <pc:sldChg chg="mod modTransition modShow">
        <pc:chgData name="Thomas Stensitzki" userId="75cafe6b-2f2a-469b-85c4-eec3b9c972ba" providerId="ADAL" clId="{84A5A1CF-D4D8-4DEE-82E8-21007BEBD9EB}" dt="2021-11-27T14:28:37.836" v="2663" actId="729"/>
        <pc:sldMkLst>
          <pc:docMk/>
          <pc:sldMk cId="2923837414" sldId="513"/>
        </pc:sldMkLst>
      </pc:sldChg>
      <pc:sldChg chg="mod modTransition modShow">
        <pc:chgData name="Thomas Stensitzki" userId="75cafe6b-2f2a-469b-85c4-eec3b9c972ba" providerId="ADAL" clId="{84A5A1CF-D4D8-4DEE-82E8-21007BEBD9EB}" dt="2021-11-27T14:22:00.443" v="2304"/>
        <pc:sldMkLst>
          <pc:docMk/>
          <pc:sldMk cId="2395924320" sldId="514"/>
        </pc:sldMkLst>
      </pc:sldChg>
      <pc:sldChg chg="modSp mod modTransition">
        <pc:chgData name="Thomas Stensitzki" userId="75cafe6b-2f2a-469b-85c4-eec3b9c972ba" providerId="ADAL" clId="{84A5A1CF-D4D8-4DEE-82E8-21007BEBD9EB}" dt="2021-11-27T14:22:40.765" v="2313" actId="1035"/>
        <pc:sldMkLst>
          <pc:docMk/>
          <pc:sldMk cId="3797754622" sldId="515"/>
        </pc:sldMkLst>
        <pc:spChg chg="mod">
          <ac:chgData name="Thomas Stensitzki" userId="75cafe6b-2f2a-469b-85c4-eec3b9c972ba" providerId="ADAL" clId="{84A5A1CF-D4D8-4DEE-82E8-21007BEBD9EB}" dt="2021-11-27T14:22:40.765" v="2313" actId="1035"/>
          <ac:spMkLst>
            <pc:docMk/>
            <pc:sldMk cId="3797754622" sldId="515"/>
            <ac:spMk id="2" creationId="{909DC09D-B9A6-4493-9A72-1CA7ECB1F5CA}"/>
          </ac:spMkLst>
        </pc:spChg>
        <pc:spChg chg="mod">
          <ac:chgData name="Thomas Stensitzki" userId="75cafe6b-2f2a-469b-85c4-eec3b9c972ba" providerId="ADAL" clId="{84A5A1CF-D4D8-4DEE-82E8-21007BEBD9EB}" dt="2021-11-27T14:15:36.629" v="1961" actId="255"/>
          <ac:spMkLst>
            <pc:docMk/>
            <pc:sldMk cId="3797754622" sldId="515"/>
            <ac:spMk id="5" creationId="{C24DACB5-1BEC-4C86-9652-BAFD8DE56FEF}"/>
          </ac:spMkLst>
        </pc:spChg>
      </pc:sldChg>
      <pc:sldChg chg="del">
        <pc:chgData name="Thomas Stensitzki" userId="75cafe6b-2f2a-469b-85c4-eec3b9c972ba" providerId="ADAL" clId="{84A5A1CF-D4D8-4DEE-82E8-21007BEBD9EB}" dt="2021-11-27T12:00:14.428" v="205" actId="47"/>
        <pc:sldMkLst>
          <pc:docMk/>
          <pc:sldMk cId="2712056554" sldId="516"/>
        </pc:sldMkLst>
      </pc:sldChg>
      <pc:sldChg chg="del">
        <pc:chgData name="Thomas Stensitzki" userId="75cafe6b-2f2a-469b-85c4-eec3b9c972ba" providerId="ADAL" clId="{84A5A1CF-D4D8-4DEE-82E8-21007BEBD9EB}" dt="2021-11-27T12:00:14.428" v="205" actId="47"/>
        <pc:sldMkLst>
          <pc:docMk/>
          <pc:sldMk cId="2592263701" sldId="517"/>
        </pc:sldMkLst>
      </pc:sldChg>
      <pc:sldChg chg="del">
        <pc:chgData name="Thomas Stensitzki" userId="75cafe6b-2f2a-469b-85c4-eec3b9c972ba" providerId="ADAL" clId="{84A5A1CF-D4D8-4DEE-82E8-21007BEBD9EB}" dt="2021-11-27T12:00:14.428" v="205" actId="47"/>
        <pc:sldMkLst>
          <pc:docMk/>
          <pc:sldMk cId="2691419104" sldId="518"/>
        </pc:sldMkLst>
      </pc:sldChg>
      <pc:sldChg chg="del">
        <pc:chgData name="Thomas Stensitzki" userId="75cafe6b-2f2a-469b-85c4-eec3b9c972ba" providerId="ADAL" clId="{84A5A1CF-D4D8-4DEE-82E8-21007BEBD9EB}" dt="2021-11-27T12:00:28.725" v="206" actId="47"/>
        <pc:sldMkLst>
          <pc:docMk/>
          <pc:sldMk cId="2239521866" sldId="519"/>
        </pc:sldMkLst>
      </pc:sldChg>
      <pc:sldChg chg="del">
        <pc:chgData name="Thomas Stensitzki" userId="75cafe6b-2f2a-469b-85c4-eec3b9c972ba" providerId="ADAL" clId="{84A5A1CF-D4D8-4DEE-82E8-21007BEBD9EB}" dt="2021-11-27T12:00:28.725" v="206" actId="47"/>
        <pc:sldMkLst>
          <pc:docMk/>
          <pc:sldMk cId="2023308020" sldId="520"/>
        </pc:sldMkLst>
      </pc:sldChg>
      <pc:sldChg chg="del">
        <pc:chgData name="Thomas Stensitzki" userId="75cafe6b-2f2a-469b-85c4-eec3b9c972ba" providerId="ADAL" clId="{84A5A1CF-D4D8-4DEE-82E8-21007BEBD9EB}" dt="2021-11-27T12:00:28.725" v="206" actId="47"/>
        <pc:sldMkLst>
          <pc:docMk/>
          <pc:sldMk cId="3342197954" sldId="521"/>
        </pc:sldMkLst>
      </pc:sldChg>
      <pc:sldChg chg="del">
        <pc:chgData name="Thomas Stensitzki" userId="75cafe6b-2f2a-469b-85c4-eec3b9c972ba" providerId="ADAL" clId="{84A5A1CF-D4D8-4DEE-82E8-21007BEBD9EB}" dt="2021-11-27T12:00:28.725" v="206" actId="47"/>
        <pc:sldMkLst>
          <pc:docMk/>
          <pc:sldMk cId="2697887611" sldId="523"/>
        </pc:sldMkLst>
      </pc:sldChg>
      <pc:sldChg chg="del">
        <pc:chgData name="Thomas Stensitzki" userId="75cafe6b-2f2a-469b-85c4-eec3b9c972ba" providerId="ADAL" clId="{84A5A1CF-D4D8-4DEE-82E8-21007BEBD9EB}" dt="2021-11-27T12:00:28.725" v="206" actId="47"/>
        <pc:sldMkLst>
          <pc:docMk/>
          <pc:sldMk cId="3151864037" sldId="524"/>
        </pc:sldMkLst>
      </pc:sldChg>
      <pc:sldChg chg="del">
        <pc:chgData name="Thomas Stensitzki" userId="75cafe6b-2f2a-469b-85c4-eec3b9c972ba" providerId="ADAL" clId="{84A5A1CF-D4D8-4DEE-82E8-21007BEBD9EB}" dt="2021-11-27T12:00:28.725" v="206" actId="47"/>
        <pc:sldMkLst>
          <pc:docMk/>
          <pc:sldMk cId="1710541557" sldId="525"/>
        </pc:sldMkLst>
      </pc:sldChg>
      <pc:sldChg chg="del">
        <pc:chgData name="Thomas Stensitzki" userId="75cafe6b-2f2a-469b-85c4-eec3b9c972ba" providerId="ADAL" clId="{84A5A1CF-D4D8-4DEE-82E8-21007BEBD9EB}" dt="2021-11-27T12:00:28.725" v="206" actId="47"/>
        <pc:sldMkLst>
          <pc:docMk/>
          <pc:sldMk cId="2296744449" sldId="526"/>
        </pc:sldMkLst>
      </pc:sldChg>
      <pc:sldChg chg="del">
        <pc:chgData name="Thomas Stensitzki" userId="75cafe6b-2f2a-469b-85c4-eec3b9c972ba" providerId="ADAL" clId="{84A5A1CF-D4D8-4DEE-82E8-21007BEBD9EB}" dt="2021-11-27T12:00:28.725" v="206" actId="47"/>
        <pc:sldMkLst>
          <pc:docMk/>
          <pc:sldMk cId="1119798974" sldId="527"/>
        </pc:sldMkLst>
      </pc:sldChg>
      <pc:sldChg chg="del">
        <pc:chgData name="Thomas Stensitzki" userId="75cafe6b-2f2a-469b-85c4-eec3b9c972ba" providerId="ADAL" clId="{84A5A1CF-D4D8-4DEE-82E8-21007BEBD9EB}" dt="2021-11-27T12:00:28.725" v="206" actId="47"/>
        <pc:sldMkLst>
          <pc:docMk/>
          <pc:sldMk cId="2356668622" sldId="528"/>
        </pc:sldMkLst>
      </pc:sldChg>
      <pc:sldChg chg="del">
        <pc:chgData name="Thomas Stensitzki" userId="75cafe6b-2f2a-469b-85c4-eec3b9c972ba" providerId="ADAL" clId="{84A5A1CF-D4D8-4DEE-82E8-21007BEBD9EB}" dt="2021-11-27T12:00:28.725" v="206" actId="47"/>
        <pc:sldMkLst>
          <pc:docMk/>
          <pc:sldMk cId="3227298801" sldId="529"/>
        </pc:sldMkLst>
      </pc:sldChg>
      <pc:sldChg chg="del">
        <pc:chgData name="Thomas Stensitzki" userId="75cafe6b-2f2a-469b-85c4-eec3b9c972ba" providerId="ADAL" clId="{84A5A1CF-D4D8-4DEE-82E8-21007BEBD9EB}" dt="2021-11-27T12:00:14.428" v="205" actId="47"/>
        <pc:sldMkLst>
          <pc:docMk/>
          <pc:sldMk cId="4001838037" sldId="530"/>
        </pc:sldMkLst>
      </pc:sldChg>
      <pc:sldChg chg="del">
        <pc:chgData name="Thomas Stensitzki" userId="75cafe6b-2f2a-469b-85c4-eec3b9c972ba" providerId="ADAL" clId="{84A5A1CF-D4D8-4DEE-82E8-21007BEBD9EB}" dt="2021-11-27T12:00:14.428" v="205" actId="47"/>
        <pc:sldMkLst>
          <pc:docMk/>
          <pc:sldMk cId="459788482" sldId="531"/>
        </pc:sldMkLst>
      </pc:sldChg>
      <pc:sldChg chg="del">
        <pc:chgData name="Thomas Stensitzki" userId="75cafe6b-2f2a-469b-85c4-eec3b9c972ba" providerId="ADAL" clId="{84A5A1CF-D4D8-4DEE-82E8-21007BEBD9EB}" dt="2021-11-27T12:00:28.725" v="206" actId="47"/>
        <pc:sldMkLst>
          <pc:docMk/>
          <pc:sldMk cId="1002663695" sldId="532"/>
        </pc:sldMkLst>
      </pc:sldChg>
      <pc:sldChg chg="del">
        <pc:chgData name="Thomas Stensitzki" userId="75cafe6b-2f2a-469b-85c4-eec3b9c972ba" providerId="ADAL" clId="{84A5A1CF-D4D8-4DEE-82E8-21007BEBD9EB}" dt="2021-11-27T12:00:14.428" v="205" actId="47"/>
        <pc:sldMkLst>
          <pc:docMk/>
          <pc:sldMk cId="3719475429" sldId="533"/>
        </pc:sldMkLst>
      </pc:sldChg>
      <pc:sldChg chg="del">
        <pc:chgData name="Thomas Stensitzki" userId="75cafe6b-2f2a-469b-85c4-eec3b9c972ba" providerId="ADAL" clId="{84A5A1CF-D4D8-4DEE-82E8-21007BEBD9EB}" dt="2021-11-27T12:00:14.428" v="205" actId="47"/>
        <pc:sldMkLst>
          <pc:docMk/>
          <pc:sldMk cId="3555038738" sldId="534"/>
        </pc:sldMkLst>
      </pc:sldChg>
      <pc:sldChg chg="del">
        <pc:chgData name="Thomas Stensitzki" userId="75cafe6b-2f2a-469b-85c4-eec3b9c972ba" providerId="ADAL" clId="{84A5A1CF-D4D8-4DEE-82E8-21007BEBD9EB}" dt="2021-11-27T12:00:14.428" v="205" actId="47"/>
        <pc:sldMkLst>
          <pc:docMk/>
          <pc:sldMk cId="89213568" sldId="535"/>
        </pc:sldMkLst>
      </pc:sldChg>
      <pc:sldChg chg="del">
        <pc:chgData name="Thomas Stensitzki" userId="75cafe6b-2f2a-469b-85c4-eec3b9c972ba" providerId="ADAL" clId="{84A5A1CF-D4D8-4DEE-82E8-21007BEBD9EB}" dt="2021-11-27T12:00:28.725" v="206" actId="47"/>
        <pc:sldMkLst>
          <pc:docMk/>
          <pc:sldMk cId="3161842247" sldId="536"/>
        </pc:sldMkLst>
      </pc:sldChg>
      <pc:sldChg chg="del">
        <pc:chgData name="Thomas Stensitzki" userId="75cafe6b-2f2a-469b-85c4-eec3b9c972ba" providerId="ADAL" clId="{84A5A1CF-D4D8-4DEE-82E8-21007BEBD9EB}" dt="2021-11-27T12:00:28.725" v="206" actId="47"/>
        <pc:sldMkLst>
          <pc:docMk/>
          <pc:sldMk cId="273152899" sldId="537"/>
        </pc:sldMkLst>
      </pc:sldChg>
      <pc:sldChg chg="del">
        <pc:chgData name="Thomas Stensitzki" userId="75cafe6b-2f2a-469b-85c4-eec3b9c972ba" providerId="ADAL" clId="{84A5A1CF-D4D8-4DEE-82E8-21007BEBD9EB}" dt="2021-11-27T12:00:28.725" v="206" actId="47"/>
        <pc:sldMkLst>
          <pc:docMk/>
          <pc:sldMk cId="3101364963" sldId="538"/>
        </pc:sldMkLst>
      </pc:sldChg>
      <pc:sldChg chg="del">
        <pc:chgData name="Thomas Stensitzki" userId="75cafe6b-2f2a-469b-85c4-eec3b9c972ba" providerId="ADAL" clId="{84A5A1CF-D4D8-4DEE-82E8-21007BEBD9EB}" dt="2021-11-27T12:00:28.725" v="206" actId="47"/>
        <pc:sldMkLst>
          <pc:docMk/>
          <pc:sldMk cId="2457228316" sldId="539"/>
        </pc:sldMkLst>
      </pc:sldChg>
      <pc:sldChg chg="del">
        <pc:chgData name="Thomas Stensitzki" userId="75cafe6b-2f2a-469b-85c4-eec3b9c972ba" providerId="ADAL" clId="{84A5A1CF-D4D8-4DEE-82E8-21007BEBD9EB}" dt="2021-11-27T12:00:28.725" v="206" actId="47"/>
        <pc:sldMkLst>
          <pc:docMk/>
          <pc:sldMk cId="3084141999" sldId="540"/>
        </pc:sldMkLst>
      </pc:sldChg>
      <pc:sldChg chg="del">
        <pc:chgData name="Thomas Stensitzki" userId="75cafe6b-2f2a-469b-85c4-eec3b9c972ba" providerId="ADAL" clId="{84A5A1CF-D4D8-4DEE-82E8-21007BEBD9EB}" dt="2021-11-27T12:00:28.725" v="206" actId="47"/>
        <pc:sldMkLst>
          <pc:docMk/>
          <pc:sldMk cId="400379336" sldId="541"/>
        </pc:sldMkLst>
      </pc:sldChg>
      <pc:sldChg chg="del">
        <pc:chgData name="Thomas Stensitzki" userId="75cafe6b-2f2a-469b-85c4-eec3b9c972ba" providerId="ADAL" clId="{84A5A1CF-D4D8-4DEE-82E8-21007BEBD9EB}" dt="2021-11-27T12:00:28.725" v="206" actId="47"/>
        <pc:sldMkLst>
          <pc:docMk/>
          <pc:sldMk cId="2825434786" sldId="542"/>
        </pc:sldMkLst>
      </pc:sldChg>
      <pc:sldChg chg="del">
        <pc:chgData name="Thomas Stensitzki" userId="75cafe6b-2f2a-469b-85c4-eec3b9c972ba" providerId="ADAL" clId="{84A5A1CF-D4D8-4DEE-82E8-21007BEBD9EB}" dt="2021-11-27T12:00:28.725" v="206" actId="47"/>
        <pc:sldMkLst>
          <pc:docMk/>
          <pc:sldMk cId="2440018585" sldId="543"/>
        </pc:sldMkLst>
      </pc:sldChg>
      <pc:sldChg chg="del">
        <pc:chgData name="Thomas Stensitzki" userId="75cafe6b-2f2a-469b-85c4-eec3b9c972ba" providerId="ADAL" clId="{84A5A1CF-D4D8-4DEE-82E8-21007BEBD9EB}" dt="2021-11-27T12:00:28.725" v="206" actId="47"/>
        <pc:sldMkLst>
          <pc:docMk/>
          <pc:sldMk cId="3405544507" sldId="544"/>
        </pc:sldMkLst>
      </pc:sldChg>
      <pc:sldChg chg="del">
        <pc:chgData name="Thomas Stensitzki" userId="75cafe6b-2f2a-469b-85c4-eec3b9c972ba" providerId="ADAL" clId="{84A5A1CF-D4D8-4DEE-82E8-21007BEBD9EB}" dt="2021-11-27T12:00:28.725" v="206" actId="47"/>
        <pc:sldMkLst>
          <pc:docMk/>
          <pc:sldMk cId="3435528560" sldId="545"/>
        </pc:sldMkLst>
      </pc:sldChg>
      <pc:sldChg chg="del">
        <pc:chgData name="Thomas Stensitzki" userId="75cafe6b-2f2a-469b-85c4-eec3b9c972ba" providerId="ADAL" clId="{84A5A1CF-D4D8-4DEE-82E8-21007BEBD9EB}" dt="2021-11-27T12:00:28.725" v="206" actId="47"/>
        <pc:sldMkLst>
          <pc:docMk/>
          <pc:sldMk cId="351288392" sldId="546"/>
        </pc:sldMkLst>
      </pc:sldChg>
      <pc:sldChg chg="del">
        <pc:chgData name="Thomas Stensitzki" userId="75cafe6b-2f2a-469b-85c4-eec3b9c972ba" providerId="ADAL" clId="{84A5A1CF-D4D8-4DEE-82E8-21007BEBD9EB}" dt="2021-11-27T12:00:28.725" v="206" actId="47"/>
        <pc:sldMkLst>
          <pc:docMk/>
          <pc:sldMk cId="553914419" sldId="547"/>
        </pc:sldMkLst>
      </pc:sldChg>
      <pc:sldChg chg="del">
        <pc:chgData name="Thomas Stensitzki" userId="75cafe6b-2f2a-469b-85c4-eec3b9c972ba" providerId="ADAL" clId="{84A5A1CF-D4D8-4DEE-82E8-21007BEBD9EB}" dt="2021-11-27T12:00:28.725" v="206" actId="47"/>
        <pc:sldMkLst>
          <pc:docMk/>
          <pc:sldMk cId="3814430672" sldId="548"/>
        </pc:sldMkLst>
      </pc:sldChg>
      <pc:sldChg chg="del">
        <pc:chgData name="Thomas Stensitzki" userId="75cafe6b-2f2a-469b-85c4-eec3b9c972ba" providerId="ADAL" clId="{84A5A1CF-D4D8-4DEE-82E8-21007BEBD9EB}" dt="2021-11-27T12:00:28.725" v="206" actId="47"/>
        <pc:sldMkLst>
          <pc:docMk/>
          <pc:sldMk cId="3585174972" sldId="549"/>
        </pc:sldMkLst>
      </pc:sldChg>
      <pc:sldChg chg="del">
        <pc:chgData name="Thomas Stensitzki" userId="75cafe6b-2f2a-469b-85c4-eec3b9c972ba" providerId="ADAL" clId="{84A5A1CF-D4D8-4DEE-82E8-21007BEBD9EB}" dt="2021-11-27T12:00:28.725" v="206" actId="47"/>
        <pc:sldMkLst>
          <pc:docMk/>
          <pc:sldMk cId="50830545" sldId="550"/>
        </pc:sldMkLst>
      </pc:sldChg>
      <pc:sldChg chg="del">
        <pc:chgData name="Thomas Stensitzki" userId="75cafe6b-2f2a-469b-85c4-eec3b9c972ba" providerId="ADAL" clId="{84A5A1CF-D4D8-4DEE-82E8-21007BEBD9EB}" dt="2021-11-27T12:00:28.725" v="206" actId="47"/>
        <pc:sldMkLst>
          <pc:docMk/>
          <pc:sldMk cId="4020096464" sldId="551"/>
        </pc:sldMkLst>
      </pc:sldChg>
      <pc:sldChg chg="del">
        <pc:chgData name="Thomas Stensitzki" userId="75cafe6b-2f2a-469b-85c4-eec3b9c972ba" providerId="ADAL" clId="{84A5A1CF-D4D8-4DEE-82E8-21007BEBD9EB}" dt="2021-11-27T12:00:28.725" v="206" actId="47"/>
        <pc:sldMkLst>
          <pc:docMk/>
          <pc:sldMk cId="2714743288" sldId="552"/>
        </pc:sldMkLst>
      </pc:sldChg>
      <pc:sldChg chg="del">
        <pc:chgData name="Thomas Stensitzki" userId="75cafe6b-2f2a-469b-85c4-eec3b9c972ba" providerId="ADAL" clId="{84A5A1CF-D4D8-4DEE-82E8-21007BEBD9EB}" dt="2021-11-27T12:00:14.428" v="205" actId="47"/>
        <pc:sldMkLst>
          <pc:docMk/>
          <pc:sldMk cId="941299666" sldId="553"/>
        </pc:sldMkLst>
      </pc:sldChg>
      <pc:sldChg chg="del">
        <pc:chgData name="Thomas Stensitzki" userId="75cafe6b-2f2a-469b-85c4-eec3b9c972ba" providerId="ADAL" clId="{84A5A1CF-D4D8-4DEE-82E8-21007BEBD9EB}" dt="2021-11-27T12:00:14.428" v="205" actId="47"/>
        <pc:sldMkLst>
          <pc:docMk/>
          <pc:sldMk cId="2071923169" sldId="554"/>
        </pc:sldMkLst>
      </pc:sldChg>
      <pc:sldChg chg="del">
        <pc:chgData name="Thomas Stensitzki" userId="75cafe6b-2f2a-469b-85c4-eec3b9c972ba" providerId="ADAL" clId="{84A5A1CF-D4D8-4DEE-82E8-21007BEBD9EB}" dt="2021-11-27T12:00:14.428" v="205" actId="47"/>
        <pc:sldMkLst>
          <pc:docMk/>
          <pc:sldMk cId="1201850461" sldId="555"/>
        </pc:sldMkLst>
      </pc:sldChg>
      <pc:sldChg chg="del">
        <pc:chgData name="Thomas Stensitzki" userId="75cafe6b-2f2a-469b-85c4-eec3b9c972ba" providerId="ADAL" clId="{84A5A1CF-D4D8-4DEE-82E8-21007BEBD9EB}" dt="2021-11-27T12:00:14.428" v="205" actId="47"/>
        <pc:sldMkLst>
          <pc:docMk/>
          <pc:sldMk cId="1634876817" sldId="556"/>
        </pc:sldMkLst>
      </pc:sldChg>
      <pc:sldChg chg="del">
        <pc:chgData name="Thomas Stensitzki" userId="75cafe6b-2f2a-469b-85c4-eec3b9c972ba" providerId="ADAL" clId="{84A5A1CF-D4D8-4DEE-82E8-21007BEBD9EB}" dt="2021-11-27T12:00:14.428" v="205" actId="47"/>
        <pc:sldMkLst>
          <pc:docMk/>
          <pc:sldMk cId="1953218065" sldId="557"/>
        </pc:sldMkLst>
      </pc:sldChg>
      <pc:sldChg chg="del">
        <pc:chgData name="Thomas Stensitzki" userId="75cafe6b-2f2a-469b-85c4-eec3b9c972ba" providerId="ADAL" clId="{84A5A1CF-D4D8-4DEE-82E8-21007BEBD9EB}" dt="2021-11-27T12:00:14.428" v="205" actId="47"/>
        <pc:sldMkLst>
          <pc:docMk/>
          <pc:sldMk cId="4180666764" sldId="558"/>
        </pc:sldMkLst>
      </pc:sldChg>
      <pc:sldChg chg="del">
        <pc:chgData name="Thomas Stensitzki" userId="75cafe6b-2f2a-469b-85c4-eec3b9c972ba" providerId="ADAL" clId="{84A5A1CF-D4D8-4DEE-82E8-21007BEBD9EB}" dt="2021-11-27T12:00:14.428" v="205" actId="47"/>
        <pc:sldMkLst>
          <pc:docMk/>
          <pc:sldMk cId="3051092088" sldId="559"/>
        </pc:sldMkLst>
      </pc:sldChg>
      <pc:sldChg chg="modTransition">
        <pc:chgData name="Thomas Stensitzki" userId="75cafe6b-2f2a-469b-85c4-eec3b9c972ba" providerId="ADAL" clId="{84A5A1CF-D4D8-4DEE-82E8-21007BEBD9EB}" dt="2021-11-27T14:22:00.443" v="2304"/>
        <pc:sldMkLst>
          <pc:docMk/>
          <pc:sldMk cId="2791634409" sldId="560"/>
        </pc:sldMkLst>
      </pc:sldChg>
      <pc:sldChg chg="modSp mod modTransition">
        <pc:chgData name="Thomas Stensitzki" userId="75cafe6b-2f2a-469b-85c4-eec3b9c972ba" providerId="ADAL" clId="{84A5A1CF-D4D8-4DEE-82E8-21007BEBD9EB}" dt="2021-12-02T16:26:37.639" v="2824" actId="20577"/>
        <pc:sldMkLst>
          <pc:docMk/>
          <pc:sldMk cId="1728515471" sldId="561"/>
        </pc:sldMkLst>
        <pc:graphicFrameChg chg="modGraphic">
          <ac:chgData name="Thomas Stensitzki" userId="75cafe6b-2f2a-469b-85c4-eec3b9c972ba" providerId="ADAL" clId="{84A5A1CF-D4D8-4DEE-82E8-21007BEBD9EB}" dt="2021-12-02T16:26:37.639" v="2824" actId="20577"/>
          <ac:graphicFrameMkLst>
            <pc:docMk/>
            <pc:sldMk cId="1728515471" sldId="561"/>
            <ac:graphicFrameMk id="4" creationId="{55EDB790-67BC-42E5-B64A-5647620B8383}"/>
          </ac:graphicFrameMkLst>
        </pc:graphicFrameChg>
      </pc:sldChg>
      <pc:sldChg chg="modSp new mod ord modTransition">
        <pc:chgData name="Thomas Stensitzki" userId="75cafe6b-2f2a-469b-85c4-eec3b9c972ba" providerId="ADAL" clId="{84A5A1CF-D4D8-4DEE-82E8-21007BEBD9EB}" dt="2021-11-27T14:22:00.443" v="2304"/>
        <pc:sldMkLst>
          <pc:docMk/>
          <pc:sldMk cId="897532384" sldId="562"/>
        </pc:sldMkLst>
        <pc:spChg chg="mod">
          <ac:chgData name="Thomas Stensitzki" userId="75cafe6b-2f2a-469b-85c4-eec3b9c972ba" providerId="ADAL" clId="{84A5A1CF-D4D8-4DEE-82E8-21007BEBD9EB}" dt="2021-11-27T12:30:47.989" v="212"/>
          <ac:spMkLst>
            <pc:docMk/>
            <pc:sldMk cId="897532384" sldId="562"/>
            <ac:spMk id="2" creationId="{B9384983-4DF6-4A09-B757-2DBD331A8DEC}"/>
          </ac:spMkLst>
        </pc:spChg>
        <pc:spChg chg="mod">
          <ac:chgData name="Thomas Stensitzki" userId="75cafe6b-2f2a-469b-85c4-eec3b9c972ba" providerId="ADAL" clId="{84A5A1CF-D4D8-4DEE-82E8-21007BEBD9EB}" dt="2021-11-27T12:33:15.558" v="244" actId="113"/>
          <ac:spMkLst>
            <pc:docMk/>
            <pc:sldMk cId="897532384" sldId="562"/>
            <ac:spMk id="3" creationId="{5E82B50B-288A-44A6-9AC2-EE4197BFDE54}"/>
          </ac:spMkLst>
        </pc:spChg>
      </pc:sldChg>
      <pc:sldChg chg="addSp delSp modSp new mod ord modTransition">
        <pc:chgData name="Thomas Stensitzki" userId="75cafe6b-2f2a-469b-85c4-eec3b9c972ba" providerId="ADAL" clId="{84A5A1CF-D4D8-4DEE-82E8-21007BEBD9EB}" dt="2021-11-27T14:22:00.443" v="2304"/>
        <pc:sldMkLst>
          <pc:docMk/>
          <pc:sldMk cId="2102933315" sldId="563"/>
        </pc:sldMkLst>
        <pc:spChg chg="mod">
          <ac:chgData name="Thomas Stensitzki" userId="75cafe6b-2f2a-469b-85c4-eec3b9c972ba" providerId="ADAL" clId="{84A5A1CF-D4D8-4DEE-82E8-21007BEBD9EB}" dt="2021-11-27T12:34:28.361" v="246"/>
          <ac:spMkLst>
            <pc:docMk/>
            <pc:sldMk cId="2102933315" sldId="563"/>
            <ac:spMk id="2" creationId="{749A14BF-8BA4-4101-95CA-9F334BB75553}"/>
          </ac:spMkLst>
        </pc:spChg>
        <pc:spChg chg="del">
          <ac:chgData name="Thomas Stensitzki" userId="75cafe6b-2f2a-469b-85c4-eec3b9c972ba" providerId="ADAL" clId="{84A5A1CF-D4D8-4DEE-82E8-21007BEBD9EB}" dt="2021-11-27T12:35:39.160" v="247" actId="478"/>
          <ac:spMkLst>
            <pc:docMk/>
            <pc:sldMk cId="2102933315" sldId="563"/>
            <ac:spMk id="3" creationId="{6A74F9E0-6240-4984-BD06-5A913609FCE1}"/>
          </ac:spMkLst>
        </pc:spChg>
        <pc:picChg chg="add mod">
          <ac:chgData name="Thomas Stensitzki" userId="75cafe6b-2f2a-469b-85c4-eec3b9c972ba" providerId="ADAL" clId="{84A5A1CF-D4D8-4DEE-82E8-21007BEBD9EB}" dt="2021-11-27T12:35:55.538" v="251" actId="1440"/>
          <ac:picMkLst>
            <pc:docMk/>
            <pc:sldMk cId="2102933315" sldId="563"/>
            <ac:picMk id="5" creationId="{A68F87C8-9FE2-408A-BF02-EA030B35165A}"/>
          </ac:picMkLst>
        </pc:picChg>
      </pc:sldChg>
      <pc:sldChg chg="addSp delSp modSp new mod ord modTransition">
        <pc:chgData name="Thomas Stensitzki" userId="75cafe6b-2f2a-469b-85c4-eec3b9c972ba" providerId="ADAL" clId="{84A5A1CF-D4D8-4DEE-82E8-21007BEBD9EB}" dt="2021-11-27T14:22:00.443" v="2304"/>
        <pc:sldMkLst>
          <pc:docMk/>
          <pc:sldMk cId="2675026296" sldId="564"/>
        </pc:sldMkLst>
        <pc:spChg chg="mod">
          <ac:chgData name="Thomas Stensitzki" userId="75cafe6b-2f2a-469b-85c4-eec3b9c972ba" providerId="ADAL" clId="{84A5A1CF-D4D8-4DEE-82E8-21007BEBD9EB}" dt="2021-11-27T12:37:50.304" v="265" actId="1076"/>
          <ac:spMkLst>
            <pc:docMk/>
            <pc:sldMk cId="2675026296" sldId="564"/>
            <ac:spMk id="2" creationId="{6894DBB3-E0CF-4EE8-A621-167E57CE7B06}"/>
          </ac:spMkLst>
        </pc:spChg>
        <pc:spChg chg="del">
          <ac:chgData name="Thomas Stensitzki" userId="75cafe6b-2f2a-469b-85c4-eec3b9c972ba" providerId="ADAL" clId="{84A5A1CF-D4D8-4DEE-82E8-21007BEBD9EB}" dt="2021-11-27T12:37:21.819" v="259" actId="478"/>
          <ac:spMkLst>
            <pc:docMk/>
            <pc:sldMk cId="2675026296" sldId="564"/>
            <ac:spMk id="3" creationId="{B4A61D97-79E4-40D7-9E37-F1684755E894}"/>
          </ac:spMkLst>
        </pc:spChg>
        <pc:picChg chg="add mod">
          <ac:chgData name="Thomas Stensitzki" userId="75cafe6b-2f2a-469b-85c4-eec3b9c972ba" providerId="ADAL" clId="{84A5A1CF-D4D8-4DEE-82E8-21007BEBD9EB}" dt="2021-11-27T12:39:18.392" v="279" actId="1076"/>
          <ac:picMkLst>
            <pc:docMk/>
            <pc:sldMk cId="2675026296" sldId="564"/>
            <ac:picMk id="1026" creationId="{C19B7B81-97C0-485B-AB93-5AD9968F0B8D}"/>
          </ac:picMkLst>
        </pc:picChg>
        <pc:picChg chg="add del mod">
          <ac:chgData name="Thomas Stensitzki" userId="75cafe6b-2f2a-469b-85c4-eec3b9c972ba" providerId="ADAL" clId="{84A5A1CF-D4D8-4DEE-82E8-21007BEBD9EB}" dt="2021-11-27T12:38:52.491" v="273" actId="478"/>
          <ac:picMkLst>
            <pc:docMk/>
            <pc:sldMk cId="2675026296" sldId="564"/>
            <ac:picMk id="1028" creationId="{21C8DDE4-9892-4712-B01C-CC83F24BDE85}"/>
          </ac:picMkLst>
        </pc:picChg>
      </pc:sldChg>
      <pc:sldChg chg="addSp delSp modSp add ord modTransition">
        <pc:chgData name="Thomas Stensitzki" userId="75cafe6b-2f2a-469b-85c4-eec3b9c972ba" providerId="ADAL" clId="{84A5A1CF-D4D8-4DEE-82E8-21007BEBD9EB}" dt="2021-11-27T14:22:00.443" v="2304"/>
        <pc:sldMkLst>
          <pc:docMk/>
          <pc:sldMk cId="3751554083" sldId="565"/>
        </pc:sldMkLst>
        <pc:picChg chg="add del mod">
          <ac:chgData name="Thomas Stensitzki" userId="75cafe6b-2f2a-469b-85c4-eec3b9c972ba" providerId="ADAL" clId="{84A5A1CF-D4D8-4DEE-82E8-21007BEBD9EB}" dt="2021-11-27T12:39:33.531" v="283"/>
          <ac:picMkLst>
            <pc:docMk/>
            <pc:sldMk cId="3751554083" sldId="565"/>
            <ac:picMk id="5" creationId="{BF5C1B38-37EE-49E6-8EB0-40C18F276FC4}"/>
          </ac:picMkLst>
        </pc:picChg>
        <pc:picChg chg="del">
          <ac:chgData name="Thomas Stensitzki" userId="75cafe6b-2f2a-469b-85c4-eec3b9c972ba" providerId="ADAL" clId="{84A5A1CF-D4D8-4DEE-82E8-21007BEBD9EB}" dt="2021-11-27T12:39:08.086" v="277" actId="478"/>
          <ac:picMkLst>
            <pc:docMk/>
            <pc:sldMk cId="3751554083" sldId="565"/>
            <ac:picMk id="1026" creationId="{C19B7B81-97C0-485B-AB93-5AD9968F0B8D}"/>
          </ac:picMkLst>
        </pc:picChg>
        <pc:picChg chg="mod">
          <ac:chgData name="Thomas Stensitzki" userId="75cafe6b-2f2a-469b-85c4-eec3b9c972ba" providerId="ADAL" clId="{84A5A1CF-D4D8-4DEE-82E8-21007BEBD9EB}" dt="2021-11-27T12:39:26.588" v="281" actId="1440"/>
          <ac:picMkLst>
            <pc:docMk/>
            <pc:sldMk cId="3751554083" sldId="565"/>
            <ac:picMk id="1028" creationId="{21C8DDE4-9892-4712-B01C-CC83F24BDE85}"/>
          </ac:picMkLst>
        </pc:picChg>
      </pc:sldChg>
      <pc:sldChg chg="addSp delSp modSp add mod ord modTransition">
        <pc:chgData name="Thomas Stensitzki" userId="75cafe6b-2f2a-469b-85c4-eec3b9c972ba" providerId="ADAL" clId="{84A5A1CF-D4D8-4DEE-82E8-21007BEBD9EB}" dt="2021-11-27T14:22:00.443" v="2304"/>
        <pc:sldMkLst>
          <pc:docMk/>
          <pc:sldMk cId="3413303963" sldId="566"/>
        </pc:sldMkLst>
        <pc:spChg chg="add mod">
          <ac:chgData name="Thomas Stensitzki" userId="75cafe6b-2f2a-469b-85c4-eec3b9c972ba" providerId="ADAL" clId="{84A5A1CF-D4D8-4DEE-82E8-21007BEBD9EB}" dt="2021-11-27T12:52:32.858" v="526" actId="113"/>
          <ac:spMkLst>
            <pc:docMk/>
            <pc:sldMk cId="3413303963" sldId="566"/>
            <ac:spMk id="3" creationId="{F6637E9C-07CF-46F5-B8BA-8BD6C6DD390A}"/>
          </ac:spMkLst>
        </pc:spChg>
        <pc:picChg chg="del">
          <ac:chgData name="Thomas Stensitzki" userId="75cafe6b-2f2a-469b-85c4-eec3b9c972ba" providerId="ADAL" clId="{84A5A1CF-D4D8-4DEE-82E8-21007BEBD9EB}" dt="2021-11-27T12:40:01.213" v="292" actId="478"/>
          <ac:picMkLst>
            <pc:docMk/>
            <pc:sldMk cId="3413303963" sldId="566"/>
            <ac:picMk id="1028" creationId="{21C8DDE4-9892-4712-B01C-CC83F24BDE85}"/>
          </ac:picMkLst>
        </pc:picChg>
        <pc:picChg chg="add mod">
          <ac:chgData name="Thomas Stensitzki" userId="75cafe6b-2f2a-469b-85c4-eec3b9c972ba" providerId="ADAL" clId="{84A5A1CF-D4D8-4DEE-82E8-21007BEBD9EB}" dt="2021-11-27T12:40:07.774" v="293" actId="1440"/>
          <ac:picMkLst>
            <pc:docMk/>
            <pc:sldMk cId="3413303963" sldId="566"/>
            <ac:picMk id="2050" creationId="{D44C025D-3636-4E33-8799-71326FAB6D2F}"/>
          </ac:picMkLst>
        </pc:picChg>
      </pc:sldChg>
      <pc:sldChg chg="modSp new mod modTransition modNotesTx">
        <pc:chgData name="Thomas Stensitzki" userId="75cafe6b-2f2a-469b-85c4-eec3b9c972ba" providerId="ADAL" clId="{84A5A1CF-D4D8-4DEE-82E8-21007BEBD9EB}" dt="2021-11-27T14:22:00.443" v="2304"/>
        <pc:sldMkLst>
          <pc:docMk/>
          <pc:sldMk cId="4104137776" sldId="567"/>
        </pc:sldMkLst>
        <pc:spChg chg="mod">
          <ac:chgData name="Thomas Stensitzki" userId="75cafe6b-2f2a-469b-85c4-eec3b9c972ba" providerId="ADAL" clId="{84A5A1CF-D4D8-4DEE-82E8-21007BEBD9EB}" dt="2021-11-27T12:44:11.212" v="357"/>
          <ac:spMkLst>
            <pc:docMk/>
            <pc:sldMk cId="4104137776" sldId="567"/>
            <ac:spMk id="2" creationId="{EC46AD28-746E-4246-884F-4DAE24C62042}"/>
          </ac:spMkLst>
        </pc:spChg>
        <pc:spChg chg="mod">
          <ac:chgData name="Thomas Stensitzki" userId="75cafe6b-2f2a-469b-85c4-eec3b9c972ba" providerId="ADAL" clId="{84A5A1CF-D4D8-4DEE-82E8-21007BEBD9EB}" dt="2021-11-27T12:46:10.281" v="453" actId="6549"/>
          <ac:spMkLst>
            <pc:docMk/>
            <pc:sldMk cId="4104137776" sldId="567"/>
            <ac:spMk id="3" creationId="{4B4B1B02-433C-4551-A25C-9193BE90D3D9}"/>
          </ac:spMkLst>
        </pc:spChg>
      </pc:sldChg>
      <pc:sldChg chg="addSp modSp new mod modTransition">
        <pc:chgData name="Thomas Stensitzki" userId="75cafe6b-2f2a-469b-85c4-eec3b9c972ba" providerId="ADAL" clId="{84A5A1CF-D4D8-4DEE-82E8-21007BEBD9EB}" dt="2021-11-27T14:22:00.443" v="2304"/>
        <pc:sldMkLst>
          <pc:docMk/>
          <pc:sldMk cId="2906341100" sldId="568"/>
        </pc:sldMkLst>
        <pc:spChg chg="mod">
          <ac:chgData name="Thomas Stensitzki" userId="75cafe6b-2f2a-469b-85c4-eec3b9c972ba" providerId="ADAL" clId="{84A5A1CF-D4D8-4DEE-82E8-21007BEBD9EB}" dt="2021-11-27T12:46:57.032" v="457"/>
          <ac:spMkLst>
            <pc:docMk/>
            <pc:sldMk cId="2906341100" sldId="568"/>
            <ac:spMk id="2" creationId="{213EDA42-9E99-426D-A9D3-11B033786D89}"/>
          </ac:spMkLst>
        </pc:spChg>
        <pc:spChg chg="mod">
          <ac:chgData name="Thomas Stensitzki" userId="75cafe6b-2f2a-469b-85c4-eec3b9c972ba" providerId="ADAL" clId="{84A5A1CF-D4D8-4DEE-82E8-21007BEBD9EB}" dt="2021-11-27T12:48:59.009" v="474" actId="20577"/>
          <ac:spMkLst>
            <pc:docMk/>
            <pc:sldMk cId="2906341100" sldId="568"/>
            <ac:spMk id="3" creationId="{094B73E2-A551-418E-A4BA-2ECB4EFA713E}"/>
          </ac:spMkLst>
        </pc:spChg>
        <pc:picChg chg="add mod">
          <ac:chgData name="Thomas Stensitzki" userId="75cafe6b-2f2a-469b-85c4-eec3b9c972ba" providerId="ADAL" clId="{84A5A1CF-D4D8-4DEE-82E8-21007BEBD9EB}" dt="2021-11-27T12:48:34.178" v="471" actId="1076"/>
          <ac:picMkLst>
            <pc:docMk/>
            <pc:sldMk cId="2906341100" sldId="568"/>
            <ac:picMk id="4098" creationId="{71F0A4FF-3761-4119-A138-E7851CF4ABF5}"/>
          </ac:picMkLst>
        </pc:picChg>
        <pc:picChg chg="add mod">
          <ac:chgData name="Thomas Stensitzki" userId="75cafe6b-2f2a-469b-85c4-eec3b9c972ba" providerId="ADAL" clId="{84A5A1CF-D4D8-4DEE-82E8-21007BEBD9EB}" dt="2021-11-27T12:48:38.379" v="472" actId="1440"/>
          <ac:picMkLst>
            <pc:docMk/>
            <pc:sldMk cId="2906341100" sldId="568"/>
            <ac:picMk id="4100" creationId="{AEF59BB8-3804-464D-864E-6AC392EDAB61}"/>
          </ac:picMkLst>
        </pc:picChg>
      </pc:sldChg>
      <pc:sldChg chg="addSp delSp modSp new mod modTransition">
        <pc:chgData name="Thomas Stensitzki" userId="75cafe6b-2f2a-469b-85c4-eec3b9c972ba" providerId="ADAL" clId="{84A5A1CF-D4D8-4DEE-82E8-21007BEBD9EB}" dt="2021-11-27T14:22:00.443" v="2304"/>
        <pc:sldMkLst>
          <pc:docMk/>
          <pc:sldMk cId="3640343721" sldId="569"/>
        </pc:sldMkLst>
        <pc:spChg chg="mod">
          <ac:chgData name="Thomas Stensitzki" userId="75cafe6b-2f2a-469b-85c4-eec3b9c972ba" providerId="ADAL" clId="{84A5A1CF-D4D8-4DEE-82E8-21007BEBD9EB}" dt="2021-11-27T12:50:46.154" v="484" actId="20577"/>
          <ac:spMkLst>
            <pc:docMk/>
            <pc:sldMk cId="3640343721" sldId="569"/>
            <ac:spMk id="2" creationId="{077AA5A5-DF68-41E8-8F8D-92196D7B40ED}"/>
          </ac:spMkLst>
        </pc:spChg>
        <pc:spChg chg="del">
          <ac:chgData name="Thomas Stensitzki" userId="75cafe6b-2f2a-469b-85c4-eec3b9c972ba" providerId="ADAL" clId="{84A5A1CF-D4D8-4DEE-82E8-21007BEBD9EB}" dt="2021-11-27T12:50:54.617" v="485" actId="478"/>
          <ac:spMkLst>
            <pc:docMk/>
            <pc:sldMk cId="3640343721" sldId="569"/>
            <ac:spMk id="3" creationId="{FB59501C-46E8-4FDC-A36A-091E660B1782}"/>
          </ac:spMkLst>
        </pc:spChg>
        <pc:spChg chg="add mod">
          <ac:chgData name="Thomas Stensitzki" userId="75cafe6b-2f2a-469b-85c4-eec3b9c972ba" providerId="ADAL" clId="{84A5A1CF-D4D8-4DEE-82E8-21007BEBD9EB}" dt="2021-11-27T12:52:10.018" v="525" actId="113"/>
          <ac:spMkLst>
            <pc:docMk/>
            <pc:sldMk cId="3640343721" sldId="569"/>
            <ac:spMk id="7" creationId="{40BDCE98-5D01-471F-8B84-ACD046237E26}"/>
          </ac:spMkLst>
        </pc:spChg>
        <pc:picChg chg="add mod">
          <ac:chgData name="Thomas Stensitzki" userId="75cafe6b-2f2a-469b-85c4-eec3b9c972ba" providerId="ADAL" clId="{84A5A1CF-D4D8-4DEE-82E8-21007BEBD9EB}" dt="2021-11-27T12:51:04.945" v="488" actId="1076"/>
          <ac:picMkLst>
            <pc:docMk/>
            <pc:sldMk cId="3640343721" sldId="569"/>
            <ac:picMk id="5122" creationId="{BBACD33E-D0F0-4797-9E16-003214C3CE82}"/>
          </ac:picMkLst>
        </pc:picChg>
        <pc:cxnChg chg="add mod">
          <ac:chgData name="Thomas Stensitzki" userId="75cafe6b-2f2a-469b-85c4-eec3b9c972ba" providerId="ADAL" clId="{84A5A1CF-D4D8-4DEE-82E8-21007BEBD9EB}" dt="2021-11-27T12:51:24.336" v="491" actId="1582"/>
          <ac:cxnSpMkLst>
            <pc:docMk/>
            <pc:sldMk cId="3640343721" sldId="569"/>
            <ac:cxnSpMk id="5" creationId="{65597AF5-6F28-40B8-9958-113C8DF28DB4}"/>
          </ac:cxnSpMkLst>
        </pc:cxnChg>
      </pc:sldChg>
      <pc:sldChg chg="addSp delSp modSp new mod modTransition">
        <pc:chgData name="Thomas Stensitzki" userId="75cafe6b-2f2a-469b-85c4-eec3b9c972ba" providerId="ADAL" clId="{84A5A1CF-D4D8-4DEE-82E8-21007BEBD9EB}" dt="2021-11-27T14:22:00.443" v="2304"/>
        <pc:sldMkLst>
          <pc:docMk/>
          <pc:sldMk cId="1487249929" sldId="570"/>
        </pc:sldMkLst>
        <pc:spChg chg="mod">
          <ac:chgData name="Thomas Stensitzki" userId="75cafe6b-2f2a-469b-85c4-eec3b9c972ba" providerId="ADAL" clId="{84A5A1CF-D4D8-4DEE-82E8-21007BEBD9EB}" dt="2021-11-27T12:54:30.953" v="570"/>
          <ac:spMkLst>
            <pc:docMk/>
            <pc:sldMk cId="1487249929" sldId="570"/>
            <ac:spMk id="2" creationId="{2B5644A9-E384-47CB-8AF9-D66B20F16926}"/>
          </ac:spMkLst>
        </pc:spChg>
        <pc:spChg chg="del">
          <ac:chgData name="Thomas Stensitzki" userId="75cafe6b-2f2a-469b-85c4-eec3b9c972ba" providerId="ADAL" clId="{84A5A1CF-D4D8-4DEE-82E8-21007BEBD9EB}" dt="2021-11-27T12:54:33.666" v="571" actId="478"/>
          <ac:spMkLst>
            <pc:docMk/>
            <pc:sldMk cId="1487249929" sldId="570"/>
            <ac:spMk id="3" creationId="{3F74D62A-2892-4EEB-9535-65970DDE4C9A}"/>
          </ac:spMkLst>
        </pc:spChg>
        <pc:spChg chg="add mod">
          <ac:chgData name="Thomas Stensitzki" userId="75cafe6b-2f2a-469b-85c4-eec3b9c972ba" providerId="ADAL" clId="{84A5A1CF-D4D8-4DEE-82E8-21007BEBD9EB}" dt="2021-11-27T12:55:17.245" v="579"/>
          <ac:spMkLst>
            <pc:docMk/>
            <pc:sldMk cId="1487249929" sldId="570"/>
            <ac:spMk id="6" creationId="{67408528-496B-4A8C-923D-BBCF0BF450CD}"/>
          </ac:spMkLst>
        </pc:spChg>
        <pc:picChg chg="add mod">
          <ac:chgData name="Thomas Stensitzki" userId="75cafe6b-2f2a-469b-85c4-eec3b9c972ba" providerId="ADAL" clId="{84A5A1CF-D4D8-4DEE-82E8-21007BEBD9EB}" dt="2021-11-27T12:54:53.184" v="574" actId="1076"/>
          <ac:picMkLst>
            <pc:docMk/>
            <pc:sldMk cId="1487249929" sldId="570"/>
            <ac:picMk id="6146" creationId="{6D39E317-C8A4-4105-9304-C618D6BF7D51}"/>
          </ac:picMkLst>
        </pc:picChg>
        <pc:cxnChg chg="add del mod">
          <ac:chgData name="Thomas Stensitzki" userId="75cafe6b-2f2a-469b-85c4-eec3b9c972ba" providerId="ADAL" clId="{84A5A1CF-D4D8-4DEE-82E8-21007BEBD9EB}" dt="2021-11-27T12:55:12.032" v="578" actId="478"/>
          <ac:cxnSpMkLst>
            <pc:docMk/>
            <pc:sldMk cId="1487249929" sldId="570"/>
            <ac:cxnSpMk id="5" creationId="{C2BE2268-1F13-4EA2-8125-79393F30B47C}"/>
          </ac:cxnSpMkLst>
        </pc:cxnChg>
      </pc:sldChg>
      <pc:sldChg chg="addSp delSp modSp new mod modTransition">
        <pc:chgData name="Thomas Stensitzki" userId="75cafe6b-2f2a-469b-85c4-eec3b9c972ba" providerId="ADAL" clId="{84A5A1CF-D4D8-4DEE-82E8-21007BEBD9EB}" dt="2021-11-27T14:22:00.443" v="2304"/>
        <pc:sldMkLst>
          <pc:docMk/>
          <pc:sldMk cId="3439814073" sldId="571"/>
        </pc:sldMkLst>
        <pc:spChg chg="mod">
          <ac:chgData name="Thomas Stensitzki" userId="75cafe6b-2f2a-469b-85c4-eec3b9c972ba" providerId="ADAL" clId="{84A5A1CF-D4D8-4DEE-82E8-21007BEBD9EB}" dt="2021-11-27T12:56:03.419" v="583"/>
          <ac:spMkLst>
            <pc:docMk/>
            <pc:sldMk cId="3439814073" sldId="571"/>
            <ac:spMk id="2" creationId="{D8507FEC-74F7-4C21-8EF9-BA9209F32E2B}"/>
          </ac:spMkLst>
        </pc:spChg>
        <pc:spChg chg="mod">
          <ac:chgData name="Thomas Stensitzki" userId="75cafe6b-2f2a-469b-85c4-eec3b9c972ba" providerId="ADAL" clId="{84A5A1CF-D4D8-4DEE-82E8-21007BEBD9EB}" dt="2021-11-27T13:04:48.915" v="704" actId="20577"/>
          <ac:spMkLst>
            <pc:docMk/>
            <pc:sldMk cId="3439814073" sldId="571"/>
            <ac:spMk id="3" creationId="{6EB7B5E6-89A9-4BAC-8504-02BC60651AFA}"/>
          </ac:spMkLst>
        </pc:spChg>
        <pc:spChg chg="add del">
          <ac:chgData name="Thomas Stensitzki" userId="75cafe6b-2f2a-469b-85c4-eec3b9c972ba" providerId="ADAL" clId="{84A5A1CF-D4D8-4DEE-82E8-21007BEBD9EB}" dt="2021-11-27T13:12:08.846" v="733" actId="22"/>
          <ac:spMkLst>
            <pc:docMk/>
            <pc:sldMk cId="3439814073" sldId="571"/>
            <ac:spMk id="5" creationId="{A8A57D1A-AFEB-4F1F-B48D-A517BC4FD13C}"/>
          </ac:spMkLst>
        </pc:spChg>
      </pc:sldChg>
      <pc:sldChg chg="modSp new mod modTransition">
        <pc:chgData name="Thomas Stensitzki" userId="75cafe6b-2f2a-469b-85c4-eec3b9c972ba" providerId="ADAL" clId="{84A5A1CF-D4D8-4DEE-82E8-21007BEBD9EB}" dt="2021-11-27T14:22:00.443" v="2304"/>
        <pc:sldMkLst>
          <pc:docMk/>
          <pc:sldMk cId="3856037473" sldId="572"/>
        </pc:sldMkLst>
        <pc:spChg chg="mod">
          <ac:chgData name="Thomas Stensitzki" userId="75cafe6b-2f2a-469b-85c4-eec3b9c972ba" providerId="ADAL" clId="{84A5A1CF-D4D8-4DEE-82E8-21007BEBD9EB}" dt="2021-11-27T13:12:15.838" v="735"/>
          <ac:spMkLst>
            <pc:docMk/>
            <pc:sldMk cId="3856037473" sldId="572"/>
            <ac:spMk id="2" creationId="{495323C2-BD50-45AA-B122-4559F104D245}"/>
          </ac:spMkLst>
        </pc:spChg>
        <pc:spChg chg="mod">
          <ac:chgData name="Thomas Stensitzki" userId="75cafe6b-2f2a-469b-85c4-eec3b9c972ba" providerId="ADAL" clId="{84A5A1CF-D4D8-4DEE-82E8-21007BEBD9EB}" dt="2021-11-27T13:12:50.635" v="784" actId="20577"/>
          <ac:spMkLst>
            <pc:docMk/>
            <pc:sldMk cId="3856037473" sldId="572"/>
            <ac:spMk id="3" creationId="{17DF15F4-B4D1-4236-A83C-34FFD863A5BF}"/>
          </ac:spMkLst>
        </pc:spChg>
      </pc:sldChg>
      <pc:sldChg chg="modSp add mod ord modTransition">
        <pc:chgData name="Thomas Stensitzki" userId="75cafe6b-2f2a-469b-85c4-eec3b9c972ba" providerId="ADAL" clId="{84A5A1CF-D4D8-4DEE-82E8-21007BEBD9EB}" dt="2021-12-02T10:39:38.576" v="2664"/>
        <pc:sldMkLst>
          <pc:docMk/>
          <pc:sldMk cId="438806011" sldId="573"/>
        </pc:sldMkLst>
        <pc:spChg chg="mod">
          <ac:chgData name="Thomas Stensitzki" userId="75cafe6b-2f2a-469b-85c4-eec3b9c972ba" providerId="ADAL" clId="{84A5A1CF-D4D8-4DEE-82E8-21007BEBD9EB}" dt="2021-11-27T14:18:21.321" v="1991" actId="1035"/>
          <ac:spMkLst>
            <pc:docMk/>
            <pc:sldMk cId="438806011" sldId="573"/>
            <ac:spMk id="2" creationId="{909DC09D-B9A6-4493-9A72-1CA7ECB1F5CA}"/>
          </ac:spMkLst>
        </pc:spChg>
        <pc:spChg chg="mod">
          <ac:chgData name="Thomas Stensitzki" userId="75cafe6b-2f2a-469b-85c4-eec3b9c972ba" providerId="ADAL" clId="{84A5A1CF-D4D8-4DEE-82E8-21007BEBD9EB}" dt="2021-11-27T14:18:39.369" v="2028" actId="20577"/>
          <ac:spMkLst>
            <pc:docMk/>
            <pc:sldMk cId="438806011" sldId="573"/>
            <ac:spMk id="5" creationId="{C24DACB5-1BEC-4C86-9652-BAFD8DE56FEF}"/>
          </ac:spMkLst>
        </pc:spChg>
      </pc:sldChg>
      <pc:sldChg chg="addSp delSp modSp new mod modTransition modClrScheme chgLayout modNotesTx">
        <pc:chgData name="Thomas Stensitzki" userId="75cafe6b-2f2a-469b-85c4-eec3b9c972ba" providerId="ADAL" clId="{84A5A1CF-D4D8-4DEE-82E8-21007BEBD9EB}" dt="2021-11-27T14:22:00.443" v="2304"/>
        <pc:sldMkLst>
          <pc:docMk/>
          <pc:sldMk cId="1351629711" sldId="574"/>
        </pc:sldMkLst>
        <pc:spChg chg="mod ord">
          <ac:chgData name="Thomas Stensitzki" userId="75cafe6b-2f2a-469b-85c4-eec3b9c972ba" providerId="ADAL" clId="{84A5A1CF-D4D8-4DEE-82E8-21007BEBD9EB}" dt="2021-11-27T14:18:45.624" v="2030" actId="6549"/>
          <ac:spMkLst>
            <pc:docMk/>
            <pc:sldMk cId="1351629711" sldId="574"/>
            <ac:spMk id="2" creationId="{9728212F-1072-4BCA-A490-AD558DB23268}"/>
          </ac:spMkLst>
        </pc:spChg>
        <pc:spChg chg="mod ord">
          <ac:chgData name="Thomas Stensitzki" userId="75cafe6b-2f2a-469b-85c4-eec3b9c972ba" providerId="ADAL" clId="{84A5A1CF-D4D8-4DEE-82E8-21007BEBD9EB}" dt="2021-11-27T13:21:21.382" v="848" actId="113"/>
          <ac:spMkLst>
            <pc:docMk/>
            <pc:sldMk cId="1351629711" sldId="574"/>
            <ac:spMk id="3" creationId="{31CBEFE0-747F-4833-810D-9695474D8F6A}"/>
          </ac:spMkLst>
        </pc:spChg>
        <pc:spChg chg="add mod ord">
          <ac:chgData name="Thomas Stensitzki" userId="75cafe6b-2f2a-469b-85c4-eec3b9c972ba" providerId="ADAL" clId="{84A5A1CF-D4D8-4DEE-82E8-21007BEBD9EB}" dt="2021-11-27T13:21:08.889" v="844" actId="113"/>
          <ac:spMkLst>
            <pc:docMk/>
            <pc:sldMk cId="1351629711" sldId="574"/>
            <ac:spMk id="4" creationId="{14C59B38-01E9-4E02-8E06-6EF4B07F8B36}"/>
          </ac:spMkLst>
        </pc:spChg>
        <pc:spChg chg="add del">
          <ac:chgData name="Thomas Stensitzki" userId="75cafe6b-2f2a-469b-85c4-eec3b9c972ba" providerId="ADAL" clId="{84A5A1CF-D4D8-4DEE-82E8-21007BEBD9EB}" dt="2021-11-27T13:21:34.002" v="850" actId="22"/>
          <ac:spMkLst>
            <pc:docMk/>
            <pc:sldMk cId="1351629711" sldId="574"/>
            <ac:spMk id="6" creationId="{676B8897-6B3B-49B9-88E3-4D78885761B2}"/>
          </ac:spMkLst>
        </pc:spChg>
      </pc:sldChg>
      <pc:sldChg chg="addSp delSp modSp add mod modTransition">
        <pc:chgData name="Thomas Stensitzki" userId="75cafe6b-2f2a-469b-85c4-eec3b9c972ba" providerId="ADAL" clId="{84A5A1CF-D4D8-4DEE-82E8-21007BEBD9EB}" dt="2021-11-27T14:22:00.443" v="2304"/>
        <pc:sldMkLst>
          <pc:docMk/>
          <pc:sldMk cId="482620437" sldId="575"/>
        </pc:sldMkLst>
        <pc:spChg chg="mod">
          <ac:chgData name="Thomas Stensitzki" userId="75cafe6b-2f2a-469b-85c4-eec3b9c972ba" providerId="ADAL" clId="{84A5A1CF-D4D8-4DEE-82E8-21007BEBD9EB}" dt="2021-11-27T14:18:49.576" v="2032" actId="6549"/>
          <ac:spMkLst>
            <pc:docMk/>
            <pc:sldMk cId="482620437" sldId="575"/>
            <ac:spMk id="2" creationId="{9728212F-1072-4BCA-A490-AD558DB23268}"/>
          </ac:spMkLst>
        </pc:spChg>
        <pc:spChg chg="del">
          <ac:chgData name="Thomas Stensitzki" userId="75cafe6b-2f2a-469b-85c4-eec3b9c972ba" providerId="ADAL" clId="{84A5A1CF-D4D8-4DEE-82E8-21007BEBD9EB}" dt="2021-11-27T13:18:32.481" v="817" actId="478"/>
          <ac:spMkLst>
            <pc:docMk/>
            <pc:sldMk cId="482620437" sldId="575"/>
            <ac:spMk id="3" creationId="{31CBEFE0-747F-4833-810D-9695474D8F6A}"/>
          </ac:spMkLst>
        </pc:spChg>
        <pc:spChg chg="add mod">
          <ac:chgData name="Thomas Stensitzki" userId="75cafe6b-2f2a-469b-85c4-eec3b9c972ba" providerId="ADAL" clId="{84A5A1CF-D4D8-4DEE-82E8-21007BEBD9EB}" dt="2021-11-27T13:19:28.889" v="827" actId="1037"/>
          <ac:spMkLst>
            <pc:docMk/>
            <pc:sldMk cId="482620437" sldId="575"/>
            <ac:spMk id="6" creationId="{7AA5DF98-D08E-43DA-A799-AFFE73A28AFC}"/>
          </ac:spMkLst>
        </pc:spChg>
        <pc:picChg chg="add mod">
          <ac:chgData name="Thomas Stensitzki" userId="75cafe6b-2f2a-469b-85c4-eec3b9c972ba" providerId="ADAL" clId="{84A5A1CF-D4D8-4DEE-82E8-21007BEBD9EB}" dt="2021-11-27T13:18:50.598" v="821" actId="1076"/>
          <ac:picMkLst>
            <pc:docMk/>
            <pc:sldMk cId="482620437" sldId="575"/>
            <ac:picMk id="5" creationId="{8563BE4A-0E76-4FA7-B48B-5A00AF1C7DC3}"/>
          </ac:picMkLst>
        </pc:picChg>
      </pc:sldChg>
      <pc:sldChg chg="new del">
        <pc:chgData name="Thomas Stensitzki" userId="75cafe6b-2f2a-469b-85c4-eec3b9c972ba" providerId="ADAL" clId="{84A5A1CF-D4D8-4DEE-82E8-21007BEBD9EB}" dt="2021-11-27T13:18:27.046" v="815" actId="680"/>
        <pc:sldMkLst>
          <pc:docMk/>
          <pc:sldMk cId="2257481309" sldId="575"/>
        </pc:sldMkLst>
      </pc:sldChg>
      <pc:sldChg chg="addSp modSp new mod modTransition">
        <pc:chgData name="Thomas Stensitzki" userId="75cafe6b-2f2a-469b-85c4-eec3b9c972ba" providerId="ADAL" clId="{84A5A1CF-D4D8-4DEE-82E8-21007BEBD9EB}" dt="2021-11-27T14:22:00.443" v="2304"/>
        <pc:sldMkLst>
          <pc:docMk/>
          <pc:sldMk cId="1228494520" sldId="576"/>
        </pc:sldMkLst>
        <pc:spChg chg="mod">
          <ac:chgData name="Thomas Stensitzki" userId="75cafe6b-2f2a-469b-85c4-eec3b9c972ba" providerId="ADAL" clId="{84A5A1CF-D4D8-4DEE-82E8-21007BEBD9EB}" dt="2021-11-27T13:23:48.006" v="875"/>
          <ac:spMkLst>
            <pc:docMk/>
            <pc:sldMk cId="1228494520" sldId="576"/>
            <ac:spMk id="2" creationId="{310768EA-3670-4F4A-B34C-3ADC84118FE1}"/>
          </ac:spMkLst>
        </pc:spChg>
        <pc:spChg chg="mod">
          <ac:chgData name="Thomas Stensitzki" userId="75cafe6b-2f2a-469b-85c4-eec3b9c972ba" providerId="ADAL" clId="{84A5A1CF-D4D8-4DEE-82E8-21007BEBD9EB}" dt="2021-11-27T13:25:41.976" v="895" actId="6549"/>
          <ac:spMkLst>
            <pc:docMk/>
            <pc:sldMk cId="1228494520" sldId="576"/>
            <ac:spMk id="3" creationId="{758C448C-20C8-49BE-B7CD-D057B6D738D1}"/>
          </ac:spMkLst>
        </pc:spChg>
        <pc:picChg chg="add mod">
          <ac:chgData name="Thomas Stensitzki" userId="75cafe6b-2f2a-469b-85c4-eec3b9c972ba" providerId="ADAL" clId="{84A5A1CF-D4D8-4DEE-82E8-21007BEBD9EB}" dt="2021-11-27T13:25:50.832" v="896" actId="1076"/>
          <ac:picMkLst>
            <pc:docMk/>
            <pc:sldMk cId="1228494520" sldId="576"/>
            <ac:picMk id="7170" creationId="{6325F552-4266-4858-A080-7D2D25C8AB1E}"/>
          </ac:picMkLst>
        </pc:picChg>
      </pc:sldChg>
      <pc:sldChg chg="modSp new mod modTransition">
        <pc:chgData name="Thomas Stensitzki" userId="75cafe6b-2f2a-469b-85c4-eec3b9c972ba" providerId="ADAL" clId="{84A5A1CF-D4D8-4DEE-82E8-21007BEBD9EB}" dt="2021-11-27T14:22:00.443" v="2304"/>
        <pc:sldMkLst>
          <pc:docMk/>
          <pc:sldMk cId="2011711741" sldId="577"/>
        </pc:sldMkLst>
        <pc:spChg chg="mod">
          <ac:chgData name="Thomas Stensitzki" userId="75cafe6b-2f2a-469b-85c4-eec3b9c972ba" providerId="ADAL" clId="{84A5A1CF-D4D8-4DEE-82E8-21007BEBD9EB}" dt="2021-11-27T13:26:34.194" v="900"/>
          <ac:spMkLst>
            <pc:docMk/>
            <pc:sldMk cId="2011711741" sldId="577"/>
            <ac:spMk id="2" creationId="{3086C23E-9466-415E-8612-4FDDE3484362}"/>
          </ac:spMkLst>
        </pc:spChg>
        <pc:spChg chg="mod">
          <ac:chgData name="Thomas Stensitzki" userId="75cafe6b-2f2a-469b-85c4-eec3b9c972ba" providerId="ADAL" clId="{84A5A1CF-D4D8-4DEE-82E8-21007BEBD9EB}" dt="2021-11-27T13:27:11.888" v="914" actId="20577"/>
          <ac:spMkLst>
            <pc:docMk/>
            <pc:sldMk cId="2011711741" sldId="577"/>
            <ac:spMk id="3" creationId="{064F690B-35B4-4A18-8E96-226650E930C4}"/>
          </ac:spMkLst>
        </pc:spChg>
      </pc:sldChg>
      <pc:sldChg chg="modSp new mod modTransition">
        <pc:chgData name="Thomas Stensitzki" userId="75cafe6b-2f2a-469b-85c4-eec3b9c972ba" providerId="ADAL" clId="{84A5A1CF-D4D8-4DEE-82E8-21007BEBD9EB}" dt="2021-11-27T14:22:00.443" v="2304"/>
        <pc:sldMkLst>
          <pc:docMk/>
          <pc:sldMk cId="4025581486" sldId="578"/>
        </pc:sldMkLst>
        <pc:spChg chg="mod">
          <ac:chgData name="Thomas Stensitzki" userId="75cafe6b-2f2a-469b-85c4-eec3b9c972ba" providerId="ADAL" clId="{84A5A1CF-D4D8-4DEE-82E8-21007BEBD9EB}" dt="2021-11-27T13:28:30.674" v="940"/>
          <ac:spMkLst>
            <pc:docMk/>
            <pc:sldMk cId="4025581486" sldId="578"/>
            <ac:spMk id="2" creationId="{380EE23A-C0B4-406C-A0C3-EC1874345BDA}"/>
          </ac:spMkLst>
        </pc:spChg>
        <pc:spChg chg="mod">
          <ac:chgData name="Thomas Stensitzki" userId="75cafe6b-2f2a-469b-85c4-eec3b9c972ba" providerId="ADAL" clId="{84A5A1CF-D4D8-4DEE-82E8-21007BEBD9EB}" dt="2021-11-27T13:31:03.733" v="997" actId="113"/>
          <ac:spMkLst>
            <pc:docMk/>
            <pc:sldMk cId="4025581486" sldId="578"/>
            <ac:spMk id="3" creationId="{A42BE06D-DB09-454D-B09B-AB3D05988720}"/>
          </ac:spMkLst>
        </pc:spChg>
      </pc:sldChg>
      <pc:sldChg chg="addSp modSp new mod modTransition">
        <pc:chgData name="Thomas Stensitzki" userId="75cafe6b-2f2a-469b-85c4-eec3b9c972ba" providerId="ADAL" clId="{84A5A1CF-D4D8-4DEE-82E8-21007BEBD9EB}" dt="2021-11-27T14:22:00.443" v="2304"/>
        <pc:sldMkLst>
          <pc:docMk/>
          <pc:sldMk cId="3181657178" sldId="579"/>
        </pc:sldMkLst>
        <pc:spChg chg="mod">
          <ac:chgData name="Thomas Stensitzki" userId="75cafe6b-2f2a-469b-85c4-eec3b9c972ba" providerId="ADAL" clId="{84A5A1CF-D4D8-4DEE-82E8-21007BEBD9EB}" dt="2021-11-27T13:34:36.805" v="1069"/>
          <ac:spMkLst>
            <pc:docMk/>
            <pc:sldMk cId="3181657178" sldId="579"/>
            <ac:spMk id="2" creationId="{B6E494BC-BF8C-484C-B658-547E0B8A10CF}"/>
          </ac:spMkLst>
        </pc:spChg>
        <pc:spChg chg="mod">
          <ac:chgData name="Thomas Stensitzki" userId="75cafe6b-2f2a-469b-85c4-eec3b9c972ba" providerId="ADAL" clId="{84A5A1CF-D4D8-4DEE-82E8-21007BEBD9EB}" dt="2021-11-27T13:40:12.353" v="1477" actId="20577"/>
          <ac:spMkLst>
            <pc:docMk/>
            <pc:sldMk cId="3181657178" sldId="579"/>
            <ac:spMk id="3" creationId="{39F0BC76-1CDB-416F-925D-D328C9A74D2D}"/>
          </ac:spMkLst>
        </pc:spChg>
        <pc:picChg chg="add mod">
          <ac:chgData name="Thomas Stensitzki" userId="75cafe6b-2f2a-469b-85c4-eec3b9c972ba" providerId="ADAL" clId="{84A5A1CF-D4D8-4DEE-82E8-21007BEBD9EB}" dt="2021-11-27T13:36:19.627" v="1130" actId="1440"/>
          <ac:picMkLst>
            <pc:docMk/>
            <pc:sldMk cId="3181657178" sldId="579"/>
            <ac:picMk id="8194" creationId="{F25E017B-D8E9-4FDD-8ED2-75D851475C1B}"/>
          </ac:picMkLst>
        </pc:picChg>
      </pc:sldChg>
      <pc:sldChg chg="modSp add mod ord modTransition">
        <pc:chgData name="Thomas Stensitzki" userId="75cafe6b-2f2a-469b-85c4-eec3b9c972ba" providerId="ADAL" clId="{84A5A1CF-D4D8-4DEE-82E8-21007BEBD9EB}" dt="2021-11-27T14:24:13.468" v="2474" actId="14100"/>
        <pc:sldMkLst>
          <pc:docMk/>
          <pc:sldMk cId="324323579" sldId="580"/>
        </pc:sldMkLst>
        <pc:spChg chg="mod">
          <ac:chgData name="Thomas Stensitzki" userId="75cafe6b-2f2a-469b-85c4-eec3b9c972ba" providerId="ADAL" clId="{84A5A1CF-D4D8-4DEE-82E8-21007BEBD9EB}" dt="2021-11-27T14:24:13.468" v="2474" actId="14100"/>
          <ac:spMkLst>
            <pc:docMk/>
            <pc:sldMk cId="324323579" sldId="580"/>
            <ac:spMk id="2" creationId="{909DC09D-B9A6-4493-9A72-1CA7ECB1F5CA}"/>
          </ac:spMkLst>
        </pc:spChg>
        <pc:spChg chg="mod">
          <ac:chgData name="Thomas Stensitzki" userId="75cafe6b-2f2a-469b-85c4-eec3b9c972ba" providerId="ADAL" clId="{84A5A1CF-D4D8-4DEE-82E8-21007BEBD9EB}" dt="2021-11-27T14:15:25.778" v="1957" actId="255"/>
          <ac:spMkLst>
            <pc:docMk/>
            <pc:sldMk cId="324323579" sldId="580"/>
            <ac:spMk id="5" creationId="{C24DACB5-1BEC-4C86-9652-BAFD8DE56FEF}"/>
          </ac:spMkLst>
        </pc:spChg>
      </pc:sldChg>
      <pc:sldChg chg="modSp new mod modTransition">
        <pc:chgData name="Thomas Stensitzki" userId="75cafe6b-2f2a-469b-85c4-eec3b9c972ba" providerId="ADAL" clId="{84A5A1CF-D4D8-4DEE-82E8-21007BEBD9EB}" dt="2021-11-27T14:22:00.443" v="2304"/>
        <pc:sldMkLst>
          <pc:docMk/>
          <pc:sldMk cId="3981601369" sldId="581"/>
        </pc:sldMkLst>
        <pc:spChg chg="mod">
          <ac:chgData name="Thomas Stensitzki" userId="75cafe6b-2f2a-469b-85c4-eec3b9c972ba" providerId="ADAL" clId="{84A5A1CF-D4D8-4DEE-82E8-21007BEBD9EB}" dt="2021-11-27T13:47:10.439" v="1595"/>
          <ac:spMkLst>
            <pc:docMk/>
            <pc:sldMk cId="3981601369" sldId="581"/>
            <ac:spMk id="2" creationId="{D00A5901-5A14-4C11-A979-39E48CD7D350}"/>
          </ac:spMkLst>
        </pc:spChg>
        <pc:spChg chg="mod">
          <ac:chgData name="Thomas Stensitzki" userId="75cafe6b-2f2a-469b-85c4-eec3b9c972ba" providerId="ADAL" clId="{84A5A1CF-D4D8-4DEE-82E8-21007BEBD9EB}" dt="2021-11-27T13:49:07.237" v="1624" actId="6549"/>
          <ac:spMkLst>
            <pc:docMk/>
            <pc:sldMk cId="3981601369" sldId="581"/>
            <ac:spMk id="3" creationId="{D8005E1A-1EF7-4C37-9FB0-E65A8BB83E31}"/>
          </ac:spMkLst>
        </pc:spChg>
      </pc:sldChg>
      <pc:sldChg chg="addSp modSp new mod modTransition">
        <pc:chgData name="Thomas Stensitzki" userId="75cafe6b-2f2a-469b-85c4-eec3b9c972ba" providerId="ADAL" clId="{84A5A1CF-D4D8-4DEE-82E8-21007BEBD9EB}" dt="2021-11-27T14:22:00.443" v="2304"/>
        <pc:sldMkLst>
          <pc:docMk/>
          <pc:sldMk cId="2226521450" sldId="582"/>
        </pc:sldMkLst>
        <pc:spChg chg="mod">
          <ac:chgData name="Thomas Stensitzki" userId="75cafe6b-2f2a-469b-85c4-eec3b9c972ba" providerId="ADAL" clId="{84A5A1CF-D4D8-4DEE-82E8-21007BEBD9EB}" dt="2021-11-27T13:50:49.437" v="1650"/>
          <ac:spMkLst>
            <pc:docMk/>
            <pc:sldMk cId="2226521450" sldId="582"/>
            <ac:spMk id="2" creationId="{E510326A-15EA-4CFB-A51E-E2462B207D51}"/>
          </ac:spMkLst>
        </pc:spChg>
        <pc:spChg chg="mod">
          <ac:chgData name="Thomas Stensitzki" userId="75cafe6b-2f2a-469b-85c4-eec3b9c972ba" providerId="ADAL" clId="{84A5A1CF-D4D8-4DEE-82E8-21007BEBD9EB}" dt="2021-11-27T13:59:02.148" v="1719" actId="20577"/>
          <ac:spMkLst>
            <pc:docMk/>
            <pc:sldMk cId="2226521450" sldId="582"/>
            <ac:spMk id="3" creationId="{825B01B9-674E-4EFE-BF44-7F89DD460473}"/>
          </ac:spMkLst>
        </pc:spChg>
        <pc:picChg chg="add mod">
          <ac:chgData name="Thomas Stensitzki" userId="75cafe6b-2f2a-469b-85c4-eec3b9c972ba" providerId="ADAL" clId="{84A5A1CF-D4D8-4DEE-82E8-21007BEBD9EB}" dt="2021-11-27T13:52:20.844" v="1655" actId="1076"/>
          <ac:picMkLst>
            <pc:docMk/>
            <pc:sldMk cId="2226521450" sldId="582"/>
            <ac:picMk id="9218" creationId="{F32A7A4F-EEBC-4AAB-8FF2-5C8EA01285B5}"/>
          </ac:picMkLst>
        </pc:picChg>
      </pc:sldChg>
      <pc:sldChg chg="addSp delSp modSp new mod modTransition">
        <pc:chgData name="Thomas Stensitzki" userId="75cafe6b-2f2a-469b-85c4-eec3b9c972ba" providerId="ADAL" clId="{84A5A1CF-D4D8-4DEE-82E8-21007BEBD9EB}" dt="2021-11-27T14:22:00.443" v="2304"/>
        <pc:sldMkLst>
          <pc:docMk/>
          <pc:sldMk cId="3960845148" sldId="583"/>
        </pc:sldMkLst>
        <pc:spChg chg="mod">
          <ac:chgData name="Thomas Stensitzki" userId="75cafe6b-2f2a-469b-85c4-eec3b9c972ba" providerId="ADAL" clId="{84A5A1CF-D4D8-4DEE-82E8-21007BEBD9EB}" dt="2021-11-27T14:00:01.801" v="1736"/>
          <ac:spMkLst>
            <pc:docMk/>
            <pc:sldMk cId="3960845148" sldId="583"/>
            <ac:spMk id="2" creationId="{2C33EC19-EF1B-41DC-A69D-69296D41BFDC}"/>
          </ac:spMkLst>
        </pc:spChg>
        <pc:spChg chg="del">
          <ac:chgData name="Thomas Stensitzki" userId="75cafe6b-2f2a-469b-85c4-eec3b9c972ba" providerId="ADAL" clId="{84A5A1CF-D4D8-4DEE-82E8-21007BEBD9EB}" dt="2021-11-27T14:00:58.436" v="1737" actId="478"/>
          <ac:spMkLst>
            <pc:docMk/>
            <pc:sldMk cId="3960845148" sldId="583"/>
            <ac:spMk id="3" creationId="{6AC854B4-3E15-4DEA-94EB-BE6DFCD6C2B4}"/>
          </ac:spMkLst>
        </pc:spChg>
        <pc:spChg chg="add del">
          <ac:chgData name="Thomas Stensitzki" userId="75cafe6b-2f2a-469b-85c4-eec3b9c972ba" providerId="ADAL" clId="{84A5A1CF-D4D8-4DEE-82E8-21007BEBD9EB}" dt="2021-11-27T14:01:25.865" v="1742" actId="22"/>
          <ac:spMkLst>
            <pc:docMk/>
            <pc:sldMk cId="3960845148" sldId="583"/>
            <ac:spMk id="6" creationId="{9ABAD5F7-2C1E-423F-8D88-1E7CCF0E5745}"/>
          </ac:spMkLst>
        </pc:spChg>
        <pc:picChg chg="add mod">
          <ac:chgData name="Thomas Stensitzki" userId="75cafe6b-2f2a-469b-85c4-eec3b9c972ba" providerId="ADAL" clId="{84A5A1CF-D4D8-4DEE-82E8-21007BEBD9EB}" dt="2021-11-27T14:03:09.383" v="1762" actId="1076"/>
          <ac:picMkLst>
            <pc:docMk/>
            <pc:sldMk cId="3960845148" sldId="583"/>
            <ac:picMk id="10242" creationId="{35481FB9-A468-46B6-90EC-7BE012AD9AAD}"/>
          </ac:picMkLst>
        </pc:picChg>
        <pc:picChg chg="add mod">
          <ac:chgData name="Thomas Stensitzki" userId="75cafe6b-2f2a-469b-85c4-eec3b9c972ba" providerId="ADAL" clId="{84A5A1CF-D4D8-4DEE-82E8-21007BEBD9EB}" dt="2021-11-27T14:03:05.684" v="1761" actId="1076"/>
          <ac:picMkLst>
            <pc:docMk/>
            <pc:sldMk cId="3960845148" sldId="583"/>
            <ac:picMk id="10244" creationId="{8DE094ED-4133-41B2-BAD9-43DF77C01DA5}"/>
          </ac:picMkLst>
        </pc:picChg>
        <pc:picChg chg="add mod">
          <ac:chgData name="Thomas Stensitzki" userId="75cafe6b-2f2a-469b-85c4-eec3b9c972ba" providerId="ADAL" clId="{84A5A1CF-D4D8-4DEE-82E8-21007BEBD9EB}" dt="2021-11-27T14:02:58.642" v="1760" actId="1076"/>
          <ac:picMkLst>
            <pc:docMk/>
            <pc:sldMk cId="3960845148" sldId="583"/>
            <ac:picMk id="10246" creationId="{430198DE-2A61-4713-9F9D-B06C4E4F7399}"/>
          </ac:picMkLst>
        </pc:picChg>
      </pc:sldChg>
      <pc:sldChg chg="modSp add mod ord modTransition">
        <pc:chgData name="Thomas Stensitzki" userId="75cafe6b-2f2a-469b-85c4-eec3b9c972ba" providerId="ADAL" clId="{84A5A1CF-D4D8-4DEE-82E8-21007BEBD9EB}" dt="2021-11-27T14:22:00.443" v="2304"/>
        <pc:sldMkLst>
          <pc:docMk/>
          <pc:sldMk cId="2871808218" sldId="584"/>
        </pc:sldMkLst>
        <pc:spChg chg="mod">
          <ac:chgData name="Thomas Stensitzki" userId="75cafe6b-2f2a-469b-85c4-eec3b9c972ba" providerId="ADAL" clId="{84A5A1CF-D4D8-4DEE-82E8-21007BEBD9EB}" dt="2021-11-27T14:17:12.281" v="1975" actId="14100"/>
          <ac:spMkLst>
            <pc:docMk/>
            <pc:sldMk cId="2871808218" sldId="584"/>
            <ac:spMk id="2" creationId="{909DC09D-B9A6-4493-9A72-1CA7ECB1F5CA}"/>
          </ac:spMkLst>
        </pc:spChg>
        <pc:spChg chg="mod">
          <ac:chgData name="Thomas Stensitzki" userId="75cafe6b-2f2a-469b-85c4-eec3b9c972ba" providerId="ADAL" clId="{84A5A1CF-D4D8-4DEE-82E8-21007BEBD9EB}" dt="2021-11-27T14:17:07.632" v="1974" actId="20577"/>
          <ac:spMkLst>
            <pc:docMk/>
            <pc:sldMk cId="2871808218" sldId="584"/>
            <ac:spMk id="5" creationId="{C24DACB5-1BEC-4C86-9652-BAFD8DE56FEF}"/>
          </ac:spMkLst>
        </pc:spChg>
      </pc:sldChg>
      <pc:sldChg chg="addSp modSp new mod modTransition">
        <pc:chgData name="Thomas Stensitzki" userId="75cafe6b-2f2a-469b-85c4-eec3b9c972ba" providerId="ADAL" clId="{84A5A1CF-D4D8-4DEE-82E8-21007BEBD9EB}" dt="2021-11-27T14:22:00.443" v="2304"/>
        <pc:sldMkLst>
          <pc:docMk/>
          <pc:sldMk cId="180834030" sldId="585"/>
        </pc:sldMkLst>
        <pc:spChg chg="mod">
          <ac:chgData name="Thomas Stensitzki" userId="75cafe6b-2f2a-469b-85c4-eec3b9c972ba" providerId="ADAL" clId="{84A5A1CF-D4D8-4DEE-82E8-21007BEBD9EB}" dt="2021-11-27T14:07:09.424" v="1824"/>
          <ac:spMkLst>
            <pc:docMk/>
            <pc:sldMk cId="180834030" sldId="585"/>
            <ac:spMk id="2" creationId="{E8DB5779-710D-47B7-BEE0-A2BD7EFC4B91}"/>
          </ac:spMkLst>
        </pc:spChg>
        <pc:spChg chg="mod">
          <ac:chgData name="Thomas Stensitzki" userId="75cafe6b-2f2a-469b-85c4-eec3b9c972ba" providerId="ADAL" clId="{84A5A1CF-D4D8-4DEE-82E8-21007BEBD9EB}" dt="2021-11-27T14:07:42.191" v="1871" actId="20577"/>
          <ac:spMkLst>
            <pc:docMk/>
            <pc:sldMk cId="180834030" sldId="585"/>
            <ac:spMk id="3" creationId="{B9A288B9-3A87-4AE9-A4F2-653B4EF45367}"/>
          </ac:spMkLst>
        </pc:spChg>
        <pc:picChg chg="add mod">
          <ac:chgData name="Thomas Stensitzki" userId="75cafe6b-2f2a-469b-85c4-eec3b9c972ba" providerId="ADAL" clId="{84A5A1CF-D4D8-4DEE-82E8-21007BEBD9EB}" dt="2021-11-27T14:08:13.808" v="1876" actId="1440"/>
          <ac:picMkLst>
            <pc:docMk/>
            <pc:sldMk cId="180834030" sldId="585"/>
            <ac:picMk id="11266" creationId="{274DE652-CAF4-45CE-B60A-B83D8A719A2C}"/>
          </ac:picMkLst>
        </pc:picChg>
      </pc:sldChg>
      <pc:sldChg chg="addSp delSp modSp new mod modTransition">
        <pc:chgData name="Thomas Stensitzki" userId="75cafe6b-2f2a-469b-85c4-eec3b9c972ba" providerId="ADAL" clId="{84A5A1CF-D4D8-4DEE-82E8-21007BEBD9EB}" dt="2021-11-27T14:22:00.443" v="2304"/>
        <pc:sldMkLst>
          <pc:docMk/>
          <pc:sldMk cId="3096191333" sldId="586"/>
        </pc:sldMkLst>
        <pc:spChg chg="mod">
          <ac:chgData name="Thomas Stensitzki" userId="75cafe6b-2f2a-469b-85c4-eec3b9c972ba" providerId="ADAL" clId="{84A5A1CF-D4D8-4DEE-82E8-21007BEBD9EB}" dt="2021-11-27T14:11:38.062" v="1920"/>
          <ac:spMkLst>
            <pc:docMk/>
            <pc:sldMk cId="3096191333" sldId="586"/>
            <ac:spMk id="2" creationId="{78748F36-1DF5-41F2-9E1C-0A31A41DB543}"/>
          </ac:spMkLst>
        </pc:spChg>
        <pc:spChg chg="del">
          <ac:chgData name="Thomas Stensitzki" userId="75cafe6b-2f2a-469b-85c4-eec3b9c972ba" providerId="ADAL" clId="{84A5A1CF-D4D8-4DEE-82E8-21007BEBD9EB}" dt="2021-11-27T14:11:40.732" v="1921" actId="478"/>
          <ac:spMkLst>
            <pc:docMk/>
            <pc:sldMk cId="3096191333" sldId="586"/>
            <ac:spMk id="3" creationId="{3CF01E57-C6F5-4DDA-9DDB-1EFFE2DB8090}"/>
          </ac:spMkLst>
        </pc:spChg>
        <pc:picChg chg="add mod">
          <ac:chgData name="Thomas Stensitzki" userId="75cafe6b-2f2a-469b-85c4-eec3b9c972ba" providerId="ADAL" clId="{84A5A1CF-D4D8-4DEE-82E8-21007BEBD9EB}" dt="2021-11-27T14:12:10.837" v="1929" actId="1440"/>
          <ac:picMkLst>
            <pc:docMk/>
            <pc:sldMk cId="3096191333" sldId="586"/>
            <ac:picMk id="12290" creationId="{57FE6E95-E038-4854-B045-ADEB442E203A}"/>
          </ac:picMkLst>
        </pc:picChg>
      </pc:sldChg>
      <pc:sldChg chg="modSp add mod modTransition">
        <pc:chgData name="Thomas Stensitzki" userId="75cafe6b-2f2a-469b-85c4-eec3b9c972ba" providerId="ADAL" clId="{84A5A1CF-D4D8-4DEE-82E8-21007BEBD9EB}" dt="2021-11-27T14:22:00.443" v="2304"/>
        <pc:sldMkLst>
          <pc:docMk/>
          <pc:sldMk cId="3386111181" sldId="587"/>
        </pc:sldMkLst>
        <pc:spChg chg="mod">
          <ac:chgData name="Thomas Stensitzki" userId="75cafe6b-2f2a-469b-85c4-eec3b9c972ba" providerId="ADAL" clId="{84A5A1CF-D4D8-4DEE-82E8-21007BEBD9EB}" dt="2021-11-27T14:17:22.057" v="1978" actId="14100"/>
          <ac:spMkLst>
            <pc:docMk/>
            <pc:sldMk cId="3386111181" sldId="587"/>
            <ac:spMk id="2" creationId="{909DC09D-B9A6-4493-9A72-1CA7ECB1F5CA}"/>
          </ac:spMkLst>
        </pc:spChg>
      </pc:sldChg>
      <pc:sldChg chg="modSp add mod modTransition">
        <pc:chgData name="Thomas Stensitzki" userId="75cafe6b-2f2a-469b-85c4-eec3b9c972ba" providerId="ADAL" clId="{84A5A1CF-D4D8-4DEE-82E8-21007BEBD9EB}" dt="2021-11-27T14:22:00.443" v="2304"/>
        <pc:sldMkLst>
          <pc:docMk/>
          <pc:sldMk cId="3088514375" sldId="588"/>
        </pc:sldMkLst>
        <pc:spChg chg="mod">
          <ac:chgData name="Thomas Stensitzki" userId="75cafe6b-2f2a-469b-85c4-eec3b9c972ba" providerId="ADAL" clId="{84A5A1CF-D4D8-4DEE-82E8-21007BEBD9EB}" dt="2021-11-27T14:18:32.281" v="2024" actId="1035"/>
          <ac:spMkLst>
            <pc:docMk/>
            <pc:sldMk cId="3088514375" sldId="588"/>
            <ac:spMk id="2" creationId="{909DC09D-B9A6-4493-9A72-1CA7ECB1F5CA}"/>
          </ac:spMkLst>
        </pc:spChg>
        <pc:spChg chg="mod">
          <ac:chgData name="Thomas Stensitzki" userId="75cafe6b-2f2a-469b-85c4-eec3b9c972ba" providerId="ADAL" clId="{84A5A1CF-D4D8-4DEE-82E8-21007BEBD9EB}" dt="2021-11-27T14:18:35.407" v="2026" actId="20577"/>
          <ac:spMkLst>
            <pc:docMk/>
            <pc:sldMk cId="3088514375" sldId="588"/>
            <ac:spMk id="5" creationId="{C24DACB5-1BEC-4C86-9652-BAFD8DE56FEF}"/>
          </ac:spMkLst>
        </pc:spChg>
      </pc:sldChg>
      <pc:sldChg chg="modSp add mod ord modTransition">
        <pc:chgData name="Thomas Stensitzki" userId="75cafe6b-2f2a-469b-85c4-eec3b9c972ba" providerId="ADAL" clId="{84A5A1CF-D4D8-4DEE-82E8-21007BEBD9EB}" dt="2021-11-27T14:22:00.443" v="2304"/>
        <pc:sldMkLst>
          <pc:docMk/>
          <pc:sldMk cId="1790374027" sldId="589"/>
        </pc:sldMkLst>
        <pc:spChg chg="mod">
          <ac:chgData name="Thomas Stensitzki" userId="75cafe6b-2f2a-469b-85c4-eec3b9c972ba" providerId="ADAL" clId="{84A5A1CF-D4D8-4DEE-82E8-21007BEBD9EB}" dt="2021-11-27T14:19:04.818" v="2059" actId="1035"/>
          <ac:spMkLst>
            <pc:docMk/>
            <pc:sldMk cId="1790374027" sldId="589"/>
            <ac:spMk id="2" creationId="{909DC09D-B9A6-4493-9A72-1CA7ECB1F5CA}"/>
          </ac:spMkLst>
        </pc:spChg>
      </pc:sldChg>
      <pc:sldChg chg="modSp add mod modTransition">
        <pc:chgData name="Thomas Stensitzki" userId="75cafe6b-2f2a-469b-85c4-eec3b9c972ba" providerId="ADAL" clId="{84A5A1CF-D4D8-4DEE-82E8-21007BEBD9EB}" dt="2021-11-27T14:22:00.443" v="2304"/>
        <pc:sldMkLst>
          <pc:docMk/>
          <pc:sldMk cId="918908708" sldId="590"/>
        </pc:sldMkLst>
        <pc:spChg chg="mod">
          <ac:chgData name="Thomas Stensitzki" userId="75cafe6b-2f2a-469b-85c4-eec3b9c972ba" providerId="ADAL" clId="{84A5A1CF-D4D8-4DEE-82E8-21007BEBD9EB}" dt="2021-11-27T14:19:38.173" v="2125" actId="14100"/>
          <ac:spMkLst>
            <pc:docMk/>
            <pc:sldMk cId="918908708" sldId="590"/>
            <ac:spMk id="2" creationId="{909DC09D-B9A6-4493-9A72-1CA7ECB1F5CA}"/>
          </ac:spMkLst>
        </pc:spChg>
      </pc:sldChg>
      <pc:sldChg chg="modSp add mod modTransition">
        <pc:chgData name="Thomas Stensitzki" userId="75cafe6b-2f2a-469b-85c4-eec3b9c972ba" providerId="ADAL" clId="{84A5A1CF-D4D8-4DEE-82E8-21007BEBD9EB}" dt="2021-11-27T14:22:00.443" v="2304"/>
        <pc:sldMkLst>
          <pc:docMk/>
          <pc:sldMk cId="454032179" sldId="591"/>
        </pc:sldMkLst>
        <pc:spChg chg="mod">
          <ac:chgData name="Thomas Stensitzki" userId="75cafe6b-2f2a-469b-85c4-eec3b9c972ba" providerId="ADAL" clId="{84A5A1CF-D4D8-4DEE-82E8-21007BEBD9EB}" dt="2021-11-27T14:19:25.306" v="2099" actId="1036"/>
          <ac:spMkLst>
            <pc:docMk/>
            <pc:sldMk cId="454032179" sldId="591"/>
            <ac:spMk id="2" creationId="{909DC09D-B9A6-4493-9A72-1CA7ECB1F5CA}"/>
          </ac:spMkLst>
        </pc:spChg>
      </pc:sldChg>
      <pc:sldChg chg="modSp add mod ord modTransition">
        <pc:chgData name="Thomas Stensitzki" userId="75cafe6b-2f2a-469b-85c4-eec3b9c972ba" providerId="ADAL" clId="{84A5A1CF-D4D8-4DEE-82E8-21007BEBD9EB}" dt="2021-11-27T14:22:00.443" v="2304"/>
        <pc:sldMkLst>
          <pc:docMk/>
          <pc:sldMk cId="999287501" sldId="592"/>
        </pc:sldMkLst>
        <pc:spChg chg="mod">
          <ac:chgData name="Thomas Stensitzki" userId="75cafe6b-2f2a-469b-85c4-eec3b9c972ba" providerId="ADAL" clId="{84A5A1CF-D4D8-4DEE-82E8-21007BEBD9EB}" dt="2021-11-27T14:20:44.068" v="2152" actId="14100"/>
          <ac:spMkLst>
            <pc:docMk/>
            <pc:sldMk cId="999287501" sldId="592"/>
            <ac:spMk id="2" creationId="{909DC09D-B9A6-4493-9A72-1CA7ECB1F5CA}"/>
          </ac:spMkLst>
        </pc:spChg>
      </pc:sldChg>
      <pc:sldChg chg="modSp add mod ord modTransition">
        <pc:chgData name="Thomas Stensitzki" userId="75cafe6b-2f2a-469b-85c4-eec3b9c972ba" providerId="ADAL" clId="{84A5A1CF-D4D8-4DEE-82E8-21007BEBD9EB}" dt="2021-11-27T14:22:00.443" v="2304"/>
        <pc:sldMkLst>
          <pc:docMk/>
          <pc:sldMk cId="216933282" sldId="593"/>
        </pc:sldMkLst>
        <pc:spChg chg="mod">
          <ac:chgData name="Thomas Stensitzki" userId="75cafe6b-2f2a-469b-85c4-eec3b9c972ba" providerId="ADAL" clId="{84A5A1CF-D4D8-4DEE-82E8-21007BEBD9EB}" dt="2021-11-27T14:21:02.006" v="2205" actId="1036"/>
          <ac:spMkLst>
            <pc:docMk/>
            <pc:sldMk cId="216933282" sldId="593"/>
            <ac:spMk id="2" creationId="{909DC09D-B9A6-4493-9A72-1CA7ECB1F5CA}"/>
          </ac:spMkLst>
        </pc:spChg>
      </pc:sldChg>
      <pc:sldChg chg="modSp add mod ord modTransition">
        <pc:chgData name="Thomas Stensitzki" userId="75cafe6b-2f2a-469b-85c4-eec3b9c972ba" providerId="ADAL" clId="{84A5A1CF-D4D8-4DEE-82E8-21007BEBD9EB}" dt="2021-11-27T14:22:00.443" v="2304"/>
        <pc:sldMkLst>
          <pc:docMk/>
          <pc:sldMk cId="1858708233" sldId="594"/>
        </pc:sldMkLst>
        <pc:spChg chg="mod">
          <ac:chgData name="Thomas Stensitzki" userId="75cafe6b-2f2a-469b-85c4-eec3b9c972ba" providerId="ADAL" clId="{84A5A1CF-D4D8-4DEE-82E8-21007BEBD9EB}" dt="2021-11-27T14:21:20.618" v="2228" actId="14100"/>
          <ac:spMkLst>
            <pc:docMk/>
            <pc:sldMk cId="1858708233" sldId="594"/>
            <ac:spMk id="2" creationId="{909DC09D-B9A6-4493-9A72-1CA7ECB1F5CA}"/>
          </ac:spMkLst>
        </pc:spChg>
      </pc:sldChg>
      <pc:sldChg chg="modSp add mod ord modTransition">
        <pc:chgData name="Thomas Stensitzki" userId="75cafe6b-2f2a-469b-85c4-eec3b9c972ba" providerId="ADAL" clId="{84A5A1CF-D4D8-4DEE-82E8-21007BEBD9EB}" dt="2021-11-27T14:22:00.443" v="2304"/>
        <pc:sldMkLst>
          <pc:docMk/>
          <pc:sldMk cId="3220276594" sldId="595"/>
        </pc:sldMkLst>
        <pc:spChg chg="mod">
          <ac:chgData name="Thomas Stensitzki" userId="75cafe6b-2f2a-469b-85c4-eec3b9c972ba" providerId="ADAL" clId="{84A5A1CF-D4D8-4DEE-82E8-21007BEBD9EB}" dt="2021-11-27T14:21:33.092" v="2262" actId="1036"/>
          <ac:spMkLst>
            <pc:docMk/>
            <pc:sldMk cId="3220276594" sldId="595"/>
            <ac:spMk id="2" creationId="{909DC09D-B9A6-4493-9A72-1CA7ECB1F5CA}"/>
          </ac:spMkLst>
        </pc:spChg>
      </pc:sldChg>
      <pc:sldChg chg="modSp add mod modTransition">
        <pc:chgData name="Thomas Stensitzki" userId="75cafe6b-2f2a-469b-85c4-eec3b9c972ba" providerId="ADAL" clId="{84A5A1CF-D4D8-4DEE-82E8-21007BEBD9EB}" dt="2021-11-27T14:22:00.443" v="2304"/>
        <pc:sldMkLst>
          <pc:docMk/>
          <pc:sldMk cId="1052203246" sldId="596"/>
        </pc:sldMkLst>
        <pc:spChg chg="mod">
          <ac:chgData name="Thomas Stensitzki" userId="75cafe6b-2f2a-469b-85c4-eec3b9c972ba" providerId="ADAL" clId="{84A5A1CF-D4D8-4DEE-82E8-21007BEBD9EB}" dt="2021-11-27T14:21:43.352" v="2283" actId="1035"/>
          <ac:spMkLst>
            <pc:docMk/>
            <pc:sldMk cId="1052203246" sldId="596"/>
            <ac:spMk id="2" creationId="{909DC09D-B9A6-4493-9A72-1CA7ECB1F5CA}"/>
          </ac:spMkLst>
        </pc:spChg>
      </pc:sldChg>
      <pc:sldChg chg="modSp add mod ord modTransition">
        <pc:chgData name="Thomas Stensitzki" userId="75cafe6b-2f2a-469b-85c4-eec3b9c972ba" providerId="ADAL" clId="{84A5A1CF-D4D8-4DEE-82E8-21007BEBD9EB}" dt="2021-11-27T14:22:00.443" v="2304"/>
        <pc:sldMkLst>
          <pc:docMk/>
          <pc:sldMk cId="3073976506" sldId="597"/>
        </pc:sldMkLst>
        <pc:spChg chg="mod">
          <ac:chgData name="Thomas Stensitzki" userId="75cafe6b-2f2a-469b-85c4-eec3b9c972ba" providerId="ADAL" clId="{84A5A1CF-D4D8-4DEE-82E8-21007BEBD9EB}" dt="2021-11-27T14:21:54.762" v="2303" actId="1036"/>
          <ac:spMkLst>
            <pc:docMk/>
            <pc:sldMk cId="3073976506" sldId="597"/>
            <ac:spMk id="2" creationId="{909DC09D-B9A6-4493-9A72-1CA7ECB1F5CA}"/>
          </ac:spMkLst>
        </pc:spChg>
      </pc:sldChg>
      <pc:sldChg chg="modSp add mod ord">
        <pc:chgData name="Thomas Stensitzki" userId="75cafe6b-2f2a-469b-85c4-eec3b9c972ba" providerId="ADAL" clId="{84A5A1CF-D4D8-4DEE-82E8-21007BEBD9EB}" dt="2021-11-27T14:22:54.095" v="2334" actId="1036"/>
        <pc:sldMkLst>
          <pc:docMk/>
          <pc:sldMk cId="1359738840" sldId="598"/>
        </pc:sldMkLst>
        <pc:spChg chg="mod">
          <ac:chgData name="Thomas Stensitzki" userId="75cafe6b-2f2a-469b-85c4-eec3b9c972ba" providerId="ADAL" clId="{84A5A1CF-D4D8-4DEE-82E8-21007BEBD9EB}" dt="2021-11-27T14:22:54.095" v="2334" actId="1036"/>
          <ac:spMkLst>
            <pc:docMk/>
            <pc:sldMk cId="1359738840" sldId="598"/>
            <ac:spMk id="2" creationId="{909DC09D-B9A6-4493-9A72-1CA7ECB1F5CA}"/>
          </ac:spMkLst>
        </pc:spChg>
      </pc:sldChg>
      <pc:sldChg chg="modSp add mod ord">
        <pc:chgData name="Thomas Stensitzki" userId="75cafe6b-2f2a-469b-85c4-eec3b9c972ba" providerId="ADAL" clId="{84A5A1CF-D4D8-4DEE-82E8-21007BEBD9EB}" dt="2021-11-27T14:23:05.860" v="2358" actId="1035"/>
        <pc:sldMkLst>
          <pc:docMk/>
          <pc:sldMk cId="497042959" sldId="599"/>
        </pc:sldMkLst>
        <pc:spChg chg="mod">
          <ac:chgData name="Thomas Stensitzki" userId="75cafe6b-2f2a-469b-85c4-eec3b9c972ba" providerId="ADAL" clId="{84A5A1CF-D4D8-4DEE-82E8-21007BEBD9EB}" dt="2021-11-27T14:23:05.860" v="2358" actId="1035"/>
          <ac:spMkLst>
            <pc:docMk/>
            <pc:sldMk cId="497042959" sldId="599"/>
            <ac:spMk id="2" creationId="{909DC09D-B9A6-4493-9A72-1CA7ECB1F5CA}"/>
          </ac:spMkLst>
        </pc:spChg>
      </pc:sldChg>
      <pc:sldChg chg="modSp add mod ord">
        <pc:chgData name="Thomas Stensitzki" userId="75cafe6b-2f2a-469b-85c4-eec3b9c972ba" providerId="ADAL" clId="{84A5A1CF-D4D8-4DEE-82E8-21007BEBD9EB}" dt="2021-11-27T14:23:20.736" v="2397" actId="1036"/>
        <pc:sldMkLst>
          <pc:docMk/>
          <pc:sldMk cId="3647128677" sldId="600"/>
        </pc:sldMkLst>
        <pc:spChg chg="mod">
          <ac:chgData name="Thomas Stensitzki" userId="75cafe6b-2f2a-469b-85c4-eec3b9c972ba" providerId="ADAL" clId="{84A5A1CF-D4D8-4DEE-82E8-21007BEBD9EB}" dt="2021-11-27T14:23:20.736" v="2397" actId="1036"/>
          <ac:spMkLst>
            <pc:docMk/>
            <pc:sldMk cId="3647128677" sldId="600"/>
            <ac:spMk id="2" creationId="{909DC09D-B9A6-4493-9A72-1CA7ECB1F5CA}"/>
          </ac:spMkLst>
        </pc:spChg>
      </pc:sldChg>
      <pc:sldChg chg="modSp add mod ord">
        <pc:chgData name="Thomas Stensitzki" userId="75cafe6b-2f2a-469b-85c4-eec3b9c972ba" providerId="ADAL" clId="{84A5A1CF-D4D8-4DEE-82E8-21007BEBD9EB}" dt="2021-11-27T14:23:30.821" v="2425" actId="1035"/>
        <pc:sldMkLst>
          <pc:docMk/>
          <pc:sldMk cId="2742369230" sldId="601"/>
        </pc:sldMkLst>
        <pc:spChg chg="mod">
          <ac:chgData name="Thomas Stensitzki" userId="75cafe6b-2f2a-469b-85c4-eec3b9c972ba" providerId="ADAL" clId="{84A5A1CF-D4D8-4DEE-82E8-21007BEBD9EB}" dt="2021-11-27T14:23:30.821" v="2425" actId="1035"/>
          <ac:spMkLst>
            <pc:docMk/>
            <pc:sldMk cId="2742369230" sldId="601"/>
            <ac:spMk id="2" creationId="{909DC09D-B9A6-4493-9A72-1CA7ECB1F5CA}"/>
          </ac:spMkLst>
        </pc:spChg>
      </pc:sldChg>
      <pc:sldChg chg="modSp add mod ord">
        <pc:chgData name="Thomas Stensitzki" userId="75cafe6b-2f2a-469b-85c4-eec3b9c972ba" providerId="ADAL" clId="{84A5A1CF-D4D8-4DEE-82E8-21007BEBD9EB}" dt="2021-11-27T14:23:41.830" v="2446" actId="1036"/>
        <pc:sldMkLst>
          <pc:docMk/>
          <pc:sldMk cId="525318874" sldId="602"/>
        </pc:sldMkLst>
        <pc:spChg chg="mod">
          <ac:chgData name="Thomas Stensitzki" userId="75cafe6b-2f2a-469b-85c4-eec3b9c972ba" providerId="ADAL" clId="{84A5A1CF-D4D8-4DEE-82E8-21007BEBD9EB}" dt="2021-11-27T14:23:41.830" v="2446" actId="1036"/>
          <ac:spMkLst>
            <pc:docMk/>
            <pc:sldMk cId="525318874" sldId="602"/>
            <ac:spMk id="2" creationId="{909DC09D-B9A6-4493-9A72-1CA7ECB1F5CA}"/>
          </ac:spMkLst>
        </pc:spChg>
      </pc:sldChg>
      <pc:sldChg chg="modSp add mod ord">
        <pc:chgData name="Thomas Stensitzki" userId="75cafe6b-2f2a-469b-85c4-eec3b9c972ba" providerId="ADAL" clId="{84A5A1CF-D4D8-4DEE-82E8-21007BEBD9EB}" dt="2021-11-27T14:23:59.425" v="2472" actId="14100"/>
        <pc:sldMkLst>
          <pc:docMk/>
          <pc:sldMk cId="4145302730" sldId="603"/>
        </pc:sldMkLst>
        <pc:spChg chg="mod">
          <ac:chgData name="Thomas Stensitzki" userId="75cafe6b-2f2a-469b-85c4-eec3b9c972ba" providerId="ADAL" clId="{84A5A1CF-D4D8-4DEE-82E8-21007BEBD9EB}" dt="2021-11-27T14:23:59.425" v="2472" actId="14100"/>
          <ac:spMkLst>
            <pc:docMk/>
            <pc:sldMk cId="4145302730" sldId="603"/>
            <ac:spMk id="2" creationId="{909DC09D-B9A6-4493-9A72-1CA7ECB1F5CA}"/>
          </ac:spMkLst>
        </pc:spChg>
      </pc:sldChg>
      <pc:sldChg chg="modSp add mod">
        <pc:chgData name="Thomas Stensitzki" userId="75cafe6b-2f2a-469b-85c4-eec3b9c972ba" providerId="ADAL" clId="{84A5A1CF-D4D8-4DEE-82E8-21007BEBD9EB}" dt="2021-11-27T14:24:31.639" v="2501" actId="1036"/>
        <pc:sldMkLst>
          <pc:docMk/>
          <pc:sldMk cId="166632333" sldId="604"/>
        </pc:sldMkLst>
        <pc:spChg chg="mod">
          <ac:chgData name="Thomas Stensitzki" userId="75cafe6b-2f2a-469b-85c4-eec3b9c972ba" providerId="ADAL" clId="{84A5A1CF-D4D8-4DEE-82E8-21007BEBD9EB}" dt="2021-11-27T14:24:31.639" v="2501" actId="1036"/>
          <ac:spMkLst>
            <pc:docMk/>
            <pc:sldMk cId="166632333" sldId="604"/>
            <ac:spMk id="2" creationId="{909DC09D-B9A6-4493-9A72-1CA7ECB1F5CA}"/>
          </ac:spMkLst>
        </pc:spChg>
      </pc:sldChg>
      <pc:sldChg chg="modSp add mod">
        <pc:chgData name="Thomas Stensitzki" userId="75cafe6b-2f2a-469b-85c4-eec3b9c972ba" providerId="ADAL" clId="{84A5A1CF-D4D8-4DEE-82E8-21007BEBD9EB}" dt="2021-11-27T14:24:41.132" v="2529" actId="1035"/>
        <pc:sldMkLst>
          <pc:docMk/>
          <pc:sldMk cId="2150546359" sldId="605"/>
        </pc:sldMkLst>
        <pc:spChg chg="mod">
          <ac:chgData name="Thomas Stensitzki" userId="75cafe6b-2f2a-469b-85c4-eec3b9c972ba" providerId="ADAL" clId="{84A5A1CF-D4D8-4DEE-82E8-21007BEBD9EB}" dt="2021-11-27T14:24:41.132" v="2529" actId="1035"/>
          <ac:spMkLst>
            <pc:docMk/>
            <pc:sldMk cId="2150546359" sldId="605"/>
            <ac:spMk id="2" creationId="{909DC09D-B9A6-4493-9A72-1CA7ECB1F5CA}"/>
          </ac:spMkLst>
        </pc:spChg>
      </pc:sldChg>
      <pc:sldChg chg="modSp add mod ord">
        <pc:chgData name="Thomas Stensitzki" userId="75cafe6b-2f2a-469b-85c4-eec3b9c972ba" providerId="ADAL" clId="{84A5A1CF-D4D8-4DEE-82E8-21007BEBD9EB}" dt="2021-11-27T14:24:55.538" v="2556" actId="1035"/>
        <pc:sldMkLst>
          <pc:docMk/>
          <pc:sldMk cId="2386028982" sldId="606"/>
        </pc:sldMkLst>
        <pc:spChg chg="mod">
          <ac:chgData name="Thomas Stensitzki" userId="75cafe6b-2f2a-469b-85c4-eec3b9c972ba" providerId="ADAL" clId="{84A5A1CF-D4D8-4DEE-82E8-21007BEBD9EB}" dt="2021-11-27T14:24:55.538" v="2556" actId="1035"/>
          <ac:spMkLst>
            <pc:docMk/>
            <pc:sldMk cId="2386028982" sldId="606"/>
            <ac:spMk id="2" creationId="{909DC09D-B9A6-4493-9A72-1CA7ECB1F5CA}"/>
          </ac:spMkLst>
        </pc:spChg>
      </pc:sldChg>
      <pc:sldChg chg="modSp add mod ord">
        <pc:chgData name="Thomas Stensitzki" userId="75cafe6b-2f2a-469b-85c4-eec3b9c972ba" providerId="ADAL" clId="{84A5A1CF-D4D8-4DEE-82E8-21007BEBD9EB}" dt="2021-11-27T14:25:19.875" v="2598" actId="6549"/>
        <pc:sldMkLst>
          <pc:docMk/>
          <pc:sldMk cId="2597390730" sldId="607"/>
        </pc:sldMkLst>
        <pc:spChg chg="mod">
          <ac:chgData name="Thomas Stensitzki" userId="75cafe6b-2f2a-469b-85c4-eec3b9c972ba" providerId="ADAL" clId="{84A5A1CF-D4D8-4DEE-82E8-21007BEBD9EB}" dt="2021-11-27T14:25:16.340" v="2596" actId="14100"/>
          <ac:spMkLst>
            <pc:docMk/>
            <pc:sldMk cId="2597390730" sldId="607"/>
            <ac:spMk id="2" creationId="{909DC09D-B9A6-4493-9A72-1CA7ECB1F5CA}"/>
          </ac:spMkLst>
        </pc:spChg>
        <pc:spChg chg="mod">
          <ac:chgData name="Thomas Stensitzki" userId="75cafe6b-2f2a-469b-85c4-eec3b9c972ba" providerId="ADAL" clId="{84A5A1CF-D4D8-4DEE-82E8-21007BEBD9EB}" dt="2021-11-27T14:25:19.875" v="2598" actId="6549"/>
          <ac:spMkLst>
            <pc:docMk/>
            <pc:sldMk cId="2597390730" sldId="607"/>
            <ac:spMk id="5" creationId="{C24DACB5-1BEC-4C86-9652-BAFD8DE56FEF}"/>
          </ac:spMkLst>
        </pc:spChg>
      </pc:sldChg>
    </pc:docChg>
  </pc:docChgLst>
  <pc:docChgLst>
    <pc:chgData name="Thomas Stensitzki" userId="75cafe6b-2f2a-469b-85c4-eec3b9c972ba" providerId="ADAL" clId="{07400056-9986-479D-B453-47B484FEC0A9}"/>
    <pc:docChg chg="undo custSel addSld delSld modSld sldOrd modMainMaster modSection">
      <pc:chgData name="Thomas Stensitzki" userId="75cafe6b-2f2a-469b-85c4-eec3b9c972ba" providerId="ADAL" clId="{07400056-9986-479D-B453-47B484FEC0A9}" dt="2023-12-10T12:47:46.066" v="2670" actId="1076"/>
      <pc:docMkLst>
        <pc:docMk/>
      </pc:docMkLst>
      <pc:sldChg chg="modSp mod">
        <pc:chgData name="Thomas Stensitzki" userId="75cafe6b-2f2a-469b-85c4-eec3b9c972ba" providerId="ADAL" clId="{07400056-9986-479D-B453-47B484FEC0A9}" dt="2023-12-02T12:07:24.664" v="13" actId="20577"/>
        <pc:sldMkLst>
          <pc:docMk/>
          <pc:sldMk cId="671489701" sldId="256"/>
        </pc:sldMkLst>
        <pc:spChg chg="mod">
          <ac:chgData name="Thomas Stensitzki" userId="75cafe6b-2f2a-469b-85c4-eec3b9c972ba" providerId="ADAL" clId="{07400056-9986-479D-B453-47B484FEC0A9}" dt="2023-12-02T12:07:24.664" v="13" actId="20577"/>
          <ac:spMkLst>
            <pc:docMk/>
            <pc:sldMk cId="671489701" sldId="256"/>
            <ac:spMk id="3" creationId="{CBA95633-B02D-4A15-A8B1-A38E0A70FD27}"/>
          </ac:spMkLst>
        </pc:spChg>
      </pc:sldChg>
      <pc:sldChg chg="delSp modSp mod">
        <pc:chgData name="Thomas Stensitzki" userId="75cafe6b-2f2a-469b-85c4-eec3b9c972ba" providerId="ADAL" clId="{07400056-9986-479D-B453-47B484FEC0A9}" dt="2023-12-07T15:59:24.617" v="2668" actId="478"/>
        <pc:sldMkLst>
          <pc:docMk/>
          <pc:sldMk cId="2855324227" sldId="257"/>
        </pc:sldMkLst>
        <pc:graphicFrameChg chg="mod modGraphic">
          <ac:chgData name="Thomas Stensitzki" userId="75cafe6b-2f2a-469b-85c4-eec3b9c972ba" providerId="ADAL" clId="{07400056-9986-479D-B453-47B484FEC0A9}" dt="2023-12-07T15:56:05.757" v="2637" actId="20577"/>
          <ac:graphicFrameMkLst>
            <pc:docMk/>
            <pc:sldMk cId="2855324227" sldId="257"/>
            <ac:graphicFrameMk id="6" creationId="{0F955DCC-462D-431D-BBDE-26F10687D590}"/>
          </ac:graphicFrameMkLst>
        </pc:graphicFrameChg>
        <pc:picChg chg="del mod">
          <ac:chgData name="Thomas Stensitzki" userId="75cafe6b-2f2a-469b-85c4-eec3b9c972ba" providerId="ADAL" clId="{07400056-9986-479D-B453-47B484FEC0A9}" dt="2023-12-07T15:59:24.617" v="2668" actId="478"/>
          <ac:picMkLst>
            <pc:docMk/>
            <pc:sldMk cId="2855324227" sldId="257"/>
            <ac:picMk id="3" creationId="{7E9BCC18-41F2-6905-F148-849B8FE8CF63}"/>
          </ac:picMkLst>
        </pc:picChg>
      </pc:sldChg>
      <pc:sldChg chg="modSp mod">
        <pc:chgData name="Thomas Stensitzki" userId="75cafe6b-2f2a-469b-85c4-eec3b9c972ba" providerId="ADAL" clId="{07400056-9986-479D-B453-47B484FEC0A9}" dt="2023-12-10T12:47:46.066" v="2670" actId="1076"/>
        <pc:sldMkLst>
          <pc:docMk/>
          <pc:sldMk cId="3332792154" sldId="258"/>
        </pc:sldMkLst>
        <pc:spChg chg="mod">
          <ac:chgData name="Thomas Stensitzki" userId="75cafe6b-2f2a-469b-85c4-eec3b9c972ba" providerId="ADAL" clId="{07400056-9986-479D-B453-47B484FEC0A9}" dt="2023-12-02T12:54:18.538" v="270" actId="20577"/>
          <ac:spMkLst>
            <pc:docMk/>
            <pc:sldMk cId="3332792154" sldId="258"/>
            <ac:spMk id="3" creationId="{3A5A44EB-7FB9-473A-8ED3-C49DDD2E65AB}"/>
          </ac:spMkLst>
        </pc:spChg>
        <pc:picChg chg="mod">
          <ac:chgData name="Thomas Stensitzki" userId="75cafe6b-2f2a-469b-85c4-eec3b9c972ba" providerId="ADAL" clId="{07400056-9986-479D-B453-47B484FEC0A9}" dt="2023-12-10T12:47:46.066" v="2670" actId="1076"/>
          <ac:picMkLst>
            <pc:docMk/>
            <pc:sldMk cId="3332792154" sldId="258"/>
            <ac:picMk id="1026" creationId="{F7C90142-B1AA-1344-2DB1-054C9B2C6BC4}"/>
          </ac:picMkLst>
        </pc:picChg>
      </pc:sldChg>
      <pc:sldChg chg="mod modShow">
        <pc:chgData name="Thomas Stensitzki" userId="75cafe6b-2f2a-469b-85c4-eec3b9c972ba" providerId="ADAL" clId="{07400056-9986-479D-B453-47B484FEC0A9}" dt="2023-12-07T10:05:26.890" v="2466" actId="729"/>
        <pc:sldMkLst>
          <pc:docMk/>
          <pc:sldMk cId="1545829058" sldId="259"/>
        </pc:sldMkLst>
      </pc:sldChg>
      <pc:sldChg chg="modSp mod">
        <pc:chgData name="Thomas Stensitzki" userId="75cafe6b-2f2a-469b-85c4-eec3b9c972ba" providerId="ADAL" clId="{07400056-9986-479D-B453-47B484FEC0A9}" dt="2023-12-07T15:56:15.479" v="2657" actId="20577"/>
        <pc:sldMkLst>
          <pc:docMk/>
          <pc:sldMk cId="2698998357" sldId="260"/>
        </pc:sldMkLst>
        <pc:spChg chg="mod">
          <ac:chgData name="Thomas Stensitzki" userId="75cafe6b-2f2a-469b-85c4-eec3b9c972ba" providerId="ADAL" clId="{07400056-9986-479D-B453-47B484FEC0A9}" dt="2023-12-07T15:56:15.479" v="2657" actId="20577"/>
          <ac:spMkLst>
            <pc:docMk/>
            <pc:sldMk cId="2698998357" sldId="260"/>
            <ac:spMk id="4" creationId="{F3A15CBD-C746-44A3-A4F0-4898CE2F02E6}"/>
          </ac:spMkLst>
        </pc:spChg>
        <pc:spChg chg="mod">
          <ac:chgData name="Thomas Stensitzki" userId="75cafe6b-2f2a-469b-85c4-eec3b9c972ba" providerId="ADAL" clId="{07400056-9986-479D-B453-47B484FEC0A9}" dt="2023-12-05T11:30:52.784" v="2422" actId="20577"/>
          <ac:spMkLst>
            <pc:docMk/>
            <pc:sldMk cId="2698998357" sldId="260"/>
            <ac:spMk id="5" creationId="{F3459BE7-1731-4733-A912-12977C68CFD6}"/>
          </ac:spMkLst>
        </pc:spChg>
      </pc:sldChg>
      <pc:sldChg chg="modSp mod">
        <pc:chgData name="Thomas Stensitzki" userId="75cafe6b-2f2a-469b-85c4-eec3b9c972ba" providerId="ADAL" clId="{07400056-9986-479D-B453-47B484FEC0A9}" dt="2023-12-07T15:55:54.649" v="2627" actId="114"/>
        <pc:sldMkLst>
          <pc:docMk/>
          <pc:sldMk cId="4007670073" sldId="268"/>
        </pc:sldMkLst>
        <pc:spChg chg="mod">
          <ac:chgData name="Thomas Stensitzki" userId="75cafe6b-2f2a-469b-85c4-eec3b9c972ba" providerId="ADAL" clId="{07400056-9986-479D-B453-47B484FEC0A9}" dt="2023-12-07T15:55:54.649" v="2627" actId="114"/>
          <ac:spMkLst>
            <pc:docMk/>
            <pc:sldMk cId="4007670073" sldId="268"/>
            <ac:spMk id="5" creationId="{F3459BE7-1731-4733-A912-12977C68CFD6}"/>
          </ac:spMkLst>
        </pc:spChg>
      </pc:sldChg>
      <pc:sldChg chg="modSp mod modShow">
        <pc:chgData name="Thomas Stensitzki" userId="75cafe6b-2f2a-469b-85c4-eec3b9c972ba" providerId="ADAL" clId="{07400056-9986-479D-B453-47B484FEC0A9}" dt="2023-12-05T11:34:22.965" v="2465" actId="729"/>
        <pc:sldMkLst>
          <pc:docMk/>
          <pc:sldMk cId="2721051844" sldId="269"/>
        </pc:sldMkLst>
        <pc:spChg chg="mod">
          <ac:chgData name="Thomas Stensitzki" userId="75cafe6b-2f2a-469b-85c4-eec3b9c972ba" providerId="ADAL" clId="{07400056-9986-479D-B453-47B484FEC0A9}" dt="2023-12-02T12:14:02.937" v="166" actId="20577"/>
          <ac:spMkLst>
            <pc:docMk/>
            <pc:sldMk cId="2721051844" sldId="269"/>
            <ac:spMk id="5" creationId="{C24DACB5-1BEC-4C86-9652-BAFD8DE56FEF}"/>
          </ac:spMkLst>
        </pc:spChg>
      </pc:sldChg>
      <pc:sldChg chg="addSp delSp modSp mod">
        <pc:chgData name="Thomas Stensitzki" userId="75cafe6b-2f2a-469b-85c4-eec3b9c972ba" providerId="ADAL" clId="{07400056-9986-479D-B453-47B484FEC0A9}" dt="2023-12-07T10:05:54.287" v="2470" actId="478"/>
        <pc:sldMkLst>
          <pc:docMk/>
          <pc:sldMk cId="2227487991" sldId="378"/>
        </pc:sldMkLst>
        <pc:spChg chg="add del mod">
          <ac:chgData name="Thomas Stensitzki" userId="75cafe6b-2f2a-469b-85c4-eec3b9c972ba" providerId="ADAL" clId="{07400056-9986-479D-B453-47B484FEC0A9}" dt="2023-12-07T10:05:54.287" v="2470" actId="478"/>
          <ac:spMkLst>
            <pc:docMk/>
            <pc:sldMk cId="2227487991" sldId="378"/>
            <ac:spMk id="2" creationId="{909DC09D-B9A6-4493-9A72-1CA7ECB1F5CA}"/>
          </ac:spMkLst>
        </pc:spChg>
        <pc:spChg chg="mod">
          <ac:chgData name="Thomas Stensitzki" userId="75cafe6b-2f2a-469b-85c4-eec3b9c972ba" providerId="ADAL" clId="{07400056-9986-479D-B453-47B484FEC0A9}" dt="2023-12-04T18:18:37.342" v="2091"/>
          <ac:spMkLst>
            <pc:docMk/>
            <pc:sldMk cId="2227487991" sldId="378"/>
            <ac:spMk id="5" creationId="{C24DACB5-1BEC-4C86-9652-BAFD8DE56FEF}"/>
          </ac:spMkLst>
        </pc:spChg>
      </pc:sldChg>
      <pc:sldChg chg="del">
        <pc:chgData name="Thomas Stensitzki" userId="75cafe6b-2f2a-469b-85c4-eec3b9c972ba" providerId="ADAL" clId="{07400056-9986-479D-B453-47B484FEC0A9}" dt="2023-12-05T11:34:05.865" v="2464" actId="2696"/>
        <pc:sldMkLst>
          <pc:docMk/>
          <pc:sldMk cId="2923837414" sldId="513"/>
        </pc:sldMkLst>
      </pc:sldChg>
      <pc:sldChg chg="del">
        <pc:chgData name="Thomas Stensitzki" userId="75cafe6b-2f2a-469b-85c4-eec3b9c972ba" providerId="ADAL" clId="{07400056-9986-479D-B453-47B484FEC0A9}" dt="2023-12-02T12:10:12.617" v="131" actId="47"/>
        <pc:sldMkLst>
          <pc:docMk/>
          <pc:sldMk cId="3797754622" sldId="515"/>
        </pc:sldMkLst>
      </pc:sldChg>
      <pc:sldChg chg="modSp mod modAnim modShow">
        <pc:chgData name="Thomas Stensitzki" userId="75cafe6b-2f2a-469b-85c4-eec3b9c972ba" providerId="ADAL" clId="{07400056-9986-479D-B453-47B484FEC0A9}" dt="2023-12-07T18:48:18.268" v="2669" actId="729"/>
        <pc:sldMkLst>
          <pc:docMk/>
          <pc:sldMk cId="2791634409" sldId="560"/>
        </pc:sldMkLst>
        <pc:spChg chg="mod">
          <ac:chgData name="Thomas Stensitzki" userId="75cafe6b-2f2a-469b-85c4-eec3b9c972ba" providerId="ADAL" clId="{07400056-9986-479D-B453-47B484FEC0A9}" dt="2023-12-05T11:33:51.979" v="2463"/>
          <ac:spMkLst>
            <pc:docMk/>
            <pc:sldMk cId="2791634409" sldId="560"/>
            <ac:spMk id="5" creationId="{E4B561B6-C0CF-43D8-8BC7-F305B96C47C8}"/>
          </ac:spMkLst>
        </pc:spChg>
      </pc:sldChg>
      <pc:sldChg chg="modSp mod">
        <pc:chgData name="Thomas Stensitzki" userId="75cafe6b-2f2a-469b-85c4-eec3b9c972ba" providerId="ADAL" clId="{07400056-9986-479D-B453-47B484FEC0A9}" dt="2023-12-02T12:09:55.340" v="127" actId="6549"/>
        <pc:sldMkLst>
          <pc:docMk/>
          <pc:sldMk cId="1962477249" sldId="659"/>
        </pc:sldMkLst>
        <pc:spChg chg="mod">
          <ac:chgData name="Thomas Stensitzki" userId="75cafe6b-2f2a-469b-85c4-eec3b9c972ba" providerId="ADAL" clId="{07400056-9986-479D-B453-47B484FEC0A9}" dt="2023-12-02T12:09:55.340" v="127" actId="6549"/>
          <ac:spMkLst>
            <pc:docMk/>
            <pc:sldMk cId="1962477249" sldId="659"/>
            <ac:spMk id="5" creationId="{F3459BE7-1731-4733-A912-12977C68CFD6}"/>
          </ac:spMkLst>
        </pc:spChg>
      </pc:sldChg>
      <pc:sldChg chg="mod ord modShow">
        <pc:chgData name="Thomas Stensitzki" userId="75cafe6b-2f2a-469b-85c4-eec3b9c972ba" providerId="ADAL" clId="{07400056-9986-479D-B453-47B484FEC0A9}" dt="2023-12-05T11:30:01.577" v="2358" actId="729"/>
        <pc:sldMkLst>
          <pc:docMk/>
          <pc:sldMk cId="4212332529" sldId="661"/>
        </pc:sldMkLst>
      </pc:sldChg>
      <pc:sldChg chg="del">
        <pc:chgData name="Thomas Stensitzki" userId="75cafe6b-2f2a-469b-85c4-eec3b9c972ba" providerId="ADAL" clId="{07400056-9986-479D-B453-47B484FEC0A9}" dt="2023-12-02T12:10:35.913" v="138" actId="47"/>
        <pc:sldMkLst>
          <pc:docMk/>
          <pc:sldMk cId="1629876044" sldId="726"/>
        </pc:sldMkLst>
      </pc:sldChg>
      <pc:sldChg chg="del">
        <pc:chgData name="Thomas Stensitzki" userId="75cafe6b-2f2a-469b-85c4-eec3b9c972ba" providerId="ADAL" clId="{07400056-9986-479D-B453-47B484FEC0A9}" dt="2023-12-02T12:10:12.617" v="131" actId="47"/>
        <pc:sldMkLst>
          <pc:docMk/>
          <pc:sldMk cId="1317116280" sldId="742"/>
        </pc:sldMkLst>
      </pc:sldChg>
      <pc:sldChg chg="del">
        <pc:chgData name="Thomas Stensitzki" userId="75cafe6b-2f2a-469b-85c4-eec3b9c972ba" providerId="ADAL" clId="{07400056-9986-479D-B453-47B484FEC0A9}" dt="2023-12-02T12:09:39.659" v="123" actId="47"/>
        <pc:sldMkLst>
          <pc:docMk/>
          <pc:sldMk cId="2889031269" sldId="743"/>
        </pc:sldMkLst>
      </pc:sldChg>
      <pc:sldChg chg="del">
        <pc:chgData name="Thomas Stensitzki" userId="75cafe6b-2f2a-469b-85c4-eec3b9c972ba" providerId="ADAL" clId="{07400056-9986-479D-B453-47B484FEC0A9}" dt="2023-12-02T12:09:39.659" v="123" actId="47"/>
        <pc:sldMkLst>
          <pc:docMk/>
          <pc:sldMk cId="1784627537" sldId="744"/>
        </pc:sldMkLst>
      </pc:sldChg>
      <pc:sldChg chg="del">
        <pc:chgData name="Thomas Stensitzki" userId="75cafe6b-2f2a-469b-85c4-eec3b9c972ba" providerId="ADAL" clId="{07400056-9986-479D-B453-47B484FEC0A9}" dt="2023-12-02T12:09:39.659" v="123" actId="47"/>
        <pc:sldMkLst>
          <pc:docMk/>
          <pc:sldMk cId="3716288060" sldId="745"/>
        </pc:sldMkLst>
      </pc:sldChg>
      <pc:sldChg chg="del">
        <pc:chgData name="Thomas Stensitzki" userId="75cafe6b-2f2a-469b-85c4-eec3b9c972ba" providerId="ADAL" clId="{07400056-9986-479D-B453-47B484FEC0A9}" dt="2023-12-02T12:10:12.617" v="131" actId="47"/>
        <pc:sldMkLst>
          <pc:docMk/>
          <pc:sldMk cId="3235938383" sldId="746"/>
        </pc:sldMkLst>
      </pc:sldChg>
      <pc:sldChg chg="del">
        <pc:chgData name="Thomas Stensitzki" userId="75cafe6b-2f2a-469b-85c4-eec3b9c972ba" providerId="ADAL" clId="{07400056-9986-479D-B453-47B484FEC0A9}" dt="2023-12-02T12:10:12.617" v="131" actId="47"/>
        <pc:sldMkLst>
          <pc:docMk/>
          <pc:sldMk cId="1889968485" sldId="747"/>
        </pc:sldMkLst>
      </pc:sldChg>
      <pc:sldChg chg="del">
        <pc:chgData name="Thomas Stensitzki" userId="75cafe6b-2f2a-469b-85c4-eec3b9c972ba" providerId="ADAL" clId="{07400056-9986-479D-B453-47B484FEC0A9}" dt="2023-12-02T12:10:12.617" v="131" actId="47"/>
        <pc:sldMkLst>
          <pc:docMk/>
          <pc:sldMk cId="1375897934" sldId="748"/>
        </pc:sldMkLst>
      </pc:sldChg>
      <pc:sldChg chg="del">
        <pc:chgData name="Thomas Stensitzki" userId="75cafe6b-2f2a-469b-85c4-eec3b9c972ba" providerId="ADAL" clId="{07400056-9986-479D-B453-47B484FEC0A9}" dt="2023-12-02T12:10:15.057" v="132" actId="47"/>
        <pc:sldMkLst>
          <pc:docMk/>
          <pc:sldMk cId="1278550352" sldId="749"/>
        </pc:sldMkLst>
      </pc:sldChg>
      <pc:sldChg chg="del">
        <pc:chgData name="Thomas Stensitzki" userId="75cafe6b-2f2a-469b-85c4-eec3b9c972ba" providerId="ADAL" clId="{07400056-9986-479D-B453-47B484FEC0A9}" dt="2023-12-02T12:10:15.057" v="132" actId="47"/>
        <pc:sldMkLst>
          <pc:docMk/>
          <pc:sldMk cId="381789784" sldId="750"/>
        </pc:sldMkLst>
      </pc:sldChg>
      <pc:sldChg chg="del">
        <pc:chgData name="Thomas Stensitzki" userId="75cafe6b-2f2a-469b-85c4-eec3b9c972ba" providerId="ADAL" clId="{07400056-9986-479D-B453-47B484FEC0A9}" dt="2023-12-02T12:10:15.057" v="132" actId="47"/>
        <pc:sldMkLst>
          <pc:docMk/>
          <pc:sldMk cId="850467813" sldId="751"/>
        </pc:sldMkLst>
      </pc:sldChg>
      <pc:sldChg chg="del">
        <pc:chgData name="Thomas Stensitzki" userId="75cafe6b-2f2a-469b-85c4-eec3b9c972ba" providerId="ADAL" clId="{07400056-9986-479D-B453-47B484FEC0A9}" dt="2023-12-02T12:10:18.070" v="133" actId="47"/>
        <pc:sldMkLst>
          <pc:docMk/>
          <pc:sldMk cId="2617257881" sldId="752"/>
        </pc:sldMkLst>
      </pc:sldChg>
      <pc:sldChg chg="del">
        <pc:chgData name="Thomas Stensitzki" userId="75cafe6b-2f2a-469b-85c4-eec3b9c972ba" providerId="ADAL" clId="{07400056-9986-479D-B453-47B484FEC0A9}" dt="2023-12-02T12:10:18.070" v="133" actId="47"/>
        <pc:sldMkLst>
          <pc:docMk/>
          <pc:sldMk cId="4180603478" sldId="753"/>
        </pc:sldMkLst>
      </pc:sldChg>
      <pc:sldChg chg="del">
        <pc:chgData name="Thomas Stensitzki" userId="75cafe6b-2f2a-469b-85c4-eec3b9c972ba" providerId="ADAL" clId="{07400056-9986-479D-B453-47B484FEC0A9}" dt="2023-12-02T12:09:39.659" v="123" actId="47"/>
        <pc:sldMkLst>
          <pc:docMk/>
          <pc:sldMk cId="245637279" sldId="754"/>
        </pc:sldMkLst>
      </pc:sldChg>
      <pc:sldChg chg="del">
        <pc:chgData name="Thomas Stensitzki" userId="75cafe6b-2f2a-469b-85c4-eec3b9c972ba" providerId="ADAL" clId="{07400056-9986-479D-B453-47B484FEC0A9}" dt="2023-12-02T12:09:48.068" v="124" actId="47"/>
        <pc:sldMkLst>
          <pc:docMk/>
          <pc:sldMk cId="3001994711" sldId="755"/>
        </pc:sldMkLst>
      </pc:sldChg>
      <pc:sldChg chg="del">
        <pc:chgData name="Thomas Stensitzki" userId="75cafe6b-2f2a-469b-85c4-eec3b9c972ba" providerId="ADAL" clId="{07400056-9986-479D-B453-47B484FEC0A9}" dt="2023-12-02T12:09:48.068" v="124" actId="47"/>
        <pc:sldMkLst>
          <pc:docMk/>
          <pc:sldMk cId="495742784" sldId="756"/>
        </pc:sldMkLst>
      </pc:sldChg>
      <pc:sldChg chg="del">
        <pc:chgData name="Thomas Stensitzki" userId="75cafe6b-2f2a-469b-85c4-eec3b9c972ba" providerId="ADAL" clId="{07400056-9986-479D-B453-47B484FEC0A9}" dt="2023-12-02T12:09:48.068" v="124" actId="47"/>
        <pc:sldMkLst>
          <pc:docMk/>
          <pc:sldMk cId="132134635" sldId="757"/>
        </pc:sldMkLst>
      </pc:sldChg>
      <pc:sldChg chg="del">
        <pc:chgData name="Thomas Stensitzki" userId="75cafe6b-2f2a-469b-85c4-eec3b9c972ba" providerId="ADAL" clId="{07400056-9986-479D-B453-47B484FEC0A9}" dt="2023-12-02T12:10:18.070" v="133" actId="47"/>
        <pc:sldMkLst>
          <pc:docMk/>
          <pc:sldMk cId="2284546408" sldId="758"/>
        </pc:sldMkLst>
      </pc:sldChg>
      <pc:sldChg chg="del">
        <pc:chgData name="Thomas Stensitzki" userId="75cafe6b-2f2a-469b-85c4-eec3b9c972ba" providerId="ADAL" clId="{07400056-9986-479D-B453-47B484FEC0A9}" dt="2023-12-02T12:09:48.068" v="124" actId="47"/>
        <pc:sldMkLst>
          <pc:docMk/>
          <pc:sldMk cId="3449039697" sldId="759"/>
        </pc:sldMkLst>
      </pc:sldChg>
      <pc:sldChg chg="del">
        <pc:chgData name="Thomas Stensitzki" userId="75cafe6b-2f2a-469b-85c4-eec3b9c972ba" providerId="ADAL" clId="{07400056-9986-479D-B453-47B484FEC0A9}" dt="2023-12-02T12:09:48.068" v="124" actId="47"/>
        <pc:sldMkLst>
          <pc:docMk/>
          <pc:sldMk cId="1212930002" sldId="760"/>
        </pc:sldMkLst>
      </pc:sldChg>
      <pc:sldChg chg="del">
        <pc:chgData name="Thomas Stensitzki" userId="75cafe6b-2f2a-469b-85c4-eec3b9c972ba" providerId="ADAL" clId="{07400056-9986-479D-B453-47B484FEC0A9}" dt="2023-12-02T12:10:20.229" v="134" actId="47"/>
        <pc:sldMkLst>
          <pc:docMk/>
          <pc:sldMk cId="2936606080" sldId="761"/>
        </pc:sldMkLst>
      </pc:sldChg>
      <pc:sldChg chg="del">
        <pc:chgData name="Thomas Stensitzki" userId="75cafe6b-2f2a-469b-85c4-eec3b9c972ba" providerId="ADAL" clId="{07400056-9986-479D-B453-47B484FEC0A9}" dt="2023-12-02T12:10:20.229" v="134" actId="47"/>
        <pc:sldMkLst>
          <pc:docMk/>
          <pc:sldMk cId="817169500" sldId="762"/>
        </pc:sldMkLst>
      </pc:sldChg>
      <pc:sldChg chg="del">
        <pc:chgData name="Thomas Stensitzki" userId="75cafe6b-2f2a-469b-85c4-eec3b9c972ba" providerId="ADAL" clId="{07400056-9986-479D-B453-47B484FEC0A9}" dt="2023-12-02T12:09:48.068" v="124" actId="47"/>
        <pc:sldMkLst>
          <pc:docMk/>
          <pc:sldMk cId="1663945658" sldId="763"/>
        </pc:sldMkLst>
      </pc:sldChg>
      <pc:sldChg chg="del">
        <pc:chgData name="Thomas Stensitzki" userId="75cafe6b-2f2a-469b-85c4-eec3b9c972ba" providerId="ADAL" clId="{07400056-9986-479D-B453-47B484FEC0A9}" dt="2023-12-02T12:09:51.629" v="125" actId="47"/>
        <pc:sldMkLst>
          <pc:docMk/>
          <pc:sldMk cId="1345283162" sldId="764"/>
        </pc:sldMkLst>
      </pc:sldChg>
      <pc:sldChg chg="del">
        <pc:chgData name="Thomas Stensitzki" userId="75cafe6b-2f2a-469b-85c4-eec3b9c972ba" providerId="ADAL" clId="{07400056-9986-479D-B453-47B484FEC0A9}" dt="2023-12-02T12:10:22.993" v="135" actId="47"/>
        <pc:sldMkLst>
          <pc:docMk/>
          <pc:sldMk cId="1401076497" sldId="765"/>
        </pc:sldMkLst>
      </pc:sldChg>
      <pc:sldChg chg="modSp mod">
        <pc:chgData name="Thomas Stensitzki" userId="75cafe6b-2f2a-469b-85c4-eec3b9c972ba" providerId="ADAL" clId="{07400056-9986-479D-B453-47B484FEC0A9}" dt="2023-12-04T18:27:19.518" v="2277" actId="20577"/>
        <pc:sldMkLst>
          <pc:docMk/>
          <pc:sldMk cId="3637612548" sldId="766"/>
        </pc:sldMkLst>
        <pc:spChg chg="mod">
          <ac:chgData name="Thomas Stensitzki" userId="75cafe6b-2f2a-469b-85c4-eec3b9c972ba" providerId="ADAL" clId="{07400056-9986-479D-B453-47B484FEC0A9}" dt="2023-12-04T18:27:19.518" v="2277" actId="20577"/>
          <ac:spMkLst>
            <pc:docMk/>
            <pc:sldMk cId="3637612548" sldId="766"/>
            <ac:spMk id="5" creationId="{C24DACB5-1BEC-4C86-9652-BAFD8DE56FEF}"/>
          </ac:spMkLst>
        </pc:spChg>
      </pc:sldChg>
      <pc:sldChg chg="del">
        <pc:chgData name="Thomas Stensitzki" userId="75cafe6b-2f2a-469b-85c4-eec3b9c972ba" providerId="ADAL" clId="{07400056-9986-479D-B453-47B484FEC0A9}" dt="2023-12-02T12:10:12.617" v="131" actId="47"/>
        <pc:sldMkLst>
          <pc:docMk/>
          <pc:sldMk cId="1072098424" sldId="767"/>
        </pc:sldMkLst>
      </pc:sldChg>
      <pc:sldChg chg="del">
        <pc:chgData name="Thomas Stensitzki" userId="75cafe6b-2f2a-469b-85c4-eec3b9c972ba" providerId="ADAL" clId="{07400056-9986-479D-B453-47B484FEC0A9}" dt="2023-12-02T12:10:12.617" v="131" actId="47"/>
        <pc:sldMkLst>
          <pc:docMk/>
          <pc:sldMk cId="3015216465" sldId="768"/>
        </pc:sldMkLst>
      </pc:sldChg>
      <pc:sldChg chg="del">
        <pc:chgData name="Thomas Stensitzki" userId="75cafe6b-2f2a-469b-85c4-eec3b9c972ba" providerId="ADAL" clId="{07400056-9986-479D-B453-47B484FEC0A9}" dt="2023-12-02T12:10:15.057" v="132" actId="47"/>
        <pc:sldMkLst>
          <pc:docMk/>
          <pc:sldMk cId="3341696552" sldId="769"/>
        </pc:sldMkLst>
      </pc:sldChg>
      <pc:sldChg chg="del">
        <pc:chgData name="Thomas Stensitzki" userId="75cafe6b-2f2a-469b-85c4-eec3b9c972ba" providerId="ADAL" clId="{07400056-9986-479D-B453-47B484FEC0A9}" dt="2023-12-02T12:10:15.057" v="132" actId="47"/>
        <pc:sldMkLst>
          <pc:docMk/>
          <pc:sldMk cId="1862083116" sldId="770"/>
        </pc:sldMkLst>
      </pc:sldChg>
      <pc:sldChg chg="del">
        <pc:chgData name="Thomas Stensitzki" userId="75cafe6b-2f2a-469b-85c4-eec3b9c972ba" providerId="ADAL" clId="{07400056-9986-479D-B453-47B484FEC0A9}" dt="2023-12-02T12:10:18.070" v="133" actId="47"/>
        <pc:sldMkLst>
          <pc:docMk/>
          <pc:sldMk cId="3596702180" sldId="771"/>
        </pc:sldMkLst>
      </pc:sldChg>
      <pc:sldChg chg="del">
        <pc:chgData name="Thomas Stensitzki" userId="75cafe6b-2f2a-469b-85c4-eec3b9c972ba" providerId="ADAL" clId="{07400056-9986-479D-B453-47B484FEC0A9}" dt="2023-12-02T12:10:18.070" v="133" actId="47"/>
        <pc:sldMkLst>
          <pc:docMk/>
          <pc:sldMk cId="2393292893" sldId="772"/>
        </pc:sldMkLst>
      </pc:sldChg>
      <pc:sldChg chg="del">
        <pc:chgData name="Thomas Stensitzki" userId="75cafe6b-2f2a-469b-85c4-eec3b9c972ba" providerId="ADAL" clId="{07400056-9986-479D-B453-47B484FEC0A9}" dt="2023-12-02T12:10:20.229" v="134" actId="47"/>
        <pc:sldMkLst>
          <pc:docMk/>
          <pc:sldMk cId="3637642839" sldId="773"/>
        </pc:sldMkLst>
      </pc:sldChg>
      <pc:sldChg chg="modSp mod modShow">
        <pc:chgData name="Thomas Stensitzki" userId="75cafe6b-2f2a-469b-85c4-eec3b9c972ba" providerId="ADAL" clId="{07400056-9986-479D-B453-47B484FEC0A9}" dt="2023-12-05T11:30:10.381" v="2359" actId="729"/>
        <pc:sldMkLst>
          <pc:docMk/>
          <pc:sldMk cId="300984612" sldId="774"/>
        </pc:sldMkLst>
        <pc:spChg chg="mod">
          <ac:chgData name="Thomas Stensitzki" userId="75cafe6b-2f2a-469b-85c4-eec3b9c972ba" providerId="ADAL" clId="{07400056-9986-479D-B453-47B484FEC0A9}" dt="2023-12-02T12:10:28.396" v="136" actId="20577"/>
          <ac:spMkLst>
            <pc:docMk/>
            <pc:sldMk cId="300984612" sldId="774"/>
            <ac:spMk id="5" creationId="{EB3EE15C-31D3-4DE1-85CD-5E2D24291A49}"/>
          </ac:spMkLst>
        </pc:spChg>
      </pc:sldChg>
      <pc:sldChg chg="del">
        <pc:chgData name="Thomas Stensitzki" userId="75cafe6b-2f2a-469b-85c4-eec3b9c972ba" providerId="ADAL" clId="{07400056-9986-479D-B453-47B484FEC0A9}" dt="2023-12-02T12:10:34.015" v="137" actId="47"/>
        <pc:sldMkLst>
          <pc:docMk/>
          <pc:sldMk cId="1215936229" sldId="775"/>
        </pc:sldMkLst>
      </pc:sldChg>
      <pc:sldChg chg="del">
        <pc:chgData name="Thomas Stensitzki" userId="75cafe6b-2f2a-469b-85c4-eec3b9c972ba" providerId="ADAL" clId="{07400056-9986-479D-B453-47B484FEC0A9}" dt="2023-12-02T12:10:34.015" v="137" actId="47"/>
        <pc:sldMkLst>
          <pc:docMk/>
          <pc:sldMk cId="968451505" sldId="776"/>
        </pc:sldMkLst>
      </pc:sldChg>
      <pc:sldChg chg="del">
        <pc:chgData name="Thomas Stensitzki" userId="75cafe6b-2f2a-469b-85c4-eec3b9c972ba" providerId="ADAL" clId="{07400056-9986-479D-B453-47B484FEC0A9}" dt="2023-12-02T12:10:34.015" v="137" actId="47"/>
        <pc:sldMkLst>
          <pc:docMk/>
          <pc:sldMk cId="2373903630" sldId="777"/>
        </pc:sldMkLst>
      </pc:sldChg>
      <pc:sldChg chg="del">
        <pc:chgData name="Thomas Stensitzki" userId="75cafe6b-2f2a-469b-85c4-eec3b9c972ba" providerId="ADAL" clId="{07400056-9986-479D-B453-47B484FEC0A9}" dt="2023-12-02T12:10:34.015" v="137" actId="47"/>
        <pc:sldMkLst>
          <pc:docMk/>
          <pc:sldMk cId="2758939317" sldId="778"/>
        </pc:sldMkLst>
      </pc:sldChg>
      <pc:sldChg chg="del">
        <pc:chgData name="Thomas Stensitzki" userId="75cafe6b-2f2a-469b-85c4-eec3b9c972ba" providerId="ADAL" clId="{07400056-9986-479D-B453-47B484FEC0A9}" dt="2023-12-02T12:09:39.659" v="123" actId="47"/>
        <pc:sldMkLst>
          <pc:docMk/>
          <pc:sldMk cId="2052217329" sldId="779"/>
        </pc:sldMkLst>
      </pc:sldChg>
      <pc:sldChg chg="del">
        <pc:chgData name="Thomas Stensitzki" userId="75cafe6b-2f2a-469b-85c4-eec3b9c972ba" providerId="ADAL" clId="{07400056-9986-479D-B453-47B484FEC0A9}" dt="2023-12-02T12:09:39.659" v="123" actId="47"/>
        <pc:sldMkLst>
          <pc:docMk/>
          <pc:sldMk cId="456002877" sldId="780"/>
        </pc:sldMkLst>
      </pc:sldChg>
      <pc:sldChg chg="del">
        <pc:chgData name="Thomas Stensitzki" userId="75cafe6b-2f2a-469b-85c4-eec3b9c972ba" providerId="ADAL" clId="{07400056-9986-479D-B453-47B484FEC0A9}" dt="2023-12-02T12:09:39.659" v="123" actId="47"/>
        <pc:sldMkLst>
          <pc:docMk/>
          <pc:sldMk cId="1666844012" sldId="781"/>
        </pc:sldMkLst>
      </pc:sldChg>
      <pc:sldChg chg="del">
        <pc:chgData name="Thomas Stensitzki" userId="75cafe6b-2f2a-469b-85c4-eec3b9c972ba" providerId="ADAL" clId="{07400056-9986-479D-B453-47B484FEC0A9}" dt="2023-12-02T12:09:48.068" v="124" actId="47"/>
        <pc:sldMkLst>
          <pc:docMk/>
          <pc:sldMk cId="1365151735" sldId="782"/>
        </pc:sldMkLst>
      </pc:sldChg>
      <pc:sldChg chg="del">
        <pc:chgData name="Thomas Stensitzki" userId="75cafe6b-2f2a-469b-85c4-eec3b9c972ba" providerId="ADAL" clId="{07400056-9986-479D-B453-47B484FEC0A9}" dt="2023-12-02T12:09:48.068" v="124" actId="47"/>
        <pc:sldMkLst>
          <pc:docMk/>
          <pc:sldMk cId="2345373174" sldId="783"/>
        </pc:sldMkLst>
      </pc:sldChg>
      <pc:sldChg chg="del">
        <pc:chgData name="Thomas Stensitzki" userId="75cafe6b-2f2a-469b-85c4-eec3b9c972ba" providerId="ADAL" clId="{07400056-9986-479D-B453-47B484FEC0A9}" dt="2023-12-02T12:09:48.068" v="124" actId="47"/>
        <pc:sldMkLst>
          <pc:docMk/>
          <pc:sldMk cId="3111584397" sldId="784"/>
        </pc:sldMkLst>
      </pc:sldChg>
      <pc:sldChg chg="addSp delSp modSp new mod setBg chgLayout">
        <pc:chgData name="Thomas Stensitzki" userId="75cafe6b-2f2a-469b-85c4-eec3b9c972ba" providerId="ADAL" clId="{07400056-9986-479D-B453-47B484FEC0A9}" dt="2023-12-02T12:09:17.192" v="115" actId="2711"/>
        <pc:sldMkLst>
          <pc:docMk/>
          <pc:sldMk cId="3196266039" sldId="785"/>
        </pc:sldMkLst>
        <pc:spChg chg="del">
          <ac:chgData name="Thomas Stensitzki" userId="75cafe6b-2f2a-469b-85c4-eec3b9c972ba" providerId="ADAL" clId="{07400056-9986-479D-B453-47B484FEC0A9}" dt="2023-12-02T12:08:38.311" v="108" actId="700"/>
          <ac:spMkLst>
            <pc:docMk/>
            <pc:sldMk cId="3196266039" sldId="785"/>
            <ac:spMk id="2" creationId="{FB7691ED-6EFA-E10B-791E-2DA48F5EC43C}"/>
          </ac:spMkLst>
        </pc:spChg>
        <pc:spChg chg="del">
          <ac:chgData name="Thomas Stensitzki" userId="75cafe6b-2f2a-469b-85c4-eec3b9c972ba" providerId="ADAL" clId="{07400056-9986-479D-B453-47B484FEC0A9}" dt="2023-12-02T12:08:38.311" v="108" actId="700"/>
          <ac:spMkLst>
            <pc:docMk/>
            <pc:sldMk cId="3196266039" sldId="785"/>
            <ac:spMk id="3" creationId="{34D45F41-A8B5-62AC-E231-A39FE78C6C20}"/>
          </ac:spMkLst>
        </pc:spChg>
        <pc:spChg chg="add mod ord">
          <ac:chgData name="Thomas Stensitzki" userId="75cafe6b-2f2a-469b-85c4-eec3b9c972ba" providerId="ADAL" clId="{07400056-9986-479D-B453-47B484FEC0A9}" dt="2023-12-02T12:09:17.192" v="115" actId="2711"/>
          <ac:spMkLst>
            <pc:docMk/>
            <pc:sldMk cId="3196266039" sldId="785"/>
            <ac:spMk id="4" creationId="{855E9E74-B9FC-897F-43D9-0E7B90E467B5}"/>
          </ac:spMkLst>
        </pc:spChg>
        <pc:spChg chg="add mod ord">
          <ac:chgData name="Thomas Stensitzki" userId="75cafe6b-2f2a-469b-85c4-eec3b9c972ba" providerId="ADAL" clId="{07400056-9986-479D-B453-47B484FEC0A9}" dt="2023-12-02T12:08:49.128" v="113" actId="26606"/>
          <ac:spMkLst>
            <pc:docMk/>
            <pc:sldMk cId="3196266039" sldId="785"/>
            <ac:spMk id="5" creationId="{019A2F21-8679-810B-418A-FDD6B869AC63}"/>
          </ac:spMkLst>
        </pc:spChg>
        <pc:spChg chg="add">
          <ac:chgData name="Thomas Stensitzki" userId="75cafe6b-2f2a-469b-85c4-eec3b9c972ba" providerId="ADAL" clId="{07400056-9986-479D-B453-47B484FEC0A9}" dt="2023-12-02T12:08:49.128" v="113" actId="26606"/>
          <ac:spMkLst>
            <pc:docMk/>
            <pc:sldMk cId="3196266039" sldId="785"/>
            <ac:spMk id="11" creationId="{0671A8AE-40A1-4631-A6B8-581AFF065482}"/>
          </ac:spMkLst>
        </pc:spChg>
        <pc:spChg chg="add">
          <ac:chgData name="Thomas Stensitzki" userId="75cafe6b-2f2a-469b-85c4-eec3b9c972ba" providerId="ADAL" clId="{07400056-9986-479D-B453-47B484FEC0A9}" dt="2023-12-02T12:08:49.128" v="113" actId="26606"/>
          <ac:spMkLst>
            <pc:docMk/>
            <pc:sldMk cId="3196266039" sldId="785"/>
            <ac:spMk id="13" creationId="{AB58EF07-17C2-48CF-ABB0-EEF1F17CB8F0}"/>
          </ac:spMkLst>
        </pc:spChg>
        <pc:spChg chg="add">
          <ac:chgData name="Thomas Stensitzki" userId="75cafe6b-2f2a-469b-85c4-eec3b9c972ba" providerId="ADAL" clId="{07400056-9986-479D-B453-47B484FEC0A9}" dt="2023-12-02T12:08:49.128" v="113" actId="26606"/>
          <ac:spMkLst>
            <pc:docMk/>
            <pc:sldMk cId="3196266039" sldId="785"/>
            <ac:spMk id="15" creationId="{AF2F604E-43BE-4DC3-B983-E071523364F8}"/>
          </ac:spMkLst>
        </pc:spChg>
        <pc:spChg chg="add">
          <ac:chgData name="Thomas Stensitzki" userId="75cafe6b-2f2a-469b-85c4-eec3b9c972ba" providerId="ADAL" clId="{07400056-9986-479D-B453-47B484FEC0A9}" dt="2023-12-02T12:08:49.128" v="113" actId="26606"/>
          <ac:spMkLst>
            <pc:docMk/>
            <pc:sldMk cId="3196266039" sldId="785"/>
            <ac:spMk id="17" creationId="{08C9B587-E65E-4B52-B37C-ABEBB6E87928}"/>
          </ac:spMkLst>
        </pc:spChg>
        <pc:picChg chg="add">
          <ac:chgData name="Thomas Stensitzki" userId="75cafe6b-2f2a-469b-85c4-eec3b9c972ba" providerId="ADAL" clId="{07400056-9986-479D-B453-47B484FEC0A9}" dt="2023-12-02T12:08:49.128" v="113" actId="26606"/>
          <ac:picMkLst>
            <pc:docMk/>
            <pc:sldMk cId="3196266039" sldId="785"/>
            <ac:picMk id="7" creationId="{CF4A5BDA-987C-0075-B56E-A06CBB9EF925}"/>
          </ac:picMkLst>
        </pc:picChg>
      </pc:sldChg>
      <pc:sldChg chg="new del ord">
        <pc:chgData name="Thomas Stensitzki" userId="75cafe6b-2f2a-469b-85c4-eec3b9c972ba" providerId="ADAL" clId="{07400056-9986-479D-B453-47B484FEC0A9}" dt="2023-12-02T12:09:51.629" v="125" actId="47"/>
        <pc:sldMkLst>
          <pc:docMk/>
          <pc:sldMk cId="2388557487" sldId="786"/>
        </pc:sldMkLst>
      </pc:sldChg>
      <pc:sldChg chg="addSp modSp new mod ord">
        <pc:chgData name="Thomas Stensitzki" userId="75cafe6b-2f2a-469b-85c4-eec3b9c972ba" providerId="ADAL" clId="{07400056-9986-479D-B453-47B484FEC0A9}" dt="2023-12-04T17:46:28.758" v="880" actId="5793"/>
        <pc:sldMkLst>
          <pc:docMk/>
          <pc:sldMk cId="3349389137" sldId="786"/>
        </pc:sldMkLst>
        <pc:spChg chg="mod">
          <ac:chgData name="Thomas Stensitzki" userId="75cafe6b-2f2a-469b-85c4-eec3b9c972ba" providerId="ADAL" clId="{07400056-9986-479D-B453-47B484FEC0A9}" dt="2023-12-04T17:35:16.108" v="276"/>
          <ac:spMkLst>
            <pc:docMk/>
            <pc:sldMk cId="3349389137" sldId="786"/>
            <ac:spMk id="2" creationId="{44B86EDB-B1A4-5B04-0041-42F698A391DB}"/>
          </ac:spMkLst>
        </pc:spChg>
        <pc:spChg chg="mod">
          <ac:chgData name="Thomas Stensitzki" userId="75cafe6b-2f2a-469b-85c4-eec3b9c972ba" providerId="ADAL" clId="{07400056-9986-479D-B453-47B484FEC0A9}" dt="2023-12-04T17:46:28.758" v="880" actId="5793"/>
          <ac:spMkLst>
            <pc:docMk/>
            <pc:sldMk cId="3349389137" sldId="786"/>
            <ac:spMk id="3" creationId="{0BFEC616-7F44-6AC0-3969-05891FD18052}"/>
          </ac:spMkLst>
        </pc:spChg>
        <pc:spChg chg="add mod">
          <ac:chgData name="Thomas Stensitzki" userId="75cafe6b-2f2a-469b-85c4-eec3b9c972ba" providerId="ADAL" clId="{07400056-9986-479D-B453-47B484FEC0A9}" dt="2023-12-04T17:38:22.527" v="485" actId="1076"/>
          <ac:spMkLst>
            <pc:docMk/>
            <pc:sldMk cId="3349389137" sldId="786"/>
            <ac:spMk id="4" creationId="{A19F94DD-5690-C6D5-4B13-34691A3935DA}"/>
          </ac:spMkLst>
        </pc:spChg>
      </pc:sldChg>
      <pc:sldChg chg="addSp modSp new mod">
        <pc:chgData name="Thomas Stensitzki" userId="75cafe6b-2f2a-469b-85c4-eec3b9c972ba" providerId="ADAL" clId="{07400056-9986-479D-B453-47B484FEC0A9}" dt="2023-12-04T17:46:34.222" v="882" actId="5793"/>
        <pc:sldMkLst>
          <pc:docMk/>
          <pc:sldMk cId="3901722862" sldId="787"/>
        </pc:sldMkLst>
        <pc:spChg chg="mod">
          <ac:chgData name="Thomas Stensitzki" userId="75cafe6b-2f2a-469b-85c4-eec3b9c972ba" providerId="ADAL" clId="{07400056-9986-479D-B453-47B484FEC0A9}" dt="2023-12-04T17:42:08.053" v="589"/>
          <ac:spMkLst>
            <pc:docMk/>
            <pc:sldMk cId="3901722862" sldId="787"/>
            <ac:spMk id="2" creationId="{46C0C109-8924-7CD0-94A2-CCBAA7A705A8}"/>
          </ac:spMkLst>
        </pc:spChg>
        <pc:spChg chg="mod">
          <ac:chgData name="Thomas Stensitzki" userId="75cafe6b-2f2a-469b-85c4-eec3b9c972ba" providerId="ADAL" clId="{07400056-9986-479D-B453-47B484FEC0A9}" dt="2023-12-04T17:46:34.222" v="882" actId="5793"/>
          <ac:spMkLst>
            <pc:docMk/>
            <pc:sldMk cId="3901722862" sldId="787"/>
            <ac:spMk id="3" creationId="{012225EC-F645-4E0C-1905-945412E15C2B}"/>
          </ac:spMkLst>
        </pc:spChg>
        <pc:spChg chg="add mod">
          <ac:chgData name="Thomas Stensitzki" userId="75cafe6b-2f2a-469b-85c4-eec3b9c972ba" providerId="ADAL" clId="{07400056-9986-479D-B453-47B484FEC0A9}" dt="2023-12-04T17:45:23.720" v="847"/>
          <ac:spMkLst>
            <pc:docMk/>
            <pc:sldMk cId="3901722862" sldId="787"/>
            <ac:spMk id="4" creationId="{987A0CBB-270C-AFE4-5730-F0BE7F6435AE}"/>
          </ac:spMkLst>
        </pc:spChg>
      </pc:sldChg>
      <pc:sldChg chg="modSp new mod">
        <pc:chgData name="Thomas Stensitzki" userId="75cafe6b-2f2a-469b-85c4-eec3b9c972ba" providerId="ADAL" clId="{07400056-9986-479D-B453-47B484FEC0A9}" dt="2023-12-04T17:51:16.042" v="1211" actId="20577"/>
        <pc:sldMkLst>
          <pc:docMk/>
          <pc:sldMk cId="3204083669" sldId="788"/>
        </pc:sldMkLst>
        <pc:spChg chg="mod">
          <ac:chgData name="Thomas Stensitzki" userId="75cafe6b-2f2a-469b-85c4-eec3b9c972ba" providerId="ADAL" clId="{07400056-9986-479D-B453-47B484FEC0A9}" dt="2023-12-04T17:47:36.111" v="901" actId="20577"/>
          <ac:spMkLst>
            <pc:docMk/>
            <pc:sldMk cId="3204083669" sldId="788"/>
            <ac:spMk id="2" creationId="{A434B45F-7D28-4067-7CF8-2F8FE33BF462}"/>
          </ac:spMkLst>
        </pc:spChg>
        <pc:spChg chg="mod">
          <ac:chgData name="Thomas Stensitzki" userId="75cafe6b-2f2a-469b-85c4-eec3b9c972ba" providerId="ADAL" clId="{07400056-9986-479D-B453-47B484FEC0A9}" dt="2023-12-04T17:51:16.042" v="1211" actId="20577"/>
          <ac:spMkLst>
            <pc:docMk/>
            <pc:sldMk cId="3204083669" sldId="788"/>
            <ac:spMk id="3" creationId="{78D275FC-9916-49D6-AE56-0FAC00EAEA20}"/>
          </ac:spMkLst>
        </pc:spChg>
      </pc:sldChg>
      <pc:sldChg chg="addSp delSp modSp add mod">
        <pc:chgData name="Thomas Stensitzki" userId="75cafe6b-2f2a-469b-85c4-eec3b9c972ba" providerId="ADAL" clId="{07400056-9986-479D-B453-47B484FEC0A9}" dt="2023-12-04T17:49:52.101" v="1090" actId="1440"/>
        <pc:sldMkLst>
          <pc:docMk/>
          <pc:sldMk cId="1317890510" sldId="789"/>
        </pc:sldMkLst>
        <pc:spChg chg="del">
          <ac:chgData name="Thomas Stensitzki" userId="75cafe6b-2f2a-469b-85c4-eec3b9c972ba" providerId="ADAL" clId="{07400056-9986-479D-B453-47B484FEC0A9}" dt="2023-12-04T17:49:34.192" v="1085" actId="478"/>
          <ac:spMkLst>
            <pc:docMk/>
            <pc:sldMk cId="1317890510" sldId="789"/>
            <ac:spMk id="3" creationId="{78D275FC-9916-49D6-AE56-0FAC00EAEA20}"/>
          </ac:spMkLst>
        </pc:spChg>
        <pc:spChg chg="add del mod">
          <ac:chgData name="Thomas Stensitzki" userId="75cafe6b-2f2a-469b-85c4-eec3b9c972ba" providerId="ADAL" clId="{07400056-9986-479D-B453-47B484FEC0A9}" dt="2023-12-04T17:49:37.634" v="1086" actId="478"/>
          <ac:spMkLst>
            <pc:docMk/>
            <pc:sldMk cId="1317890510" sldId="789"/>
            <ac:spMk id="5" creationId="{C2AC9233-ADC3-93DF-C79C-D0931BBA87ED}"/>
          </ac:spMkLst>
        </pc:spChg>
        <pc:picChg chg="add mod">
          <ac:chgData name="Thomas Stensitzki" userId="75cafe6b-2f2a-469b-85c4-eec3b9c972ba" providerId="ADAL" clId="{07400056-9986-479D-B453-47B484FEC0A9}" dt="2023-12-04T17:49:52.101" v="1090" actId="1440"/>
          <ac:picMkLst>
            <pc:docMk/>
            <pc:sldMk cId="1317890510" sldId="789"/>
            <ac:picMk id="1026" creationId="{FE10055E-8E7E-D656-1F0F-76803EBFA0EE}"/>
          </ac:picMkLst>
        </pc:picChg>
      </pc:sldChg>
      <pc:sldChg chg="addSp delSp modSp add">
        <pc:chgData name="Thomas Stensitzki" userId="75cafe6b-2f2a-469b-85c4-eec3b9c972ba" providerId="ADAL" clId="{07400056-9986-479D-B453-47B484FEC0A9}" dt="2023-12-04T17:50:16.952" v="1094" actId="1440"/>
        <pc:sldMkLst>
          <pc:docMk/>
          <pc:sldMk cId="2940968406" sldId="790"/>
        </pc:sldMkLst>
        <pc:picChg chg="del">
          <ac:chgData name="Thomas Stensitzki" userId="75cafe6b-2f2a-469b-85c4-eec3b9c972ba" providerId="ADAL" clId="{07400056-9986-479D-B453-47B484FEC0A9}" dt="2023-12-04T17:50:06.656" v="1092" actId="478"/>
          <ac:picMkLst>
            <pc:docMk/>
            <pc:sldMk cId="2940968406" sldId="790"/>
            <ac:picMk id="1026" creationId="{FE10055E-8E7E-D656-1F0F-76803EBFA0EE}"/>
          </ac:picMkLst>
        </pc:picChg>
        <pc:picChg chg="add mod">
          <ac:chgData name="Thomas Stensitzki" userId="75cafe6b-2f2a-469b-85c4-eec3b9c972ba" providerId="ADAL" clId="{07400056-9986-479D-B453-47B484FEC0A9}" dt="2023-12-04T17:50:16.952" v="1094" actId="1440"/>
          <ac:picMkLst>
            <pc:docMk/>
            <pc:sldMk cId="2940968406" sldId="790"/>
            <ac:picMk id="2050" creationId="{53546701-04DA-BB3D-E071-CCDCA6BD3160}"/>
          </ac:picMkLst>
        </pc:picChg>
      </pc:sldChg>
      <pc:sldChg chg="addSp modSp new mod">
        <pc:chgData name="Thomas Stensitzki" userId="75cafe6b-2f2a-469b-85c4-eec3b9c972ba" providerId="ADAL" clId="{07400056-9986-479D-B453-47B484FEC0A9}" dt="2023-12-04T17:55:33.959" v="1342" actId="1440"/>
        <pc:sldMkLst>
          <pc:docMk/>
          <pc:sldMk cId="546959564" sldId="791"/>
        </pc:sldMkLst>
        <pc:spChg chg="mod">
          <ac:chgData name="Thomas Stensitzki" userId="75cafe6b-2f2a-469b-85c4-eec3b9c972ba" providerId="ADAL" clId="{07400056-9986-479D-B453-47B484FEC0A9}" dt="2023-12-04T17:53:10.078" v="1215"/>
          <ac:spMkLst>
            <pc:docMk/>
            <pc:sldMk cId="546959564" sldId="791"/>
            <ac:spMk id="2" creationId="{C80CBA98-16D6-FAE3-CDCA-D8C879EF6D83}"/>
          </ac:spMkLst>
        </pc:spChg>
        <pc:spChg chg="mod">
          <ac:chgData name="Thomas Stensitzki" userId="75cafe6b-2f2a-469b-85c4-eec3b9c972ba" providerId="ADAL" clId="{07400056-9986-479D-B453-47B484FEC0A9}" dt="2023-12-04T17:55:25.791" v="1341" actId="14100"/>
          <ac:spMkLst>
            <pc:docMk/>
            <pc:sldMk cId="546959564" sldId="791"/>
            <ac:spMk id="3" creationId="{BB3C2F80-476C-5030-E8CF-CC20B25EFB9E}"/>
          </ac:spMkLst>
        </pc:spChg>
        <pc:picChg chg="add mod">
          <ac:chgData name="Thomas Stensitzki" userId="75cafe6b-2f2a-469b-85c4-eec3b9c972ba" providerId="ADAL" clId="{07400056-9986-479D-B453-47B484FEC0A9}" dt="2023-12-04T17:55:33.959" v="1342" actId="1440"/>
          <ac:picMkLst>
            <pc:docMk/>
            <pc:sldMk cId="546959564" sldId="791"/>
            <ac:picMk id="3074" creationId="{9E76A532-8552-72C8-CAFC-9BDFFAA1ABE2}"/>
          </ac:picMkLst>
        </pc:picChg>
      </pc:sldChg>
      <pc:sldChg chg="modSp new mod">
        <pc:chgData name="Thomas Stensitzki" userId="75cafe6b-2f2a-469b-85c4-eec3b9c972ba" providerId="ADAL" clId="{07400056-9986-479D-B453-47B484FEC0A9}" dt="2023-12-04T18:00:13.228" v="1639" actId="20577"/>
        <pc:sldMkLst>
          <pc:docMk/>
          <pc:sldMk cId="193933266" sldId="792"/>
        </pc:sldMkLst>
        <pc:spChg chg="mod">
          <ac:chgData name="Thomas Stensitzki" userId="75cafe6b-2f2a-469b-85c4-eec3b9c972ba" providerId="ADAL" clId="{07400056-9986-479D-B453-47B484FEC0A9}" dt="2023-12-04T17:57:13.068" v="1350"/>
          <ac:spMkLst>
            <pc:docMk/>
            <pc:sldMk cId="193933266" sldId="792"/>
            <ac:spMk id="2" creationId="{F55081AF-D9C8-838D-615A-96392EF02305}"/>
          </ac:spMkLst>
        </pc:spChg>
        <pc:spChg chg="mod">
          <ac:chgData name="Thomas Stensitzki" userId="75cafe6b-2f2a-469b-85c4-eec3b9c972ba" providerId="ADAL" clId="{07400056-9986-479D-B453-47B484FEC0A9}" dt="2023-12-04T18:00:13.228" v="1639" actId="20577"/>
          <ac:spMkLst>
            <pc:docMk/>
            <pc:sldMk cId="193933266" sldId="792"/>
            <ac:spMk id="3" creationId="{87803E2D-6F7B-F3F9-2FE5-3ABC7DF11C28}"/>
          </ac:spMkLst>
        </pc:spChg>
      </pc:sldChg>
      <pc:sldChg chg="addSp delSp modSp add mod">
        <pc:chgData name="Thomas Stensitzki" userId="75cafe6b-2f2a-469b-85c4-eec3b9c972ba" providerId="ADAL" clId="{07400056-9986-479D-B453-47B484FEC0A9}" dt="2023-12-04T18:01:35.646" v="1655" actId="14100"/>
        <pc:sldMkLst>
          <pc:docMk/>
          <pc:sldMk cId="3166382124" sldId="793"/>
        </pc:sldMkLst>
        <pc:spChg chg="del">
          <ac:chgData name="Thomas Stensitzki" userId="75cafe6b-2f2a-469b-85c4-eec3b9c972ba" providerId="ADAL" clId="{07400056-9986-479D-B453-47B484FEC0A9}" dt="2023-12-04T18:00:27.227" v="1641" actId="478"/>
          <ac:spMkLst>
            <pc:docMk/>
            <pc:sldMk cId="3166382124" sldId="793"/>
            <ac:spMk id="3" creationId="{87803E2D-6F7B-F3F9-2FE5-3ABC7DF11C28}"/>
          </ac:spMkLst>
        </pc:spChg>
        <pc:spChg chg="add del mod">
          <ac:chgData name="Thomas Stensitzki" userId="75cafe6b-2f2a-469b-85c4-eec3b9c972ba" providerId="ADAL" clId="{07400056-9986-479D-B453-47B484FEC0A9}" dt="2023-12-04T18:00:32.621" v="1642" actId="478"/>
          <ac:spMkLst>
            <pc:docMk/>
            <pc:sldMk cId="3166382124" sldId="793"/>
            <ac:spMk id="5" creationId="{EB4ADDBD-13E7-0B37-30B2-154D93F464BD}"/>
          </ac:spMkLst>
        </pc:spChg>
        <pc:spChg chg="add del">
          <ac:chgData name="Thomas Stensitzki" userId="75cafe6b-2f2a-469b-85c4-eec3b9c972ba" providerId="ADAL" clId="{07400056-9986-479D-B453-47B484FEC0A9}" dt="2023-12-04T18:00:35.480" v="1644" actId="22"/>
          <ac:spMkLst>
            <pc:docMk/>
            <pc:sldMk cId="3166382124" sldId="793"/>
            <ac:spMk id="7" creationId="{C4BDA151-A929-F343-9272-8C6BEF895477}"/>
          </ac:spMkLst>
        </pc:spChg>
        <pc:spChg chg="add mod">
          <ac:chgData name="Thomas Stensitzki" userId="75cafe6b-2f2a-469b-85c4-eec3b9c972ba" providerId="ADAL" clId="{07400056-9986-479D-B453-47B484FEC0A9}" dt="2023-12-04T18:01:26.189" v="1652" actId="14100"/>
          <ac:spMkLst>
            <pc:docMk/>
            <pc:sldMk cId="3166382124" sldId="793"/>
            <ac:spMk id="10" creationId="{4EDF85B8-D24E-2DDF-B0EC-4DDE12768F65}"/>
          </ac:spMkLst>
        </pc:spChg>
        <pc:spChg chg="add mod">
          <ac:chgData name="Thomas Stensitzki" userId="75cafe6b-2f2a-469b-85c4-eec3b9c972ba" providerId="ADAL" clId="{07400056-9986-479D-B453-47B484FEC0A9}" dt="2023-12-04T18:01:35.646" v="1655" actId="14100"/>
          <ac:spMkLst>
            <pc:docMk/>
            <pc:sldMk cId="3166382124" sldId="793"/>
            <ac:spMk id="11" creationId="{277F5246-27E5-7444-20A1-67DE2C450159}"/>
          </ac:spMkLst>
        </pc:spChg>
        <pc:picChg chg="add mod">
          <ac:chgData name="Thomas Stensitzki" userId="75cafe6b-2f2a-469b-85c4-eec3b9c972ba" providerId="ADAL" clId="{07400056-9986-479D-B453-47B484FEC0A9}" dt="2023-12-04T18:00:53.105" v="1647" actId="1440"/>
          <ac:picMkLst>
            <pc:docMk/>
            <pc:sldMk cId="3166382124" sldId="793"/>
            <ac:picMk id="9" creationId="{90A524DF-91FA-6176-2A80-34D0DBF5FD98}"/>
          </ac:picMkLst>
        </pc:picChg>
      </pc:sldChg>
      <pc:sldChg chg="modSp new mod">
        <pc:chgData name="Thomas Stensitzki" userId="75cafe6b-2f2a-469b-85c4-eec3b9c972ba" providerId="ADAL" clId="{07400056-9986-479D-B453-47B484FEC0A9}" dt="2023-12-04T18:07:24.636" v="1912" actId="6549"/>
        <pc:sldMkLst>
          <pc:docMk/>
          <pc:sldMk cId="1298245871" sldId="794"/>
        </pc:sldMkLst>
        <pc:spChg chg="mod">
          <ac:chgData name="Thomas Stensitzki" userId="75cafe6b-2f2a-469b-85c4-eec3b9c972ba" providerId="ADAL" clId="{07400056-9986-479D-B453-47B484FEC0A9}" dt="2023-12-04T18:04:30.417" v="1659"/>
          <ac:spMkLst>
            <pc:docMk/>
            <pc:sldMk cId="1298245871" sldId="794"/>
            <ac:spMk id="2" creationId="{C0F0071F-7196-73AB-A813-F4DE45B6203E}"/>
          </ac:spMkLst>
        </pc:spChg>
        <pc:spChg chg="mod">
          <ac:chgData name="Thomas Stensitzki" userId="75cafe6b-2f2a-469b-85c4-eec3b9c972ba" providerId="ADAL" clId="{07400056-9986-479D-B453-47B484FEC0A9}" dt="2023-12-04T18:07:24.636" v="1912" actId="6549"/>
          <ac:spMkLst>
            <pc:docMk/>
            <pc:sldMk cId="1298245871" sldId="794"/>
            <ac:spMk id="3" creationId="{536A0348-3867-A8F3-0A78-345DEB17AC99}"/>
          </ac:spMkLst>
        </pc:spChg>
      </pc:sldChg>
      <pc:sldChg chg="addSp modSp new mod">
        <pc:chgData name="Thomas Stensitzki" userId="75cafe6b-2f2a-469b-85c4-eec3b9c972ba" providerId="ADAL" clId="{07400056-9986-479D-B453-47B484FEC0A9}" dt="2023-12-04T18:10:03.759" v="2087"/>
        <pc:sldMkLst>
          <pc:docMk/>
          <pc:sldMk cId="4022423974" sldId="795"/>
        </pc:sldMkLst>
        <pc:spChg chg="mod">
          <ac:chgData name="Thomas Stensitzki" userId="75cafe6b-2f2a-469b-85c4-eec3b9c972ba" providerId="ADAL" clId="{07400056-9986-479D-B453-47B484FEC0A9}" dt="2023-12-04T18:07:58.101" v="1916"/>
          <ac:spMkLst>
            <pc:docMk/>
            <pc:sldMk cId="4022423974" sldId="795"/>
            <ac:spMk id="2" creationId="{5EACB00B-D976-F4B5-A542-07A0F0A1E03E}"/>
          </ac:spMkLst>
        </pc:spChg>
        <pc:spChg chg="mod">
          <ac:chgData name="Thomas Stensitzki" userId="75cafe6b-2f2a-469b-85c4-eec3b9c972ba" providerId="ADAL" clId="{07400056-9986-479D-B453-47B484FEC0A9}" dt="2023-12-04T18:09:25.950" v="2086" actId="20577"/>
          <ac:spMkLst>
            <pc:docMk/>
            <pc:sldMk cId="4022423974" sldId="795"/>
            <ac:spMk id="3" creationId="{B72D1A84-4624-FF3E-BB7C-E0A177794499}"/>
          </ac:spMkLst>
        </pc:spChg>
        <pc:spChg chg="add mod">
          <ac:chgData name="Thomas Stensitzki" userId="75cafe6b-2f2a-469b-85c4-eec3b9c972ba" providerId="ADAL" clId="{07400056-9986-479D-B453-47B484FEC0A9}" dt="2023-12-04T18:10:03.759" v="2087"/>
          <ac:spMkLst>
            <pc:docMk/>
            <pc:sldMk cId="4022423974" sldId="795"/>
            <ac:spMk id="4" creationId="{7B2C5E8D-1FE0-934F-3089-A4F4403DC7AB}"/>
          </ac:spMkLst>
        </pc:spChg>
      </pc:sldChg>
      <pc:sldChg chg="addSp delSp modSp new mod">
        <pc:chgData name="Thomas Stensitzki" userId="75cafe6b-2f2a-469b-85c4-eec3b9c972ba" providerId="ADAL" clId="{07400056-9986-479D-B453-47B484FEC0A9}" dt="2023-12-04T18:20:48.108" v="2111" actId="14100"/>
        <pc:sldMkLst>
          <pc:docMk/>
          <pc:sldMk cId="29584537" sldId="796"/>
        </pc:sldMkLst>
        <pc:spChg chg="mod">
          <ac:chgData name="Thomas Stensitzki" userId="75cafe6b-2f2a-469b-85c4-eec3b9c972ba" providerId="ADAL" clId="{07400056-9986-479D-B453-47B484FEC0A9}" dt="2023-12-04T18:18:45.027" v="2093"/>
          <ac:spMkLst>
            <pc:docMk/>
            <pc:sldMk cId="29584537" sldId="796"/>
            <ac:spMk id="2" creationId="{AED3CA50-B9E3-1BA8-13B7-6553742A75BB}"/>
          </ac:spMkLst>
        </pc:spChg>
        <pc:spChg chg="del">
          <ac:chgData name="Thomas Stensitzki" userId="75cafe6b-2f2a-469b-85c4-eec3b9c972ba" providerId="ADAL" clId="{07400056-9986-479D-B453-47B484FEC0A9}" dt="2023-12-04T18:18:55.857" v="2094" actId="478"/>
          <ac:spMkLst>
            <pc:docMk/>
            <pc:sldMk cId="29584537" sldId="796"/>
            <ac:spMk id="3" creationId="{F30B4679-9469-0AF9-130F-E5311BAE2441}"/>
          </ac:spMkLst>
        </pc:spChg>
        <pc:spChg chg="add mod">
          <ac:chgData name="Thomas Stensitzki" userId="75cafe6b-2f2a-469b-85c4-eec3b9c972ba" providerId="ADAL" clId="{07400056-9986-479D-B453-47B484FEC0A9}" dt="2023-12-04T18:20:48.108" v="2111" actId="14100"/>
          <ac:spMkLst>
            <pc:docMk/>
            <pc:sldMk cId="29584537" sldId="796"/>
            <ac:spMk id="4" creationId="{8BCA6167-C3EA-5F22-0965-1CF66A96DA21}"/>
          </ac:spMkLst>
        </pc:spChg>
        <pc:picChg chg="add mod">
          <ac:chgData name="Thomas Stensitzki" userId="75cafe6b-2f2a-469b-85c4-eec3b9c972ba" providerId="ADAL" clId="{07400056-9986-479D-B453-47B484FEC0A9}" dt="2023-12-04T18:20:22.935" v="2106" actId="732"/>
          <ac:picMkLst>
            <pc:docMk/>
            <pc:sldMk cId="29584537" sldId="796"/>
            <ac:picMk id="4098" creationId="{FE85DE35-AB4A-490F-1310-B0787D0CA806}"/>
          </ac:picMkLst>
        </pc:picChg>
      </pc:sldChg>
      <pc:sldChg chg="modSp new mod">
        <pc:chgData name="Thomas Stensitzki" userId="75cafe6b-2f2a-469b-85c4-eec3b9c972ba" providerId="ADAL" clId="{07400056-9986-479D-B453-47B484FEC0A9}" dt="2023-12-04T18:24:39.046" v="2266" actId="5793"/>
        <pc:sldMkLst>
          <pc:docMk/>
          <pc:sldMk cId="2878585668" sldId="797"/>
        </pc:sldMkLst>
        <pc:spChg chg="mod">
          <ac:chgData name="Thomas Stensitzki" userId="75cafe6b-2f2a-469b-85c4-eec3b9c972ba" providerId="ADAL" clId="{07400056-9986-479D-B453-47B484FEC0A9}" dt="2023-12-04T18:23:45.631" v="2119"/>
          <ac:spMkLst>
            <pc:docMk/>
            <pc:sldMk cId="2878585668" sldId="797"/>
            <ac:spMk id="2" creationId="{31448C4F-B1D3-7020-1CC0-D94173997519}"/>
          </ac:spMkLst>
        </pc:spChg>
        <pc:spChg chg="mod">
          <ac:chgData name="Thomas Stensitzki" userId="75cafe6b-2f2a-469b-85c4-eec3b9c972ba" providerId="ADAL" clId="{07400056-9986-479D-B453-47B484FEC0A9}" dt="2023-12-04T18:24:39.046" v="2266" actId="5793"/>
          <ac:spMkLst>
            <pc:docMk/>
            <pc:sldMk cId="2878585668" sldId="797"/>
            <ac:spMk id="3" creationId="{AACB2A52-D43E-E5A1-2E10-2920EF88CEF0}"/>
          </ac:spMkLst>
        </pc:spChg>
      </pc:sldChg>
      <pc:sldChg chg="addSp delSp modSp add mod">
        <pc:chgData name="Thomas Stensitzki" userId="75cafe6b-2f2a-469b-85c4-eec3b9c972ba" providerId="ADAL" clId="{07400056-9986-479D-B453-47B484FEC0A9}" dt="2023-12-04T18:25:53.515" v="2273" actId="1440"/>
        <pc:sldMkLst>
          <pc:docMk/>
          <pc:sldMk cId="1816593351" sldId="798"/>
        </pc:sldMkLst>
        <pc:spChg chg="del">
          <ac:chgData name="Thomas Stensitzki" userId="75cafe6b-2f2a-469b-85c4-eec3b9c972ba" providerId="ADAL" clId="{07400056-9986-479D-B453-47B484FEC0A9}" dt="2023-12-04T18:25:40.677" v="2268" actId="478"/>
          <ac:spMkLst>
            <pc:docMk/>
            <pc:sldMk cId="1816593351" sldId="798"/>
            <ac:spMk id="3" creationId="{AACB2A52-D43E-E5A1-2E10-2920EF88CEF0}"/>
          </ac:spMkLst>
        </pc:spChg>
        <pc:spChg chg="add del mod">
          <ac:chgData name="Thomas Stensitzki" userId="75cafe6b-2f2a-469b-85c4-eec3b9c972ba" providerId="ADAL" clId="{07400056-9986-479D-B453-47B484FEC0A9}" dt="2023-12-04T18:25:41.454" v="2269" actId="478"/>
          <ac:spMkLst>
            <pc:docMk/>
            <pc:sldMk cId="1816593351" sldId="798"/>
            <ac:spMk id="5" creationId="{0432193B-7AAC-9DC0-F0F0-00849078B2A4}"/>
          </ac:spMkLst>
        </pc:spChg>
        <pc:picChg chg="add mod">
          <ac:chgData name="Thomas Stensitzki" userId="75cafe6b-2f2a-469b-85c4-eec3b9c972ba" providerId="ADAL" clId="{07400056-9986-479D-B453-47B484FEC0A9}" dt="2023-12-04T18:25:53.515" v="2273" actId="1440"/>
          <ac:picMkLst>
            <pc:docMk/>
            <pc:sldMk cId="1816593351" sldId="798"/>
            <ac:picMk id="7" creationId="{C1277FDF-F394-7472-BB15-B66AACD35F02}"/>
          </ac:picMkLst>
        </pc:picChg>
      </pc:sldChg>
      <pc:sldChg chg="addSp delSp modSp new mod modClrScheme chgLayout">
        <pc:chgData name="Thomas Stensitzki" userId="75cafe6b-2f2a-469b-85c4-eec3b9c972ba" providerId="ADAL" clId="{07400056-9986-479D-B453-47B484FEC0A9}" dt="2023-12-05T11:29:38.064" v="2352" actId="1076"/>
        <pc:sldMkLst>
          <pc:docMk/>
          <pc:sldMk cId="637214480" sldId="799"/>
        </pc:sldMkLst>
        <pc:spChg chg="del mod ord">
          <ac:chgData name="Thomas Stensitzki" userId="75cafe6b-2f2a-469b-85c4-eec3b9c972ba" providerId="ADAL" clId="{07400056-9986-479D-B453-47B484FEC0A9}" dt="2023-12-05T11:27:31.682" v="2338" actId="700"/>
          <ac:spMkLst>
            <pc:docMk/>
            <pc:sldMk cId="637214480" sldId="799"/>
            <ac:spMk id="2" creationId="{4AFF3326-E9DB-8F09-59F4-CA799F90D7CE}"/>
          </ac:spMkLst>
        </pc:spChg>
        <pc:spChg chg="del mod ord">
          <ac:chgData name="Thomas Stensitzki" userId="75cafe6b-2f2a-469b-85c4-eec3b9c972ba" providerId="ADAL" clId="{07400056-9986-479D-B453-47B484FEC0A9}" dt="2023-12-05T11:27:31.682" v="2338" actId="700"/>
          <ac:spMkLst>
            <pc:docMk/>
            <pc:sldMk cId="637214480" sldId="799"/>
            <ac:spMk id="3" creationId="{23ED7882-1DD6-014F-58C8-A35A4F1A7E59}"/>
          </ac:spMkLst>
        </pc:spChg>
        <pc:spChg chg="add mod ord">
          <ac:chgData name="Thomas Stensitzki" userId="75cafe6b-2f2a-469b-85c4-eec3b9c972ba" providerId="ADAL" clId="{07400056-9986-479D-B453-47B484FEC0A9}" dt="2023-12-05T11:28:00.939" v="2347" actId="20577"/>
          <ac:spMkLst>
            <pc:docMk/>
            <pc:sldMk cId="637214480" sldId="799"/>
            <ac:spMk id="4" creationId="{79D15E72-51A7-E7E1-DAA9-0DDB8D672E43}"/>
          </ac:spMkLst>
        </pc:spChg>
        <pc:spChg chg="add mod ord">
          <ac:chgData name="Thomas Stensitzki" userId="75cafe6b-2f2a-469b-85c4-eec3b9c972ba" providerId="ADAL" clId="{07400056-9986-479D-B453-47B484FEC0A9}" dt="2023-12-05T11:28:07.688" v="2349" actId="20577"/>
          <ac:spMkLst>
            <pc:docMk/>
            <pc:sldMk cId="637214480" sldId="799"/>
            <ac:spMk id="5" creationId="{0F34587B-7B2E-CE23-2A93-648A846C076A}"/>
          </ac:spMkLst>
        </pc:spChg>
        <pc:picChg chg="add mod">
          <ac:chgData name="Thomas Stensitzki" userId="75cafe6b-2f2a-469b-85c4-eec3b9c972ba" providerId="ADAL" clId="{07400056-9986-479D-B453-47B484FEC0A9}" dt="2023-12-05T11:29:38.064" v="2352" actId="1076"/>
          <ac:picMkLst>
            <pc:docMk/>
            <pc:sldMk cId="637214480" sldId="799"/>
            <ac:picMk id="7" creationId="{A23D7302-83AF-1250-624A-1D0916FD321D}"/>
          </ac:picMkLst>
        </pc:picChg>
      </pc:sldChg>
      <pc:sldChg chg="modSp add mod ord">
        <pc:chgData name="Thomas Stensitzki" userId="75cafe6b-2f2a-469b-85c4-eec3b9c972ba" providerId="ADAL" clId="{07400056-9986-479D-B453-47B484FEC0A9}" dt="2023-12-05T11:30:30.826" v="2405" actId="20577"/>
        <pc:sldMkLst>
          <pc:docMk/>
          <pc:sldMk cId="2236025408" sldId="800"/>
        </pc:sldMkLst>
        <pc:spChg chg="mod">
          <ac:chgData name="Thomas Stensitzki" userId="75cafe6b-2f2a-469b-85c4-eec3b9c972ba" providerId="ADAL" clId="{07400056-9986-479D-B453-47B484FEC0A9}" dt="2023-12-05T11:30:22.551" v="2395" actId="20577"/>
          <ac:spMkLst>
            <pc:docMk/>
            <pc:sldMk cId="2236025408" sldId="800"/>
            <ac:spMk id="4" creationId="{F3A15CBD-C746-44A3-A4F0-4898CE2F02E6}"/>
          </ac:spMkLst>
        </pc:spChg>
        <pc:spChg chg="mod">
          <ac:chgData name="Thomas Stensitzki" userId="75cafe6b-2f2a-469b-85c4-eec3b9c972ba" providerId="ADAL" clId="{07400056-9986-479D-B453-47B484FEC0A9}" dt="2023-12-05T11:30:30.826" v="2405" actId="20577"/>
          <ac:spMkLst>
            <pc:docMk/>
            <pc:sldMk cId="2236025408" sldId="800"/>
            <ac:spMk id="5" creationId="{F3459BE7-1731-4733-A912-12977C68CFD6}"/>
          </ac:spMkLst>
        </pc:spChg>
      </pc:sldChg>
      <pc:sldChg chg="modSp add mod ord">
        <pc:chgData name="Thomas Stensitzki" userId="75cafe6b-2f2a-469b-85c4-eec3b9c972ba" providerId="ADAL" clId="{07400056-9986-479D-B453-47B484FEC0A9}" dt="2023-12-07T10:06:11.706" v="2491" actId="1035"/>
        <pc:sldMkLst>
          <pc:docMk/>
          <pc:sldMk cId="1384083710" sldId="801"/>
        </pc:sldMkLst>
        <pc:spChg chg="mod">
          <ac:chgData name="Thomas Stensitzki" userId="75cafe6b-2f2a-469b-85c4-eec3b9c972ba" providerId="ADAL" clId="{07400056-9986-479D-B453-47B484FEC0A9}" dt="2023-12-07T10:06:11.706" v="2491" actId="1035"/>
          <ac:spMkLst>
            <pc:docMk/>
            <pc:sldMk cId="1384083710" sldId="801"/>
            <ac:spMk id="2" creationId="{909DC09D-B9A6-4493-9A72-1CA7ECB1F5CA}"/>
          </ac:spMkLst>
        </pc:spChg>
      </pc:sldChg>
      <pc:sldChg chg="modSp add mod ord">
        <pc:chgData name="Thomas Stensitzki" userId="75cafe6b-2f2a-469b-85c4-eec3b9c972ba" providerId="ADAL" clId="{07400056-9986-479D-B453-47B484FEC0A9}" dt="2023-12-07T10:06:30.138" v="2524" actId="1035"/>
        <pc:sldMkLst>
          <pc:docMk/>
          <pc:sldMk cId="3277662355" sldId="802"/>
        </pc:sldMkLst>
        <pc:spChg chg="mod">
          <ac:chgData name="Thomas Stensitzki" userId="75cafe6b-2f2a-469b-85c4-eec3b9c972ba" providerId="ADAL" clId="{07400056-9986-479D-B453-47B484FEC0A9}" dt="2023-12-07T10:06:30.138" v="2524" actId="1035"/>
          <ac:spMkLst>
            <pc:docMk/>
            <pc:sldMk cId="3277662355" sldId="802"/>
            <ac:spMk id="2" creationId="{909DC09D-B9A6-4493-9A72-1CA7ECB1F5CA}"/>
          </ac:spMkLst>
        </pc:spChg>
      </pc:sldChg>
      <pc:sldChg chg="modSp add mod ord">
        <pc:chgData name="Thomas Stensitzki" userId="75cafe6b-2f2a-469b-85c4-eec3b9c972ba" providerId="ADAL" clId="{07400056-9986-479D-B453-47B484FEC0A9}" dt="2023-12-07T10:06:44.602" v="2554" actId="1035"/>
        <pc:sldMkLst>
          <pc:docMk/>
          <pc:sldMk cId="1639868060" sldId="803"/>
        </pc:sldMkLst>
        <pc:spChg chg="mod">
          <ac:chgData name="Thomas Stensitzki" userId="75cafe6b-2f2a-469b-85c4-eec3b9c972ba" providerId="ADAL" clId="{07400056-9986-479D-B453-47B484FEC0A9}" dt="2023-12-07T10:06:44.602" v="2554" actId="1035"/>
          <ac:spMkLst>
            <pc:docMk/>
            <pc:sldMk cId="1639868060" sldId="803"/>
            <ac:spMk id="2" creationId="{909DC09D-B9A6-4493-9A72-1CA7ECB1F5CA}"/>
          </ac:spMkLst>
        </pc:spChg>
      </pc:sldChg>
      <pc:sldChg chg="modSp add mod">
        <pc:chgData name="Thomas Stensitzki" userId="75cafe6b-2f2a-469b-85c4-eec3b9c972ba" providerId="ADAL" clId="{07400056-9986-479D-B453-47B484FEC0A9}" dt="2023-12-07T10:06:51.798" v="2572" actId="1035"/>
        <pc:sldMkLst>
          <pc:docMk/>
          <pc:sldMk cId="837969311" sldId="804"/>
        </pc:sldMkLst>
        <pc:spChg chg="mod">
          <ac:chgData name="Thomas Stensitzki" userId="75cafe6b-2f2a-469b-85c4-eec3b9c972ba" providerId="ADAL" clId="{07400056-9986-479D-B453-47B484FEC0A9}" dt="2023-12-07T10:06:51.798" v="2572" actId="1035"/>
          <ac:spMkLst>
            <pc:docMk/>
            <pc:sldMk cId="837969311" sldId="804"/>
            <ac:spMk id="2" creationId="{909DC09D-B9A6-4493-9A72-1CA7ECB1F5CA}"/>
          </ac:spMkLst>
        </pc:spChg>
      </pc:sldChg>
      <pc:sldChg chg="modSp add mod ord">
        <pc:chgData name="Thomas Stensitzki" userId="75cafe6b-2f2a-469b-85c4-eec3b9c972ba" providerId="ADAL" clId="{07400056-9986-479D-B453-47B484FEC0A9}" dt="2023-12-07T10:07:11.239" v="2593" actId="14100"/>
        <pc:sldMkLst>
          <pc:docMk/>
          <pc:sldMk cId="3723091307" sldId="805"/>
        </pc:sldMkLst>
        <pc:spChg chg="mod">
          <ac:chgData name="Thomas Stensitzki" userId="75cafe6b-2f2a-469b-85c4-eec3b9c972ba" providerId="ADAL" clId="{07400056-9986-479D-B453-47B484FEC0A9}" dt="2023-12-07T10:07:11.239" v="2593" actId="14100"/>
          <ac:spMkLst>
            <pc:docMk/>
            <pc:sldMk cId="3723091307" sldId="805"/>
            <ac:spMk id="2" creationId="{909DC09D-B9A6-4493-9A72-1CA7ECB1F5CA}"/>
          </ac:spMkLst>
        </pc:spChg>
      </pc:sldChg>
      <pc:sldChg chg="modSp add mod ord">
        <pc:chgData name="Thomas Stensitzki" userId="75cafe6b-2f2a-469b-85c4-eec3b9c972ba" providerId="ADAL" clId="{07400056-9986-479D-B453-47B484FEC0A9}" dt="2023-12-07T10:07:19.917" v="2597" actId="1076"/>
        <pc:sldMkLst>
          <pc:docMk/>
          <pc:sldMk cId="2299597820" sldId="806"/>
        </pc:sldMkLst>
        <pc:spChg chg="mod">
          <ac:chgData name="Thomas Stensitzki" userId="75cafe6b-2f2a-469b-85c4-eec3b9c972ba" providerId="ADAL" clId="{07400056-9986-479D-B453-47B484FEC0A9}" dt="2023-12-07T10:07:19.917" v="2597" actId="1076"/>
          <ac:spMkLst>
            <pc:docMk/>
            <pc:sldMk cId="2299597820" sldId="806"/>
            <ac:spMk id="2" creationId="{909DC09D-B9A6-4493-9A72-1CA7ECB1F5CA}"/>
          </ac:spMkLst>
        </pc:spChg>
      </pc:sldChg>
      <pc:sldChg chg="modSp add mod ord">
        <pc:chgData name="Thomas Stensitzki" userId="75cafe6b-2f2a-469b-85c4-eec3b9c972ba" providerId="ADAL" clId="{07400056-9986-479D-B453-47B484FEC0A9}" dt="2023-12-07T10:07:31.430" v="2601" actId="1076"/>
        <pc:sldMkLst>
          <pc:docMk/>
          <pc:sldMk cId="2929813273" sldId="807"/>
        </pc:sldMkLst>
        <pc:spChg chg="mod">
          <ac:chgData name="Thomas Stensitzki" userId="75cafe6b-2f2a-469b-85c4-eec3b9c972ba" providerId="ADAL" clId="{07400056-9986-479D-B453-47B484FEC0A9}" dt="2023-12-07T10:07:31.430" v="2601" actId="1076"/>
          <ac:spMkLst>
            <pc:docMk/>
            <pc:sldMk cId="2929813273" sldId="807"/>
            <ac:spMk id="2" creationId="{909DC09D-B9A6-4493-9A72-1CA7ECB1F5CA}"/>
          </ac:spMkLst>
        </pc:spChg>
      </pc:sldChg>
      <pc:sldChg chg="modSp add mod ord">
        <pc:chgData name="Thomas Stensitzki" userId="75cafe6b-2f2a-469b-85c4-eec3b9c972ba" providerId="ADAL" clId="{07400056-9986-479D-B453-47B484FEC0A9}" dt="2023-12-07T10:07:45.994" v="2606" actId="14100"/>
        <pc:sldMkLst>
          <pc:docMk/>
          <pc:sldMk cId="1048868386" sldId="808"/>
        </pc:sldMkLst>
        <pc:spChg chg="mod">
          <ac:chgData name="Thomas Stensitzki" userId="75cafe6b-2f2a-469b-85c4-eec3b9c972ba" providerId="ADAL" clId="{07400056-9986-479D-B453-47B484FEC0A9}" dt="2023-12-07T10:07:45.994" v="2606" actId="14100"/>
          <ac:spMkLst>
            <pc:docMk/>
            <pc:sldMk cId="1048868386" sldId="808"/>
            <ac:spMk id="2" creationId="{909DC09D-B9A6-4493-9A72-1CA7ECB1F5CA}"/>
          </ac:spMkLst>
        </pc:spChg>
      </pc:sldChg>
      <pc:sldChg chg="modSp add mod ord">
        <pc:chgData name="Thomas Stensitzki" userId="75cafe6b-2f2a-469b-85c4-eec3b9c972ba" providerId="ADAL" clId="{07400056-9986-479D-B453-47B484FEC0A9}" dt="2023-12-07T10:08:02.137" v="2610" actId="1076"/>
        <pc:sldMkLst>
          <pc:docMk/>
          <pc:sldMk cId="2277331612" sldId="809"/>
        </pc:sldMkLst>
        <pc:spChg chg="mod">
          <ac:chgData name="Thomas Stensitzki" userId="75cafe6b-2f2a-469b-85c4-eec3b9c972ba" providerId="ADAL" clId="{07400056-9986-479D-B453-47B484FEC0A9}" dt="2023-12-07T10:08:02.137" v="2610" actId="1076"/>
          <ac:spMkLst>
            <pc:docMk/>
            <pc:sldMk cId="2277331612" sldId="809"/>
            <ac:spMk id="2" creationId="{909DC09D-B9A6-4493-9A72-1CA7ECB1F5CA}"/>
          </ac:spMkLst>
        </pc:spChg>
      </pc:sldChg>
      <pc:sldChg chg="modSp add mod ord">
        <pc:chgData name="Thomas Stensitzki" userId="75cafe6b-2f2a-469b-85c4-eec3b9c972ba" providerId="ADAL" clId="{07400056-9986-479D-B453-47B484FEC0A9}" dt="2023-12-07T10:08:10.286" v="2614" actId="1076"/>
        <pc:sldMkLst>
          <pc:docMk/>
          <pc:sldMk cId="2767561560" sldId="810"/>
        </pc:sldMkLst>
        <pc:spChg chg="mod">
          <ac:chgData name="Thomas Stensitzki" userId="75cafe6b-2f2a-469b-85c4-eec3b9c972ba" providerId="ADAL" clId="{07400056-9986-479D-B453-47B484FEC0A9}" dt="2023-12-07T10:08:10.286" v="2614" actId="1076"/>
          <ac:spMkLst>
            <pc:docMk/>
            <pc:sldMk cId="2767561560" sldId="810"/>
            <ac:spMk id="2" creationId="{909DC09D-B9A6-4493-9A72-1CA7ECB1F5CA}"/>
          </ac:spMkLst>
        </pc:spChg>
      </pc:sldChg>
      <pc:sldMasterChg chg="modSp mod modSldLayout">
        <pc:chgData name="Thomas Stensitzki" userId="75cafe6b-2f2a-469b-85c4-eec3b9c972ba" providerId="ADAL" clId="{07400056-9986-479D-B453-47B484FEC0A9}" dt="2023-12-05T11:33:02.442" v="2426" actId="14100"/>
        <pc:sldMasterMkLst>
          <pc:docMk/>
          <pc:sldMasterMk cId="277911257" sldId="2147483648"/>
        </pc:sldMasterMkLst>
        <pc:spChg chg="mod">
          <ac:chgData name="Thomas Stensitzki" userId="75cafe6b-2f2a-469b-85c4-eec3b9c972ba" providerId="ADAL" clId="{07400056-9986-479D-B453-47B484FEC0A9}" dt="2023-12-05T11:32:21.001" v="2424" actId="14100"/>
          <ac:spMkLst>
            <pc:docMk/>
            <pc:sldMasterMk cId="277911257" sldId="2147483648"/>
            <ac:spMk id="9" creationId="{2406A12C-E783-4BE5-BEFC-AA493EA54917}"/>
          </ac:spMkLst>
        </pc:spChg>
        <pc:sldLayoutChg chg="modSp mod">
          <pc:chgData name="Thomas Stensitzki" userId="75cafe6b-2f2a-469b-85c4-eec3b9c972ba" providerId="ADAL" clId="{07400056-9986-479D-B453-47B484FEC0A9}" dt="2023-12-05T11:33:02.442" v="2426" actId="14100"/>
          <pc:sldLayoutMkLst>
            <pc:docMk/>
            <pc:sldMasterMk cId="277911257" sldId="2147483648"/>
            <pc:sldLayoutMk cId="3364905932" sldId="2147483649"/>
          </pc:sldLayoutMkLst>
          <pc:spChg chg="mod">
            <ac:chgData name="Thomas Stensitzki" userId="75cafe6b-2f2a-469b-85c4-eec3b9c972ba" providerId="ADAL" clId="{07400056-9986-479D-B453-47B484FEC0A9}" dt="2023-12-05T11:33:02.442" v="2426" actId="14100"/>
            <ac:spMkLst>
              <pc:docMk/>
              <pc:sldMasterMk cId="277911257" sldId="2147483648"/>
              <pc:sldLayoutMk cId="3364905932" sldId="2147483649"/>
              <ac:spMk id="4" creationId="{DC492C04-9595-4D88-A6FA-ABEAC2147667}"/>
            </ac:spMkLst>
          </pc:spChg>
        </pc:sldLayoutChg>
      </pc:sldMasterChg>
    </pc:docChg>
  </pc:docChgLst>
  <pc:docChgLst>
    <pc:chgData name="Thomas Stensitzki" userId="S::thomas.stensitzki@granikos.eu::75cafe6b-2f2a-469b-85c4-eec3b9c972ba" providerId="AD" clId="Web-{B54B06DF-100B-44E6-958F-2F982B87E4AB}"/>
    <pc:docChg chg="addSld delSld modSld sldOrd modSection">
      <pc:chgData name="Thomas Stensitzki" userId="S::thomas.stensitzki@granikos.eu::75cafe6b-2f2a-469b-85c4-eec3b9c972ba" providerId="AD" clId="Web-{B54B06DF-100B-44E6-958F-2F982B87E4AB}" dt="2023-05-23T09:05:24.477" v="131"/>
      <pc:docMkLst>
        <pc:docMk/>
      </pc:docMkLst>
      <pc:sldChg chg="modTransition">
        <pc:chgData name="Thomas Stensitzki" userId="S::thomas.stensitzki@granikos.eu::75cafe6b-2f2a-469b-85c4-eec3b9c972ba" providerId="AD" clId="Web-{B54B06DF-100B-44E6-958F-2F982B87E4AB}" dt="2023-05-23T08:52:10.372" v="24"/>
        <pc:sldMkLst>
          <pc:docMk/>
          <pc:sldMk cId="671489701" sldId="256"/>
        </pc:sldMkLst>
      </pc:sldChg>
      <pc:sldChg chg="modTransition">
        <pc:chgData name="Thomas Stensitzki" userId="S::thomas.stensitzki@granikos.eu::75cafe6b-2f2a-469b-85c4-eec3b9c972ba" providerId="AD" clId="Web-{B54B06DF-100B-44E6-958F-2F982B87E4AB}" dt="2023-05-23T08:52:10.372" v="26"/>
        <pc:sldMkLst>
          <pc:docMk/>
          <pc:sldMk cId="2855324227" sldId="257"/>
        </pc:sldMkLst>
      </pc:sldChg>
      <pc:sldChg chg="modTransition">
        <pc:chgData name="Thomas Stensitzki" userId="S::thomas.stensitzki@granikos.eu::75cafe6b-2f2a-469b-85c4-eec3b9c972ba" providerId="AD" clId="Web-{B54B06DF-100B-44E6-958F-2F982B87E4AB}" dt="2023-05-23T08:52:10.388" v="87"/>
        <pc:sldMkLst>
          <pc:docMk/>
          <pc:sldMk cId="3332792154" sldId="258"/>
        </pc:sldMkLst>
      </pc:sldChg>
      <pc:sldChg chg="modTransition">
        <pc:chgData name="Thomas Stensitzki" userId="S::thomas.stensitzki@granikos.eu::75cafe6b-2f2a-469b-85c4-eec3b9c972ba" providerId="AD" clId="Web-{B54B06DF-100B-44E6-958F-2F982B87E4AB}" dt="2023-05-23T08:52:10.372" v="25"/>
        <pc:sldMkLst>
          <pc:docMk/>
          <pc:sldMk cId="1545829058" sldId="259"/>
        </pc:sldMkLst>
      </pc:sldChg>
      <pc:sldChg chg="modTransition">
        <pc:chgData name="Thomas Stensitzki" userId="S::thomas.stensitzki@granikos.eu::75cafe6b-2f2a-469b-85c4-eec3b9c972ba" providerId="AD" clId="Web-{B54B06DF-100B-44E6-958F-2F982B87E4AB}" dt="2023-05-23T08:52:10.372" v="27"/>
        <pc:sldMkLst>
          <pc:docMk/>
          <pc:sldMk cId="2698998357" sldId="260"/>
        </pc:sldMkLst>
      </pc:sldChg>
      <pc:sldChg chg="modTransition">
        <pc:chgData name="Thomas Stensitzki" userId="S::thomas.stensitzki@granikos.eu::75cafe6b-2f2a-469b-85c4-eec3b9c972ba" providerId="AD" clId="Web-{B54B06DF-100B-44E6-958F-2F982B87E4AB}" dt="2023-05-23T08:52:10.372" v="29"/>
        <pc:sldMkLst>
          <pc:docMk/>
          <pc:sldMk cId="4007670073" sldId="268"/>
        </pc:sldMkLst>
      </pc:sldChg>
      <pc:sldChg chg="modTransition">
        <pc:chgData name="Thomas Stensitzki" userId="S::thomas.stensitzki@granikos.eu::75cafe6b-2f2a-469b-85c4-eec3b9c972ba" providerId="AD" clId="Web-{B54B06DF-100B-44E6-958F-2F982B87E4AB}" dt="2023-05-23T08:52:10.388" v="81"/>
        <pc:sldMkLst>
          <pc:docMk/>
          <pc:sldMk cId="2721051844" sldId="269"/>
        </pc:sldMkLst>
      </pc:sldChg>
      <pc:sldChg chg="modTransition">
        <pc:chgData name="Thomas Stensitzki" userId="S::thomas.stensitzki@granikos.eu::75cafe6b-2f2a-469b-85c4-eec3b9c972ba" providerId="AD" clId="Web-{B54B06DF-100B-44E6-958F-2F982B87E4AB}" dt="2023-05-23T08:52:10.388" v="88"/>
        <pc:sldMkLst>
          <pc:docMk/>
          <pc:sldMk cId="1928334901" sldId="295"/>
        </pc:sldMkLst>
      </pc:sldChg>
      <pc:sldChg chg="modTransition">
        <pc:chgData name="Thomas Stensitzki" userId="S::thomas.stensitzki@granikos.eu::75cafe6b-2f2a-469b-85c4-eec3b9c972ba" providerId="AD" clId="Web-{B54B06DF-100B-44E6-958F-2F982B87E4AB}" dt="2023-05-23T08:52:10.388" v="83"/>
        <pc:sldMkLst>
          <pc:docMk/>
          <pc:sldMk cId="2814967912" sldId="311"/>
        </pc:sldMkLst>
      </pc:sldChg>
      <pc:sldChg chg="modTransition">
        <pc:chgData name="Thomas Stensitzki" userId="S::thomas.stensitzki@granikos.eu::75cafe6b-2f2a-469b-85c4-eec3b9c972ba" providerId="AD" clId="Web-{B54B06DF-100B-44E6-958F-2F982B87E4AB}" dt="2023-05-23T08:52:10.372" v="30"/>
        <pc:sldMkLst>
          <pc:docMk/>
          <pc:sldMk cId="2227487991" sldId="378"/>
        </pc:sldMkLst>
      </pc:sldChg>
      <pc:sldChg chg="modTransition">
        <pc:chgData name="Thomas Stensitzki" userId="S::thomas.stensitzki@granikos.eu::75cafe6b-2f2a-469b-85c4-eec3b9c972ba" providerId="AD" clId="Web-{B54B06DF-100B-44E6-958F-2F982B87E4AB}" dt="2023-05-23T08:52:10.388" v="84"/>
        <pc:sldMkLst>
          <pc:docMk/>
          <pc:sldMk cId="2923837414" sldId="513"/>
        </pc:sldMkLst>
      </pc:sldChg>
      <pc:sldChg chg="modTransition">
        <pc:chgData name="Thomas Stensitzki" userId="S::thomas.stensitzki@granikos.eu::75cafe6b-2f2a-469b-85c4-eec3b9c972ba" providerId="AD" clId="Web-{B54B06DF-100B-44E6-958F-2F982B87E4AB}" dt="2023-05-23T08:52:10.388" v="82"/>
        <pc:sldMkLst>
          <pc:docMk/>
          <pc:sldMk cId="2395924320" sldId="514"/>
        </pc:sldMkLst>
      </pc:sldChg>
      <pc:sldChg chg="modTransition">
        <pc:chgData name="Thomas Stensitzki" userId="S::thomas.stensitzki@granikos.eu::75cafe6b-2f2a-469b-85c4-eec3b9c972ba" providerId="AD" clId="Web-{B54B06DF-100B-44E6-958F-2F982B87E4AB}" dt="2023-05-23T08:52:10.372" v="48"/>
        <pc:sldMkLst>
          <pc:docMk/>
          <pc:sldMk cId="3797754622" sldId="515"/>
        </pc:sldMkLst>
      </pc:sldChg>
      <pc:sldChg chg="modTransition">
        <pc:chgData name="Thomas Stensitzki" userId="S::thomas.stensitzki@granikos.eu::75cafe6b-2f2a-469b-85c4-eec3b9c972ba" providerId="AD" clId="Web-{B54B06DF-100B-44E6-958F-2F982B87E4AB}" dt="2023-05-23T08:52:10.388" v="86"/>
        <pc:sldMkLst>
          <pc:docMk/>
          <pc:sldMk cId="2791634409" sldId="560"/>
        </pc:sldMkLst>
      </pc:sldChg>
      <pc:sldChg chg="modTransition">
        <pc:chgData name="Thomas Stensitzki" userId="S::thomas.stensitzki@granikos.eu::75cafe6b-2f2a-469b-85c4-eec3b9c972ba" providerId="AD" clId="Web-{B54B06DF-100B-44E6-958F-2F982B87E4AB}" dt="2023-05-23T08:52:10.372" v="28"/>
        <pc:sldMkLst>
          <pc:docMk/>
          <pc:sldMk cId="1051205786" sldId="607"/>
        </pc:sldMkLst>
      </pc:sldChg>
      <pc:sldChg chg="modTransition">
        <pc:chgData name="Thomas Stensitzki" userId="S::thomas.stensitzki@granikos.eu::75cafe6b-2f2a-469b-85c4-eec3b9c972ba" providerId="AD" clId="Web-{B54B06DF-100B-44E6-958F-2F982B87E4AB}" dt="2023-05-23T08:52:10.372" v="47"/>
        <pc:sldMkLst>
          <pc:docMk/>
          <pc:sldMk cId="1962477249" sldId="659"/>
        </pc:sldMkLst>
      </pc:sldChg>
      <pc:sldChg chg="del">
        <pc:chgData name="Thomas Stensitzki" userId="S::thomas.stensitzki@granikos.eu::75cafe6b-2f2a-469b-85c4-eec3b9c972ba" providerId="AD" clId="Web-{B54B06DF-100B-44E6-958F-2F982B87E4AB}" dt="2023-05-23T08:50:43.635" v="18"/>
        <pc:sldMkLst>
          <pc:docMk/>
          <pc:sldMk cId="2553020497" sldId="660"/>
        </pc:sldMkLst>
      </pc:sldChg>
      <pc:sldChg chg="modTransition">
        <pc:chgData name="Thomas Stensitzki" userId="S::thomas.stensitzki@granikos.eu::75cafe6b-2f2a-469b-85c4-eec3b9c972ba" providerId="AD" clId="Web-{B54B06DF-100B-44E6-958F-2F982B87E4AB}" dt="2023-05-23T08:52:10.388" v="71"/>
        <pc:sldMkLst>
          <pc:docMk/>
          <pc:sldMk cId="4212332529" sldId="661"/>
        </pc:sldMkLst>
      </pc:sldChg>
      <pc:sldChg chg="modSp modTransition">
        <pc:chgData name="Thomas Stensitzki" userId="S::thomas.stensitzki@granikos.eu::75cafe6b-2f2a-469b-85c4-eec3b9c972ba" providerId="AD" clId="Web-{B54B06DF-100B-44E6-958F-2F982B87E4AB}" dt="2023-05-23T08:52:10.388" v="80"/>
        <pc:sldMkLst>
          <pc:docMk/>
          <pc:sldMk cId="3400462124" sldId="662"/>
        </pc:sldMkLst>
        <pc:spChg chg="mod">
          <ac:chgData name="Thomas Stensitzki" userId="S::thomas.stensitzki@granikos.eu::75cafe6b-2f2a-469b-85c4-eec3b9c972ba" providerId="AD" clId="Web-{B54B06DF-100B-44E6-958F-2F982B87E4AB}" dt="2023-05-23T08:50:41.963" v="17" actId="20577"/>
          <ac:spMkLst>
            <pc:docMk/>
            <pc:sldMk cId="3400462124" sldId="662"/>
            <ac:spMk id="5" creationId="{E7E44277-3BFB-F197-AA87-8A0AE4DCEB5D}"/>
          </ac:spMkLst>
        </pc:spChg>
      </pc:sldChg>
      <pc:sldChg chg="modTransition">
        <pc:chgData name="Thomas Stensitzki" userId="S::thomas.stensitzki@granikos.eu::75cafe6b-2f2a-469b-85c4-eec3b9c972ba" providerId="AD" clId="Web-{B54B06DF-100B-44E6-958F-2F982B87E4AB}" dt="2023-05-23T08:52:10.388" v="72"/>
        <pc:sldMkLst>
          <pc:docMk/>
          <pc:sldMk cId="3908660988" sldId="663"/>
        </pc:sldMkLst>
      </pc:sldChg>
      <pc:sldChg chg="modTransition">
        <pc:chgData name="Thomas Stensitzki" userId="S::thomas.stensitzki@granikos.eu::75cafe6b-2f2a-469b-85c4-eec3b9c972ba" providerId="AD" clId="Web-{B54B06DF-100B-44E6-958F-2F982B87E4AB}" dt="2023-05-23T08:52:10.388" v="78"/>
        <pc:sldMkLst>
          <pc:docMk/>
          <pc:sldMk cId="1830824739" sldId="664"/>
        </pc:sldMkLst>
      </pc:sldChg>
      <pc:sldChg chg="modTransition">
        <pc:chgData name="Thomas Stensitzki" userId="S::thomas.stensitzki@granikos.eu::75cafe6b-2f2a-469b-85c4-eec3b9c972ba" providerId="AD" clId="Web-{B54B06DF-100B-44E6-958F-2F982B87E4AB}" dt="2023-05-23T08:52:10.388" v="73"/>
        <pc:sldMkLst>
          <pc:docMk/>
          <pc:sldMk cId="923570546" sldId="665"/>
        </pc:sldMkLst>
      </pc:sldChg>
      <pc:sldChg chg="modTransition">
        <pc:chgData name="Thomas Stensitzki" userId="S::thomas.stensitzki@granikos.eu::75cafe6b-2f2a-469b-85c4-eec3b9c972ba" providerId="AD" clId="Web-{B54B06DF-100B-44E6-958F-2F982B87E4AB}" dt="2023-05-23T08:52:10.388" v="79"/>
        <pc:sldMkLst>
          <pc:docMk/>
          <pc:sldMk cId="2929133666" sldId="666"/>
        </pc:sldMkLst>
      </pc:sldChg>
      <pc:sldChg chg="modTransition">
        <pc:chgData name="Thomas Stensitzki" userId="S::thomas.stensitzki@granikos.eu::75cafe6b-2f2a-469b-85c4-eec3b9c972ba" providerId="AD" clId="Web-{B54B06DF-100B-44E6-958F-2F982B87E4AB}" dt="2023-05-23T08:52:10.388" v="75"/>
        <pc:sldMkLst>
          <pc:docMk/>
          <pc:sldMk cId="3802477703" sldId="667"/>
        </pc:sldMkLst>
      </pc:sldChg>
      <pc:sldChg chg="modTransition">
        <pc:chgData name="Thomas Stensitzki" userId="S::thomas.stensitzki@granikos.eu::75cafe6b-2f2a-469b-85c4-eec3b9c972ba" providerId="AD" clId="Web-{B54B06DF-100B-44E6-958F-2F982B87E4AB}" dt="2023-05-23T08:52:10.388" v="76"/>
        <pc:sldMkLst>
          <pc:docMk/>
          <pc:sldMk cId="1650060701" sldId="668"/>
        </pc:sldMkLst>
      </pc:sldChg>
      <pc:sldChg chg="modTransition">
        <pc:chgData name="Thomas Stensitzki" userId="S::thomas.stensitzki@granikos.eu::75cafe6b-2f2a-469b-85c4-eec3b9c972ba" providerId="AD" clId="Web-{B54B06DF-100B-44E6-958F-2F982B87E4AB}" dt="2023-05-23T08:52:10.388" v="77"/>
        <pc:sldMkLst>
          <pc:docMk/>
          <pc:sldMk cId="3682317345" sldId="670"/>
        </pc:sldMkLst>
      </pc:sldChg>
      <pc:sldChg chg="modTransition">
        <pc:chgData name="Thomas Stensitzki" userId="S::thomas.stensitzki@granikos.eu::75cafe6b-2f2a-469b-85c4-eec3b9c972ba" providerId="AD" clId="Web-{B54B06DF-100B-44E6-958F-2F982B87E4AB}" dt="2023-05-23T08:52:10.388" v="74"/>
        <pc:sldMkLst>
          <pc:docMk/>
          <pc:sldMk cId="2047617742" sldId="671"/>
        </pc:sldMkLst>
      </pc:sldChg>
      <pc:sldChg chg="modTransition">
        <pc:chgData name="Thomas Stensitzki" userId="S::thomas.stensitzki@granikos.eu::75cafe6b-2f2a-469b-85c4-eec3b9c972ba" providerId="AD" clId="Web-{B54B06DF-100B-44E6-958F-2F982B87E4AB}" dt="2023-05-23T08:52:10.372" v="50"/>
        <pc:sldMkLst>
          <pc:docMk/>
          <pc:sldMk cId="3858958038" sldId="672"/>
        </pc:sldMkLst>
      </pc:sldChg>
      <pc:sldChg chg="modTransition">
        <pc:chgData name="Thomas Stensitzki" userId="S::thomas.stensitzki@granikos.eu::75cafe6b-2f2a-469b-85c4-eec3b9c972ba" providerId="AD" clId="Web-{B54B06DF-100B-44E6-958F-2F982B87E4AB}" dt="2023-05-23T08:52:10.372" v="31"/>
        <pc:sldMkLst>
          <pc:docMk/>
          <pc:sldMk cId="3468202035" sldId="673"/>
        </pc:sldMkLst>
      </pc:sldChg>
      <pc:sldChg chg="modTransition">
        <pc:chgData name="Thomas Stensitzki" userId="S::thomas.stensitzki@granikos.eu::75cafe6b-2f2a-469b-85c4-eec3b9c972ba" providerId="AD" clId="Web-{B54B06DF-100B-44E6-958F-2F982B87E4AB}" dt="2023-05-23T08:52:10.372" v="32"/>
        <pc:sldMkLst>
          <pc:docMk/>
          <pc:sldMk cId="2327618361" sldId="674"/>
        </pc:sldMkLst>
      </pc:sldChg>
      <pc:sldChg chg="modTransition">
        <pc:chgData name="Thomas Stensitzki" userId="S::thomas.stensitzki@granikos.eu::75cafe6b-2f2a-469b-85c4-eec3b9c972ba" providerId="AD" clId="Web-{B54B06DF-100B-44E6-958F-2F982B87E4AB}" dt="2023-05-23T08:52:10.372" v="33"/>
        <pc:sldMkLst>
          <pc:docMk/>
          <pc:sldMk cId="1759168096" sldId="675"/>
        </pc:sldMkLst>
      </pc:sldChg>
      <pc:sldChg chg="modTransition">
        <pc:chgData name="Thomas Stensitzki" userId="S::thomas.stensitzki@granikos.eu::75cafe6b-2f2a-469b-85c4-eec3b9c972ba" providerId="AD" clId="Web-{B54B06DF-100B-44E6-958F-2F982B87E4AB}" dt="2023-05-23T08:52:10.372" v="34"/>
        <pc:sldMkLst>
          <pc:docMk/>
          <pc:sldMk cId="1298798883" sldId="676"/>
        </pc:sldMkLst>
      </pc:sldChg>
      <pc:sldChg chg="modTransition">
        <pc:chgData name="Thomas Stensitzki" userId="S::thomas.stensitzki@granikos.eu::75cafe6b-2f2a-469b-85c4-eec3b9c972ba" providerId="AD" clId="Web-{B54B06DF-100B-44E6-958F-2F982B87E4AB}" dt="2023-05-23T08:52:10.372" v="35"/>
        <pc:sldMkLst>
          <pc:docMk/>
          <pc:sldMk cId="548932751" sldId="677"/>
        </pc:sldMkLst>
      </pc:sldChg>
      <pc:sldChg chg="modTransition">
        <pc:chgData name="Thomas Stensitzki" userId="S::thomas.stensitzki@granikos.eu::75cafe6b-2f2a-469b-85c4-eec3b9c972ba" providerId="AD" clId="Web-{B54B06DF-100B-44E6-958F-2F982B87E4AB}" dt="2023-05-23T08:52:10.388" v="92"/>
        <pc:sldMkLst>
          <pc:docMk/>
          <pc:sldMk cId="3589806354" sldId="678"/>
        </pc:sldMkLst>
      </pc:sldChg>
      <pc:sldChg chg="modTransition">
        <pc:chgData name="Thomas Stensitzki" userId="S::thomas.stensitzki@granikos.eu::75cafe6b-2f2a-469b-85c4-eec3b9c972ba" providerId="AD" clId="Web-{B54B06DF-100B-44E6-958F-2F982B87E4AB}" dt="2023-05-23T08:52:10.372" v="36"/>
        <pc:sldMkLst>
          <pc:docMk/>
          <pc:sldMk cId="3797094460" sldId="679"/>
        </pc:sldMkLst>
      </pc:sldChg>
      <pc:sldChg chg="modTransition">
        <pc:chgData name="Thomas Stensitzki" userId="S::thomas.stensitzki@granikos.eu::75cafe6b-2f2a-469b-85c4-eec3b9c972ba" providerId="AD" clId="Web-{B54B06DF-100B-44E6-958F-2F982B87E4AB}" dt="2023-05-23T08:52:10.372" v="37"/>
        <pc:sldMkLst>
          <pc:docMk/>
          <pc:sldMk cId="3004964480" sldId="680"/>
        </pc:sldMkLst>
      </pc:sldChg>
      <pc:sldChg chg="modTransition">
        <pc:chgData name="Thomas Stensitzki" userId="S::thomas.stensitzki@granikos.eu::75cafe6b-2f2a-469b-85c4-eec3b9c972ba" providerId="AD" clId="Web-{B54B06DF-100B-44E6-958F-2F982B87E4AB}" dt="2023-05-23T08:52:10.372" v="38"/>
        <pc:sldMkLst>
          <pc:docMk/>
          <pc:sldMk cId="2318316286" sldId="681"/>
        </pc:sldMkLst>
      </pc:sldChg>
      <pc:sldChg chg="modTransition">
        <pc:chgData name="Thomas Stensitzki" userId="S::thomas.stensitzki@granikos.eu::75cafe6b-2f2a-469b-85c4-eec3b9c972ba" providerId="AD" clId="Web-{B54B06DF-100B-44E6-958F-2F982B87E4AB}" dt="2023-05-23T08:52:10.372" v="39"/>
        <pc:sldMkLst>
          <pc:docMk/>
          <pc:sldMk cId="4114483723" sldId="682"/>
        </pc:sldMkLst>
      </pc:sldChg>
      <pc:sldChg chg="modTransition">
        <pc:chgData name="Thomas Stensitzki" userId="S::thomas.stensitzki@granikos.eu::75cafe6b-2f2a-469b-85c4-eec3b9c972ba" providerId="AD" clId="Web-{B54B06DF-100B-44E6-958F-2F982B87E4AB}" dt="2023-05-23T08:52:10.372" v="51"/>
        <pc:sldMkLst>
          <pc:docMk/>
          <pc:sldMk cId="3010415139" sldId="683"/>
        </pc:sldMkLst>
      </pc:sldChg>
      <pc:sldChg chg="modTransition">
        <pc:chgData name="Thomas Stensitzki" userId="S::thomas.stensitzki@granikos.eu::75cafe6b-2f2a-469b-85c4-eec3b9c972ba" providerId="AD" clId="Web-{B54B06DF-100B-44E6-958F-2F982B87E4AB}" dt="2023-05-23T08:52:10.372" v="52"/>
        <pc:sldMkLst>
          <pc:docMk/>
          <pc:sldMk cId="1765254123" sldId="684"/>
        </pc:sldMkLst>
      </pc:sldChg>
      <pc:sldChg chg="modTransition">
        <pc:chgData name="Thomas Stensitzki" userId="S::thomas.stensitzki@granikos.eu::75cafe6b-2f2a-469b-85c4-eec3b9c972ba" providerId="AD" clId="Web-{B54B06DF-100B-44E6-958F-2F982B87E4AB}" dt="2023-05-23T08:52:10.372" v="53"/>
        <pc:sldMkLst>
          <pc:docMk/>
          <pc:sldMk cId="1361138141" sldId="685"/>
        </pc:sldMkLst>
      </pc:sldChg>
      <pc:sldChg chg="modTransition">
        <pc:chgData name="Thomas Stensitzki" userId="S::thomas.stensitzki@granikos.eu::75cafe6b-2f2a-469b-85c4-eec3b9c972ba" providerId="AD" clId="Web-{B54B06DF-100B-44E6-958F-2F982B87E4AB}" dt="2023-05-23T08:52:10.372" v="40"/>
        <pc:sldMkLst>
          <pc:docMk/>
          <pc:sldMk cId="1099908272" sldId="686"/>
        </pc:sldMkLst>
      </pc:sldChg>
      <pc:sldChg chg="modTransition">
        <pc:chgData name="Thomas Stensitzki" userId="S::thomas.stensitzki@granikos.eu::75cafe6b-2f2a-469b-85c4-eec3b9c972ba" providerId="AD" clId="Web-{B54B06DF-100B-44E6-958F-2F982B87E4AB}" dt="2023-05-23T08:52:10.372" v="54"/>
        <pc:sldMkLst>
          <pc:docMk/>
          <pc:sldMk cId="2682737613" sldId="687"/>
        </pc:sldMkLst>
      </pc:sldChg>
      <pc:sldChg chg="modTransition">
        <pc:chgData name="Thomas Stensitzki" userId="S::thomas.stensitzki@granikos.eu::75cafe6b-2f2a-469b-85c4-eec3b9c972ba" providerId="AD" clId="Web-{B54B06DF-100B-44E6-958F-2F982B87E4AB}" dt="2023-05-23T08:52:10.372" v="55"/>
        <pc:sldMkLst>
          <pc:docMk/>
          <pc:sldMk cId="2943637064" sldId="688"/>
        </pc:sldMkLst>
      </pc:sldChg>
      <pc:sldChg chg="modTransition">
        <pc:chgData name="Thomas Stensitzki" userId="S::thomas.stensitzki@granikos.eu::75cafe6b-2f2a-469b-85c4-eec3b9c972ba" providerId="AD" clId="Web-{B54B06DF-100B-44E6-958F-2F982B87E4AB}" dt="2023-05-23T08:52:10.372" v="56"/>
        <pc:sldMkLst>
          <pc:docMk/>
          <pc:sldMk cId="4179798793" sldId="689"/>
        </pc:sldMkLst>
      </pc:sldChg>
      <pc:sldChg chg="modTransition">
        <pc:chgData name="Thomas Stensitzki" userId="S::thomas.stensitzki@granikos.eu::75cafe6b-2f2a-469b-85c4-eec3b9c972ba" providerId="AD" clId="Web-{B54B06DF-100B-44E6-958F-2F982B87E4AB}" dt="2023-05-23T08:52:10.372" v="57"/>
        <pc:sldMkLst>
          <pc:docMk/>
          <pc:sldMk cId="3467191386" sldId="690"/>
        </pc:sldMkLst>
      </pc:sldChg>
      <pc:sldChg chg="modTransition">
        <pc:chgData name="Thomas Stensitzki" userId="S::thomas.stensitzki@granikos.eu::75cafe6b-2f2a-469b-85c4-eec3b9c972ba" providerId="AD" clId="Web-{B54B06DF-100B-44E6-958F-2F982B87E4AB}" dt="2023-05-23T08:52:10.372" v="58"/>
        <pc:sldMkLst>
          <pc:docMk/>
          <pc:sldMk cId="3176227063" sldId="691"/>
        </pc:sldMkLst>
      </pc:sldChg>
      <pc:sldChg chg="modTransition">
        <pc:chgData name="Thomas Stensitzki" userId="S::thomas.stensitzki@granikos.eu::75cafe6b-2f2a-469b-85c4-eec3b9c972ba" providerId="AD" clId="Web-{B54B06DF-100B-44E6-958F-2F982B87E4AB}" dt="2023-05-23T08:52:10.372" v="59"/>
        <pc:sldMkLst>
          <pc:docMk/>
          <pc:sldMk cId="2332237802" sldId="692"/>
        </pc:sldMkLst>
      </pc:sldChg>
      <pc:sldChg chg="modTransition">
        <pc:chgData name="Thomas Stensitzki" userId="S::thomas.stensitzki@granikos.eu::75cafe6b-2f2a-469b-85c4-eec3b9c972ba" providerId="AD" clId="Web-{B54B06DF-100B-44E6-958F-2F982B87E4AB}" dt="2023-05-23T08:52:10.372" v="60"/>
        <pc:sldMkLst>
          <pc:docMk/>
          <pc:sldMk cId="452218326" sldId="693"/>
        </pc:sldMkLst>
      </pc:sldChg>
      <pc:sldChg chg="modTransition">
        <pc:chgData name="Thomas Stensitzki" userId="S::thomas.stensitzki@granikos.eu::75cafe6b-2f2a-469b-85c4-eec3b9c972ba" providerId="AD" clId="Web-{B54B06DF-100B-44E6-958F-2F982B87E4AB}" dt="2023-05-23T08:52:10.372" v="61"/>
        <pc:sldMkLst>
          <pc:docMk/>
          <pc:sldMk cId="1161338400" sldId="694"/>
        </pc:sldMkLst>
      </pc:sldChg>
      <pc:sldChg chg="modTransition">
        <pc:chgData name="Thomas Stensitzki" userId="S::thomas.stensitzki@granikos.eu::75cafe6b-2f2a-469b-85c4-eec3b9c972ba" providerId="AD" clId="Web-{B54B06DF-100B-44E6-958F-2F982B87E4AB}" dt="2023-05-23T08:52:10.372" v="62"/>
        <pc:sldMkLst>
          <pc:docMk/>
          <pc:sldMk cId="3643256137" sldId="695"/>
        </pc:sldMkLst>
      </pc:sldChg>
      <pc:sldChg chg="modTransition">
        <pc:chgData name="Thomas Stensitzki" userId="S::thomas.stensitzki@granikos.eu::75cafe6b-2f2a-469b-85c4-eec3b9c972ba" providerId="AD" clId="Web-{B54B06DF-100B-44E6-958F-2F982B87E4AB}" dt="2023-05-23T08:52:10.372" v="63"/>
        <pc:sldMkLst>
          <pc:docMk/>
          <pc:sldMk cId="3372974903" sldId="696"/>
        </pc:sldMkLst>
      </pc:sldChg>
      <pc:sldChg chg="modTransition">
        <pc:chgData name="Thomas Stensitzki" userId="S::thomas.stensitzki@granikos.eu::75cafe6b-2f2a-469b-85c4-eec3b9c972ba" providerId="AD" clId="Web-{B54B06DF-100B-44E6-958F-2F982B87E4AB}" dt="2023-05-23T08:52:10.372" v="41"/>
        <pc:sldMkLst>
          <pc:docMk/>
          <pc:sldMk cId="374091465" sldId="697"/>
        </pc:sldMkLst>
      </pc:sldChg>
      <pc:sldChg chg="modTransition">
        <pc:chgData name="Thomas Stensitzki" userId="S::thomas.stensitzki@granikos.eu::75cafe6b-2f2a-469b-85c4-eec3b9c972ba" providerId="AD" clId="Web-{B54B06DF-100B-44E6-958F-2F982B87E4AB}" dt="2023-05-23T08:52:10.372" v="42"/>
        <pc:sldMkLst>
          <pc:docMk/>
          <pc:sldMk cId="4258120031" sldId="698"/>
        </pc:sldMkLst>
      </pc:sldChg>
      <pc:sldChg chg="modTransition">
        <pc:chgData name="Thomas Stensitzki" userId="S::thomas.stensitzki@granikos.eu::75cafe6b-2f2a-469b-85c4-eec3b9c972ba" providerId="AD" clId="Web-{B54B06DF-100B-44E6-958F-2F982B87E4AB}" dt="2023-05-23T08:52:10.372" v="43"/>
        <pc:sldMkLst>
          <pc:docMk/>
          <pc:sldMk cId="2743116939" sldId="699"/>
        </pc:sldMkLst>
      </pc:sldChg>
      <pc:sldChg chg="modTransition">
        <pc:chgData name="Thomas Stensitzki" userId="S::thomas.stensitzki@granikos.eu::75cafe6b-2f2a-469b-85c4-eec3b9c972ba" providerId="AD" clId="Web-{B54B06DF-100B-44E6-958F-2F982B87E4AB}" dt="2023-05-23T08:52:10.372" v="44"/>
        <pc:sldMkLst>
          <pc:docMk/>
          <pc:sldMk cId="1230148335" sldId="700"/>
        </pc:sldMkLst>
      </pc:sldChg>
      <pc:sldChg chg="ord modTransition">
        <pc:chgData name="Thomas Stensitzki" userId="S::thomas.stensitzki@granikos.eu::75cafe6b-2f2a-469b-85c4-eec3b9c972ba" providerId="AD" clId="Web-{B54B06DF-100B-44E6-958F-2F982B87E4AB}" dt="2023-05-23T09:03:35.895" v="117"/>
        <pc:sldMkLst>
          <pc:docMk/>
          <pc:sldMk cId="3896402637" sldId="701"/>
        </pc:sldMkLst>
      </pc:sldChg>
      <pc:sldChg chg="modTransition">
        <pc:chgData name="Thomas Stensitzki" userId="S::thomas.stensitzki@granikos.eu::75cafe6b-2f2a-469b-85c4-eec3b9c972ba" providerId="AD" clId="Web-{B54B06DF-100B-44E6-958F-2F982B87E4AB}" dt="2023-05-23T08:52:10.372" v="64"/>
        <pc:sldMkLst>
          <pc:docMk/>
          <pc:sldMk cId="575615367" sldId="702"/>
        </pc:sldMkLst>
      </pc:sldChg>
      <pc:sldChg chg="ord modTransition">
        <pc:chgData name="Thomas Stensitzki" userId="S::thomas.stensitzki@granikos.eu::75cafe6b-2f2a-469b-85c4-eec3b9c972ba" providerId="AD" clId="Web-{B54B06DF-100B-44E6-958F-2F982B87E4AB}" dt="2023-05-23T09:03:00.503" v="115"/>
        <pc:sldMkLst>
          <pc:docMk/>
          <pc:sldMk cId="4015570697" sldId="703"/>
        </pc:sldMkLst>
      </pc:sldChg>
      <pc:sldChg chg="modTransition">
        <pc:chgData name="Thomas Stensitzki" userId="S::thomas.stensitzki@granikos.eu::75cafe6b-2f2a-469b-85c4-eec3b9c972ba" providerId="AD" clId="Web-{B54B06DF-100B-44E6-958F-2F982B87E4AB}" dt="2023-05-23T08:52:10.372" v="45"/>
        <pc:sldMkLst>
          <pc:docMk/>
          <pc:sldMk cId="1573460963" sldId="704"/>
        </pc:sldMkLst>
      </pc:sldChg>
      <pc:sldChg chg="modTransition">
        <pc:chgData name="Thomas Stensitzki" userId="S::thomas.stensitzki@granikos.eu::75cafe6b-2f2a-469b-85c4-eec3b9c972ba" providerId="AD" clId="Web-{B54B06DF-100B-44E6-958F-2F982B87E4AB}" dt="2023-05-23T08:52:10.372" v="46"/>
        <pc:sldMkLst>
          <pc:docMk/>
          <pc:sldMk cId="2507653948" sldId="705"/>
        </pc:sldMkLst>
      </pc:sldChg>
      <pc:sldChg chg="modTransition">
        <pc:chgData name="Thomas Stensitzki" userId="S::thomas.stensitzki@granikos.eu::75cafe6b-2f2a-469b-85c4-eec3b9c972ba" providerId="AD" clId="Web-{B54B06DF-100B-44E6-958F-2F982B87E4AB}" dt="2023-05-23T08:52:10.372" v="65"/>
        <pc:sldMkLst>
          <pc:docMk/>
          <pc:sldMk cId="2812659098" sldId="706"/>
        </pc:sldMkLst>
      </pc:sldChg>
      <pc:sldChg chg="modTransition">
        <pc:chgData name="Thomas Stensitzki" userId="S::thomas.stensitzki@granikos.eu::75cafe6b-2f2a-469b-85c4-eec3b9c972ba" providerId="AD" clId="Web-{B54B06DF-100B-44E6-958F-2F982B87E4AB}" dt="2023-05-23T08:52:10.372" v="66"/>
        <pc:sldMkLst>
          <pc:docMk/>
          <pc:sldMk cId="1687698883" sldId="707"/>
        </pc:sldMkLst>
      </pc:sldChg>
      <pc:sldChg chg="modTransition">
        <pc:chgData name="Thomas Stensitzki" userId="S::thomas.stensitzki@granikos.eu::75cafe6b-2f2a-469b-85c4-eec3b9c972ba" providerId="AD" clId="Web-{B54B06DF-100B-44E6-958F-2F982B87E4AB}" dt="2023-05-23T08:52:10.372" v="67"/>
        <pc:sldMkLst>
          <pc:docMk/>
          <pc:sldMk cId="228026287" sldId="708"/>
        </pc:sldMkLst>
      </pc:sldChg>
      <pc:sldChg chg="modTransition">
        <pc:chgData name="Thomas Stensitzki" userId="S::thomas.stensitzki@granikos.eu::75cafe6b-2f2a-469b-85c4-eec3b9c972ba" providerId="AD" clId="Web-{B54B06DF-100B-44E6-958F-2F982B87E4AB}" dt="2023-05-23T08:52:10.372" v="68"/>
        <pc:sldMkLst>
          <pc:docMk/>
          <pc:sldMk cId="110691181" sldId="709"/>
        </pc:sldMkLst>
      </pc:sldChg>
      <pc:sldChg chg="modTransition">
        <pc:chgData name="Thomas Stensitzki" userId="S::thomas.stensitzki@granikos.eu::75cafe6b-2f2a-469b-85c4-eec3b9c972ba" providerId="AD" clId="Web-{B54B06DF-100B-44E6-958F-2F982B87E4AB}" dt="2023-05-23T08:52:10.372" v="69"/>
        <pc:sldMkLst>
          <pc:docMk/>
          <pc:sldMk cId="548134817" sldId="710"/>
        </pc:sldMkLst>
      </pc:sldChg>
      <pc:sldChg chg="modTransition">
        <pc:chgData name="Thomas Stensitzki" userId="S::thomas.stensitzki@granikos.eu::75cafe6b-2f2a-469b-85c4-eec3b9c972ba" providerId="AD" clId="Web-{B54B06DF-100B-44E6-958F-2F982B87E4AB}" dt="2023-05-23T08:52:10.388" v="70"/>
        <pc:sldMkLst>
          <pc:docMk/>
          <pc:sldMk cId="3364405255" sldId="711"/>
        </pc:sldMkLst>
      </pc:sldChg>
      <pc:sldChg chg="modTransition">
        <pc:chgData name="Thomas Stensitzki" userId="S::thomas.stensitzki@granikos.eu::75cafe6b-2f2a-469b-85c4-eec3b9c972ba" providerId="AD" clId="Web-{B54B06DF-100B-44E6-958F-2F982B87E4AB}" dt="2023-05-23T08:52:10.388" v="90"/>
        <pc:sldMkLst>
          <pc:docMk/>
          <pc:sldMk cId="3869137616" sldId="712"/>
        </pc:sldMkLst>
      </pc:sldChg>
      <pc:sldChg chg="modTransition">
        <pc:chgData name="Thomas Stensitzki" userId="S::thomas.stensitzki@granikos.eu::75cafe6b-2f2a-469b-85c4-eec3b9c972ba" providerId="AD" clId="Web-{B54B06DF-100B-44E6-958F-2F982B87E4AB}" dt="2023-05-23T08:52:10.388" v="85"/>
        <pc:sldMkLst>
          <pc:docMk/>
          <pc:sldMk cId="1812240311" sldId="713"/>
        </pc:sldMkLst>
      </pc:sldChg>
      <pc:sldChg chg="modSp add ord replId modTransition">
        <pc:chgData name="Thomas Stensitzki" userId="S::thomas.stensitzki@granikos.eu::75cafe6b-2f2a-469b-85c4-eec3b9c972ba" providerId="AD" clId="Web-{B54B06DF-100B-44E6-958F-2F982B87E4AB}" dt="2023-05-23T08:52:10.388" v="91"/>
        <pc:sldMkLst>
          <pc:docMk/>
          <pc:sldMk cId="3493285919" sldId="714"/>
        </pc:sldMkLst>
        <pc:spChg chg="mod">
          <ac:chgData name="Thomas Stensitzki" userId="S::thomas.stensitzki@granikos.eu::75cafe6b-2f2a-469b-85c4-eec3b9c972ba" providerId="AD" clId="Web-{B54B06DF-100B-44E6-958F-2F982B87E4AB}" dt="2023-05-23T08:51:45.684" v="23" actId="1076"/>
          <ac:spMkLst>
            <pc:docMk/>
            <pc:sldMk cId="3493285919" sldId="714"/>
            <ac:spMk id="2" creationId="{909DC09D-B9A6-4493-9A72-1CA7ECB1F5CA}"/>
          </ac:spMkLst>
        </pc:spChg>
      </pc:sldChg>
      <pc:sldChg chg="modSp add ord replId">
        <pc:chgData name="Thomas Stensitzki" userId="S::thomas.stensitzki@granikos.eu::75cafe6b-2f2a-469b-85c4-eec3b9c972ba" providerId="AD" clId="Web-{B54B06DF-100B-44E6-958F-2F982B87E4AB}" dt="2023-05-23T08:52:36.904" v="96" actId="1076"/>
        <pc:sldMkLst>
          <pc:docMk/>
          <pc:sldMk cId="3096558029" sldId="715"/>
        </pc:sldMkLst>
        <pc:spChg chg="mod">
          <ac:chgData name="Thomas Stensitzki" userId="S::thomas.stensitzki@granikos.eu::75cafe6b-2f2a-469b-85c4-eec3b9c972ba" providerId="AD" clId="Web-{B54B06DF-100B-44E6-958F-2F982B87E4AB}" dt="2023-05-23T08:52:36.904" v="96" actId="1076"/>
          <ac:spMkLst>
            <pc:docMk/>
            <pc:sldMk cId="3096558029" sldId="715"/>
            <ac:spMk id="2" creationId="{909DC09D-B9A6-4493-9A72-1CA7ECB1F5CA}"/>
          </ac:spMkLst>
        </pc:spChg>
      </pc:sldChg>
      <pc:sldChg chg="modSp add ord replId">
        <pc:chgData name="Thomas Stensitzki" userId="S::thomas.stensitzki@granikos.eu::75cafe6b-2f2a-469b-85c4-eec3b9c972ba" providerId="AD" clId="Web-{B54B06DF-100B-44E6-958F-2F982B87E4AB}" dt="2023-05-23T08:53:08.296" v="99" actId="1076"/>
        <pc:sldMkLst>
          <pc:docMk/>
          <pc:sldMk cId="885506395" sldId="716"/>
        </pc:sldMkLst>
        <pc:spChg chg="mod">
          <ac:chgData name="Thomas Stensitzki" userId="S::thomas.stensitzki@granikos.eu::75cafe6b-2f2a-469b-85c4-eec3b9c972ba" providerId="AD" clId="Web-{B54B06DF-100B-44E6-958F-2F982B87E4AB}" dt="2023-05-23T08:53:08.296" v="99" actId="1076"/>
          <ac:spMkLst>
            <pc:docMk/>
            <pc:sldMk cId="885506395" sldId="716"/>
            <ac:spMk id="2" creationId="{909DC09D-B9A6-4493-9A72-1CA7ECB1F5CA}"/>
          </ac:spMkLst>
        </pc:spChg>
      </pc:sldChg>
      <pc:sldChg chg="modSp add ord replId">
        <pc:chgData name="Thomas Stensitzki" userId="S::thomas.stensitzki@granikos.eu::75cafe6b-2f2a-469b-85c4-eec3b9c972ba" providerId="AD" clId="Web-{B54B06DF-100B-44E6-958F-2F982B87E4AB}" dt="2023-05-23T08:56:15.427" v="102" actId="1076"/>
        <pc:sldMkLst>
          <pc:docMk/>
          <pc:sldMk cId="3811181025" sldId="717"/>
        </pc:sldMkLst>
        <pc:spChg chg="mod">
          <ac:chgData name="Thomas Stensitzki" userId="S::thomas.stensitzki@granikos.eu::75cafe6b-2f2a-469b-85c4-eec3b9c972ba" providerId="AD" clId="Web-{B54B06DF-100B-44E6-958F-2F982B87E4AB}" dt="2023-05-23T08:56:15.427" v="102" actId="1076"/>
          <ac:spMkLst>
            <pc:docMk/>
            <pc:sldMk cId="3811181025" sldId="717"/>
            <ac:spMk id="2" creationId="{909DC09D-B9A6-4493-9A72-1CA7ECB1F5CA}"/>
          </ac:spMkLst>
        </pc:spChg>
      </pc:sldChg>
      <pc:sldChg chg="modSp add ord replId">
        <pc:chgData name="Thomas Stensitzki" userId="S::thomas.stensitzki@granikos.eu::75cafe6b-2f2a-469b-85c4-eec3b9c972ba" providerId="AD" clId="Web-{B54B06DF-100B-44E6-958F-2F982B87E4AB}" dt="2023-05-23T08:56:26.552" v="105" actId="1076"/>
        <pc:sldMkLst>
          <pc:docMk/>
          <pc:sldMk cId="1675618000" sldId="718"/>
        </pc:sldMkLst>
        <pc:spChg chg="mod">
          <ac:chgData name="Thomas Stensitzki" userId="S::thomas.stensitzki@granikos.eu::75cafe6b-2f2a-469b-85c4-eec3b9c972ba" providerId="AD" clId="Web-{B54B06DF-100B-44E6-958F-2F982B87E4AB}" dt="2023-05-23T08:56:26.552" v="105" actId="1076"/>
          <ac:spMkLst>
            <pc:docMk/>
            <pc:sldMk cId="1675618000" sldId="718"/>
            <ac:spMk id="2" creationId="{909DC09D-B9A6-4493-9A72-1CA7ECB1F5CA}"/>
          </ac:spMkLst>
        </pc:spChg>
      </pc:sldChg>
      <pc:sldChg chg="modSp add ord replId">
        <pc:chgData name="Thomas Stensitzki" userId="S::thomas.stensitzki@granikos.eu::75cafe6b-2f2a-469b-85c4-eec3b9c972ba" providerId="AD" clId="Web-{B54B06DF-100B-44E6-958F-2F982B87E4AB}" dt="2023-05-23T08:57:01.554" v="108" actId="1076"/>
        <pc:sldMkLst>
          <pc:docMk/>
          <pc:sldMk cId="3699936980" sldId="719"/>
        </pc:sldMkLst>
        <pc:spChg chg="mod">
          <ac:chgData name="Thomas Stensitzki" userId="S::thomas.stensitzki@granikos.eu::75cafe6b-2f2a-469b-85c4-eec3b9c972ba" providerId="AD" clId="Web-{B54B06DF-100B-44E6-958F-2F982B87E4AB}" dt="2023-05-23T08:57:01.554" v="108" actId="1076"/>
          <ac:spMkLst>
            <pc:docMk/>
            <pc:sldMk cId="3699936980" sldId="719"/>
            <ac:spMk id="2" creationId="{909DC09D-B9A6-4493-9A72-1CA7ECB1F5CA}"/>
          </ac:spMkLst>
        </pc:spChg>
      </pc:sldChg>
      <pc:sldChg chg="modSp add ord replId">
        <pc:chgData name="Thomas Stensitzki" userId="S::thomas.stensitzki@granikos.eu::75cafe6b-2f2a-469b-85c4-eec3b9c972ba" providerId="AD" clId="Web-{B54B06DF-100B-44E6-958F-2F982B87E4AB}" dt="2023-05-23T09:02:36.752" v="111" actId="1076"/>
        <pc:sldMkLst>
          <pc:docMk/>
          <pc:sldMk cId="1816139218" sldId="720"/>
        </pc:sldMkLst>
        <pc:spChg chg="mod">
          <ac:chgData name="Thomas Stensitzki" userId="S::thomas.stensitzki@granikos.eu::75cafe6b-2f2a-469b-85c4-eec3b9c972ba" providerId="AD" clId="Web-{B54B06DF-100B-44E6-958F-2F982B87E4AB}" dt="2023-05-23T09:02:36.752" v="111" actId="1076"/>
          <ac:spMkLst>
            <pc:docMk/>
            <pc:sldMk cId="1816139218" sldId="720"/>
            <ac:spMk id="2" creationId="{909DC09D-B9A6-4493-9A72-1CA7ECB1F5CA}"/>
          </ac:spMkLst>
        </pc:spChg>
      </pc:sldChg>
      <pc:sldChg chg="modSp add ord replId">
        <pc:chgData name="Thomas Stensitzki" userId="S::thomas.stensitzki@granikos.eu::75cafe6b-2f2a-469b-85c4-eec3b9c972ba" providerId="AD" clId="Web-{B54B06DF-100B-44E6-958F-2F982B87E4AB}" dt="2023-05-23T09:02:55.815" v="114" actId="1076"/>
        <pc:sldMkLst>
          <pc:docMk/>
          <pc:sldMk cId="2951801347" sldId="721"/>
        </pc:sldMkLst>
        <pc:spChg chg="mod">
          <ac:chgData name="Thomas Stensitzki" userId="S::thomas.stensitzki@granikos.eu::75cafe6b-2f2a-469b-85c4-eec3b9c972ba" providerId="AD" clId="Web-{B54B06DF-100B-44E6-958F-2F982B87E4AB}" dt="2023-05-23T09:02:55.815" v="114" actId="1076"/>
          <ac:spMkLst>
            <pc:docMk/>
            <pc:sldMk cId="2951801347" sldId="721"/>
            <ac:spMk id="2" creationId="{909DC09D-B9A6-4493-9A72-1CA7ECB1F5CA}"/>
          </ac:spMkLst>
        </pc:spChg>
      </pc:sldChg>
      <pc:sldChg chg="modSp add ord replId">
        <pc:chgData name="Thomas Stensitzki" userId="S::thomas.stensitzki@granikos.eu::75cafe6b-2f2a-469b-85c4-eec3b9c972ba" providerId="AD" clId="Web-{B54B06DF-100B-44E6-958F-2F982B87E4AB}" dt="2023-05-23T09:03:52.020" v="121" actId="14100"/>
        <pc:sldMkLst>
          <pc:docMk/>
          <pc:sldMk cId="286203048" sldId="722"/>
        </pc:sldMkLst>
        <pc:spChg chg="mod">
          <ac:chgData name="Thomas Stensitzki" userId="S::thomas.stensitzki@granikos.eu::75cafe6b-2f2a-469b-85c4-eec3b9c972ba" providerId="AD" clId="Web-{B54B06DF-100B-44E6-958F-2F982B87E4AB}" dt="2023-05-23T09:03:52.020" v="121" actId="14100"/>
          <ac:spMkLst>
            <pc:docMk/>
            <pc:sldMk cId="286203048" sldId="722"/>
            <ac:spMk id="2" creationId="{909DC09D-B9A6-4493-9A72-1CA7ECB1F5CA}"/>
          </ac:spMkLst>
        </pc:spChg>
      </pc:sldChg>
      <pc:sldChg chg="modSp add ord replId">
        <pc:chgData name="Thomas Stensitzki" userId="S::thomas.stensitzki@granikos.eu::75cafe6b-2f2a-469b-85c4-eec3b9c972ba" providerId="AD" clId="Web-{B54B06DF-100B-44E6-958F-2F982B87E4AB}" dt="2023-05-23T09:04:08.005" v="124" actId="1076"/>
        <pc:sldMkLst>
          <pc:docMk/>
          <pc:sldMk cId="3113072159" sldId="723"/>
        </pc:sldMkLst>
        <pc:spChg chg="mod">
          <ac:chgData name="Thomas Stensitzki" userId="S::thomas.stensitzki@granikos.eu::75cafe6b-2f2a-469b-85c4-eec3b9c972ba" providerId="AD" clId="Web-{B54B06DF-100B-44E6-958F-2F982B87E4AB}" dt="2023-05-23T09:04:08.005" v="124" actId="1076"/>
          <ac:spMkLst>
            <pc:docMk/>
            <pc:sldMk cId="3113072159" sldId="723"/>
            <ac:spMk id="2" creationId="{909DC09D-B9A6-4493-9A72-1CA7ECB1F5CA}"/>
          </ac:spMkLst>
        </pc:spChg>
      </pc:sldChg>
      <pc:sldChg chg="modSp add ord replId">
        <pc:chgData name="Thomas Stensitzki" userId="S::thomas.stensitzki@granikos.eu::75cafe6b-2f2a-469b-85c4-eec3b9c972ba" providerId="AD" clId="Web-{B54B06DF-100B-44E6-958F-2F982B87E4AB}" dt="2023-05-23T09:04:23.068" v="127" actId="1076"/>
        <pc:sldMkLst>
          <pc:docMk/>
          <pc:sldMk cId="3469518411" sldId="724"/>
        </pc:sldMkLst>
        <pc:spChg chg="mod">
          <ac:chgData name="Thomas Stensitzki" userId="S::thomas.stensitzki@granikos.eu::75cafe6b-2f2a-469b-85c4-eec3b9c972ba" providerId="AD" clId="Web-{B54B06DF-100B-44E6-958F-2F982B87E4AB}" dt="2023-05-23T09:04:23.068" v="127" actId="1076"/>
          <ac:spMkLst>
            <pc:docMk/>
            <pc:sldMk cId="3469518411" sldId="724"/>
            <ac:spMk id="2" creationId="{909DC09D-B9A6-4493-9A72-1CA7ECB1F5CA}"/>
          </ac:spMkLst>
        </pc:spChg>
      </pc:sldChg>
      <pc:sldChg chg="add ord replId">
        <pc:chgData name="Thomas Stensitzki" userId="S::thomas.stensitzki@granikos.eu::75cafe6b-2f2a-469b-85c4-eec3b9c972ba" providerId="AD" clId="Web-{B54B06DF-100B-44E6-958F-2F982B87E4AB}" dt="2023-05-23T09:05:01.429" v="129"/>
        <pc:sldMkLst>
          <pc:docMk/>
          <pc:sldMk cId="1002613873" sldId="725"/>
        </pc:sldMkLst>
      </pc:sldChg>
      <pc:sldChg chg="add ord replId">
        <pc:chgData name="Thomas Stensitzki" userId="S::thomas.stensitzki@granikos.eu::75cafe6b-2f2a-469b-85c4-eec3b9c972ba" providerId="AD" clId="Web-{B54B06DF-100B-44E6-958F-2F982B87E4AB}" dt="2023-05-23T09:05:24.477" v="131"/>
        <pc:sldMkLst>
          <pc:docMk/>
          <pc:sldMk cId="1629876044" sldId="726"/>
        </pc:sldMkLst>
      </pc:sldChg>
    </pc:docChg>
  </pc:docChgLst>
  <pc:docChgLst>
    <pc:chgData name="Thomas Stensitzki" userId="75cafe6b-2f2a-469b-85c4-eec3b9c972ba" providerId="ADAL" clId="{B1462F1E-0CE4-4310-BDB3-DCDEDFDFEA3A}"/>
    <pc:docChg chg="undo custSel addSld delSld modSld sldOrd modSection replTag">
      <pc:chgData name="Thomas Stensitzki" userId="75cafe6b-2f2a-469b-85c4-eec3b9c972ba" providerId="ADAL" clId="{B1462F1E-0CE4-4310-BDB3-DCDEDFDFEA3A}" dt="2023-10-31T11:27:18.103" v="3101" actId="14100"/>
      <pc:docMkLst>
        <pc:docMk/>
      </pc:docMkLst>
      <pc:sldChg chg="modSp mod">
        <pc:chgData name="Thomas Stensitzki" userId="75cafe6b-2f2a-469b-85c4-eec3b9c972ba" providerId="ADAL" clId="{B1462F1E-0CE4-4310-BDB3-DCDEDFDFEA3A}" dt="2023-08-14T14:43:50.882" v="37" actId="20577"/>
        <pc:sldMkLst>
          <pc:docMk/>
          <pc:sldMk cId="671489701" sldId="256"/>
        </pc:sldMkLst>
        <pc:spChg chg="mod">
          <ac:chgData name="Thomas Stensitzki" userId="75cafe6b-2f2a-469b-85c4-eec3b9c972ba" providerId="ADAL" clId="{B1462F1E-0CE4-4310-BDB3-DCDEDFDFEA3A}" dt="2023-08-14T14:43:50.882" v="37" actId="20577"/>
          <ac:spMkLst>
            <pc:docMk/>
            <pc:sldMk cId="671489701" sldId="256"/>
            <ac:spMk id="3" creationId="{CBA95633-B02D-4A15-A8B1-A38E0A70FD27}"/>
          </ac:spMkLst>
        </pc:spChg>
      </pc:sldChg>
      <pc:sldChg chg="addSp modSp mod">
        <pc:chgData name="Thomas Stensitzki" userId="75cafe6b-2f2a-469b-85c4-eec3b9c972ba" providerId="ADAL" clId="{B1462F1E-0CE4-4310-BDB3-DCDEDFDFEA3A}" dt="2023-10-22T09:53:19.410" v="1631" actId="1076"/>
        <pc:sldMkLst>
          <pc:docMk/>
          <pc:sldMk cId="2855324227" sldId="257"/>
        </pc:sldMkLst>
        <pc:spChg chg="mod">
          <ac:chgData name="Thomas Stensitzki" userId="75cafe6b-2f2a-469b-85c4-eec3b9c972ba" providerId="ADAL" clId="{B1462F1E-0CE4-4310-BDB3-DCDEDFDFEA3A}" dt="2023-10-21T14:39:13.988" v="366" actId="6549"/>
          <ac:spMkLst>
            <pc:docMk/>
            <pc:sldMk cId="2855324227" sldId="257"/>
            <ac:spMk id="5" creationId="{EE6719E1-4DB6-4D58-BA77-937CF975247C}"/>
          </ac:spMkLst>
        </pc:spChg>
        <pc:graphicFrameChg chg="mod modGraphic">
          <ac:chgData name="Thomas Stensitzki" userId="75cafe6b-2f2a-469b-85c4-eec3b9c972ba" providerId="ADAL" clId="{B1462F1E-0CE4-4310-BDB3-DCDEDFDFEA3A}" dt="2023-10-22T09:07:47.499" v="436" actId="790"/>
          <ac:graphicFrameMkLst>
            <pc:docMk/>
            <pc:sldMk cId="2855324227" sldId="257"/>
            <ac:graphicFrameMk id="6" creationId="{0F955DCC-462D-431D-BBDE-26F10687D590}"/>
          </ac:graphicFrameMkLst>
        </pc:graphicFrameChg>
        <pc:picChg chg="add mod">
          <ac:chgData name="Thomas Stensitzki" userId="75cafe6b-2f2a-469b-85c4-eec3b9c972ba" providerId="ADAL" clId="{B1462F1E-0CE4-4310-BDB3-DCDEDFDFEA3A}" dt="2023-10-22T09:53:19.410" v="1631" actId="1076"/>
          <ac:picMkLst>
            <pc:docMk/>
            <pc:sldMk cId="2855324227" sldId="257"/>
            <ac:picMk id="3" creationId="{7E9BCC18-41F2-6905-F148-849B8FE8CF63}"/>
          </ac:picMkLst>
        </pc:picChg>
      </pc:sldChg>
      <pc:sldChg chg="modSp mod">
        <pc:chgData name="Thomas Stensitzki" userId="75cafe6b-2f2a-469b-85c4-eec3b9c972ba" providerId="ADAL" clId="{B1462F1E-0CE4-4310-BDB3-DCDEDFDFEA3A}" dt="2023-10-21T14:46:55.753" v="426" actId="6549"/>
        <pc:sldMkLst>
          <pc:docMk/>
          <pc:sldMk cId="3332792154" sldId="258"/>
        </pc:sldMkLst>
        <pc:spChg chg="mod">
          <ac:chgData name="Thomas Stensitzki" userId="75cafe6b-2f2a-469b-85c4-eec3b9c972ba" providerId="ADAL" clId="{B1462F1E-0CE4-4310-BDB3-DCDEDFDFEA3A}" dt="2023-10-21T14:46:55.753" v="426" actId="6549"/>
          <ac:spMkLst>
            <pc:docMk/>
            <pc:sldMk cId="3332792154" sldId="258"/>
            <ac:spMk id="3" creationId="{3A5A44EB-7FB9-473A-8ED3-C49DDD2E65AB}"/>
          </ac:spMkLst>
        </pc:spChg>
      </pc:sldChg>
      <pc:sldChg chg="add ord">
        <pc:chgData name="Thomas Stensitzki" userId="75cafe6b-2f2a-469b-85c4-eec3b9c972ba" providerId="ADAL" clId="{B1462F1E-0CE4-4310-BDB3-DCDEDFDFEA3A}" dt="2023-10-21T14:36:39.998" v="336"/>
        <pc:sldMkLst>
          <pc:docMk/>
          <pc:sldMk cId="1545829058" sldId="259"/>
        </pc:sldMkLst>
      </pc:sldChg>
      <pc:sldChg chg="modSp mod">
        <pc:chgData name="Thomas Stensitzki" userId="75cafe6b-2f2a-469b-85c4-eec3b9c972ba" providerId="ADAL" clId="{B1462F1E-0CE4-4310-BDB3-DCDEDFDFEA3A}" dt="2023-10-22T09:55:46.807" v="1633" actId="790"/>
        <pc:sldMkLst>
          <pc:docMk/>
          <pc:sldMk cId="2698998357" sldId="260"/>
        </pc:sldMkLst>
        <pc:spChg chg="mod">
          <ac:chgData name="Thomas Stensitzki" userId="75cafe6b-2f2a-469b-85c4-eec3b9c972ba" providerId="ADAL" clId="{B1462F1E-0CE4-4310-BDB3-DCDEDFDFEA3A}" dt="2023-10-22T09:55:46.807" v="1633" actId="790"/>
          <ac:spMkLst>
            <pc:docMk/>
            <pc:sldMk cId="2698998357" sldId="260"/>
            <ac:spMk id="4" creationId="{F3A15CBD-C746-44A3-A4F0-4898CE2F02E6}"/>
          </ac:spMkLst>
        </pc:spChg>
        <pc:spChg chg="mod">
          <ac:chgData name="Thomas Stensitzki" userId="75cafe6b-2f2a-469b-85c4-eec3b9c972ba" providerId="ADAL" clId="{B1462F1E-0CE4-4310-BDB3-DCDEDFDFEA3A}" dt="2023-10-21T14:40:34.676" v="397" actId="20577"/>
          <ac:spMkLst>
            <pc:docMk/>
            <pc:sldMk cId="2698998357" sldId="260"/>
            <ac:spMk id="5" creationId="{F3459BE7-1731-4733-A912-12977C68CFD6}"/>
          </ac:spMkLst>
        </pc:spChg>
      </pc:sldChg>
      <pc:sldChg chg="modSp mod">
        <pc:chgData name="Thomas Stensitzki" userId="75cafe6b-2f2a-469b-85c4-eec3b9c972ba" providerId="ADAL" clId="{B1462F1E-0CE4-4310-BDB3-DCDEDFDFEA3A}" dt="2023-10-22T09:09:02.104" v="438" actId="6549"/>
        <pc:sldMkLst>
          <pc:docMk/>
          <pc:sldMk cId="4007670073" sldId="268"/>
        </pc:sldMkLst>
        <pc:spChg chg="mod">
          <ac:chgData name="Thomas Stensitzki" userId="75cafe6b-2f2a-469b-85c4-eec3b9c972ba" providerId="ADAL" clId="{B1462F1E-0CE4-4310-BDB3-DCDEDFDFEA3A}" dt="2023-10-22T09:09:02.104" v="438" actId="6549"/>
          <ac:spMkLst>
            <pc:docMk/>
            <pc:sldMk cId="4007670073" sldId="268"/>
            <ac:spMk id="5" creationId="{F3459BE7-1731-4733-A912-12977C68CFD6}"/>
          </ac:spMkLst>
        </pc:spChg>
      </pc:sldChg>
      <pc:sldChg chg="modSp mod">
        <pc:chgData name="Thomas Stensitzki" userId="75cafe6b-2f2a-469b-85c4-eec3b9c972ba" providerId="ADAL" clId="{B1462F1E-0CE4-4310-BDB3-DCDEDFDFEA3A}" dt="2023-10-21T14:46:08.014" v="409" actId="6549"/>
        <pc:sldMkLst>
          <pc:docMk/>
          <pc:sldMk cId="2721051844" sldId="269"/>
        </pc:sldMkLst>
        <pc:spChg chg="mod">
          <ac:chgData name="Thomas Stensitzki" userId="75cafe6b-2f2a-469b-85c4-eec3b9c972ba" providerId="ADAL" clId="{B1462F1E-0CE4-4310-BDB3-DCDEDFDFEA3A}" dt="2023-10-21T14:46:08.014" v="409" actId="6549"/>
          <ac:spMkLst>
            <pc:docMk/>
            <pc:sldMk cId="2721051844" sldId="269"/>
            <ac:spMk id="5" creationId="{C24DACB5-1BEC-4C86-9652-BAFD8DE56FEF}"/>
          </ac:spMkLst>
        </pc:spChg>
      </pc:sldChg>
      <pc:sldChg chg="modSp mod">
        <pc:chgData name="Thomas Stensitzki" userId="75cafe6b-2f2a-469b-85c4-eec3b9c972ba" providerId="ADAL" clId="{B1462F1E-0CE4-4310-BDB3-DCDEDFDFEA3A}" dt="2023-10-22T10:04:41.354" v="2023"/>
        <pc:sldMkLst>
          <pc:docMk/>
          <pc:sldMk cId="2227487991" sldId="378"/>
        </pc:sldMkLst>
        <pc:spChg chg="mod">
          <ac:chgData name="Thomas Stensitzki" userId="75cafe6b-2f2a-469b-85c4-eec3b9c972ba" providerId="ADAL" clId="{B1462F1E-0CE4-4310-BDB3-DCDEDFDFEA3A}" dt="2023-10-22T09:24:54.961" v="745" actId="14100"/>
          <ac:spMkLst>
            <pc:docMk/>
            <pc:sldMk cId="2227487991" sldId="378"/>
            <ac:spMk id="2" creationId="{909DC09D-B9A6-4493-9A72-1CA7ECB1F5CA}"/>
          </ac:spMkLst>
        </pc:spChg>
        <pc:spChg chg="mod">
          <ac:chgData name="Thomas Stensitzki" userId="75cafe6b-2f2a-469b-85c4-eec3b9c972ba" providerId="ADAL" clId="{B1462F1E-0CE4-4310-BDB3-DCDEDFDFEA3A}" dt="2023-10-22T10:04:41.354" v="2023"/>
          <ac:spMkLst>
            <pc:docMk/>
            <pc:sldMk cId="2227487991" sldId="378"/>
            <ac:spMk id="5" creationId="{C24DACB5-1BEC-4C86-9652-BAFD8DE56FEF}"/>
          </ac:spMkLst>
        </pc:spChg>
      </pc:sldChg>
      <pc:sldChg chg="modSp mod">
        <pc:chgData name="Thomas Stensitzki" userId="75cafe6b-2f2a-469b-85c4-eec3b9c972ba" providerId="ADAL" clId="{B1462F1E-0CE4-4310-BDB3-DCDEDFDFEA3A}" dt="2023-10-26T09:27:33.858" v="2515" actId="14100"/>
        <pc:sldMkLst>
          <pc:docMk/>
          <pc:sldMk cId="3797754622" sldId="515"/>
        </pc:sldMkLst>
        <pc:spChg chg="mod">
          <ac:chgData name="Thomas Stensitzki" userId="75cafe6b-2f2a-469b-85c4-eec3b9c972ba" providerId="ADAL" clId="{B1462F1E-0CE4-4310-BDB3-DCDEDFDFEA3A}" dt="2023-10-26T09:27:33.858" v="2515" actId="14100"/>
          <ac:spMkLst>
            <pc:docMk/>
            <pc:sldMk cId="3797754622" sldId="515"/>
            <ac:spMk id="2" creationId="{909DC09D-B9A6-4493-9A72-1CA7ECB1F5CA}"/>
          </ac:spMkLst>
        </pc:spChg>
        <pc:spChg chg="mod">
          <ac:chgData name="Thomas Stensitzki" userId="75cafe6b-2f2a-469b-85c4-eec3b9c972ba" providerId="ADAL" clId="{B1462F1E-0CE4-4310-BDB3-DCDEDFDFEA3A}" dt="2023-10-22T09:38:34.294" v="1033"/>
          <ac:spMkLst>
            <pc:docMk/>
            <pc:sldMk cId="3797754622" sldId="515"/>
            <ac:spMk id="5" creationId="{C24DACB5-1BEC-4C86-9652-BAFD8DE56FEF}"/>
          </ac:spMkLst>
        </pc:spChg>
      </pc:sldChg>
      <pc:sldChg chg="del">
        <pc:chgData name="Thomas Stensitzki" userId="75cafe6b-2f2a-469b-85c4-eec3b9c972ba" providerId="ADAL" clId="{B1462F1E-0CE4-4310-BDB3-DCDEDFDFEA3A}" dt="2023-08-14T14:44:30.908" v="71" actId="47"/>
        <pc:sldMkLst>
          <pc:docMk/>
          <pc:sldMk cId="1051205786" sldId="607"/>
        </pc:sldMkLst>
      </pc:sldChg>
      <pc:sldChg chg="modSp mod">
        <pc:chgData name="Thomas Stensitzki" userId="75cafe6b-2f2a-469b-85c4-eec3b9c972ba" providerId="ADAL" clId="{B1462F1E-0CE4-4310-BDB3-DCDEDFDFEA3A}" dt="2023-10-21T14:40:50.779" v="402" actId="6549"/>
        <pc:sldMkLst>
          <pc:docMk/>
          <pc:sldMk cId="1962477249" sldId="659"/>
        </pc:sldMkLst>
        <pc:spChg chg="mod">
          <ac:chgData name="Thomas Stensitzki" userId="75cafe6b-2f2a-469b-85c4-eec3b9c972ba" providerId="ADAL" clId="{B1462F1E-0CE4-4310-BDB3-DCDEDFDFEA3A}" dt="2023-10-21T14:40:50.779" v="402" actId="6549"/>
          <ac:spMkLst>
            <pc:docMk/>
            <pc:sldMk cId="1962477249" sldId="659"/>
            <ac:spMk id="5" creationId="{F3459BE7-1731-4733-A912-12977C68CFD6}"/>
          </ac:spMkLst>
        </pc:spChg>
      </pc:sldChg>
      <pc:sldChg chg="modSp mod">
        <pc:chgData name="Thomas Stensitzki" userId="75cafe6b-2f2a-469b-85c4-eec3b9c972ba" providerId="ADAL" clId="{B1462F1E-0CE4-4310-BDB3-DCDEDFDFEA3A}" dt="2023-08-14T14:44:52.707" v="75" actId="20577"/>
        <pc:sldMkLst>
          <pc:docMk/>
          <pc:sldMk cId="4212332529" sldId="661"/>
        </pc:sldMkLst>
        <pc:spChg chg="mod">
          <ac:chgData name="Thomas Stensitzki" userId="75cafe6b-2f2a-469b-85c4-eec3b9c972ba" providerId="ADAL" clId="{B1462F1E-0CE4-4310-BDB3-DCDEDFDFEA3A}" dt="2023-08-14T14:44:52.707" v="75" actId="20577"/>
          <ac:spMkLst>
            <pc:docMk/>
            <pc:sldMk cId="4212332529" sldId="661"/>
            <ac:spMk id="4" creationId="{F3A15CBD-C746-44A3-A4F0-4898CE2F02E6}"/>
          </ac:spMkLst>
        </pc:spChg>
      </pc:sldChg>
      <pc:sldChg chg="del">
        <pc:chgData name="Thomas Stensitzki" userId="75cafe6b-2f2a-469b-85c4-eec3b9c972ba" providerId="ADAL" clId="{B1462F1E-0CE4-4310-BDB3-DCDEDFDFEA3A}" dt="2023-08-14T14:44:46.963" v="73" actId="47"/>
        <pc:sldMkLst>
          <pc:docMk/>
          <pc:sldMk cId="1002613873" sldId="725"/>
        </pc:sldMkLst>
      </pc:sldChg>
      <pc:sldChg chg="addSp modSp mod">
        <pc:chgData name="Thomas Stensitzki" userId="75cafe6b-2f2a-469b-85c4-eec3b9c972ba" providerId="ADAL" clId="{B1462F1E-0CE4-4310-BDB3-DCDEDFDFEA3A}" dt="2023-10-21T14:38:56.658" v="365" actId="1076"/>
        <pc:sldMkLst>
          <pc:docMk/>
          <pc:sldMk cId="980172925" sldId="741"/>
        </pc:sldMkLst>
        <pc:spChg chg="add mod">
          <ac:chgData name="Thomas Stensitzki" userId="75cafe6b-2f2a-469b-85c4-eec3b9c972ba" providerId="ADAL" clId="{B1462F1E-0CE4-4310-BDB3-DCDEDFDFEA3A}" dt="2023-10-21T14:38:28.476" v="360" actId="20577"/>
          <ac:spMkLst>
            <pc:docMk/>
            <pc:sldMk cId="980172925" sldId="741"/>
            <ac:spMk id="2" creationId="{EC6809E7-B0BE-CA65-ACDC-5D372BBD27CD}"/>
          </ac:spMkLst>
        </pc:spChg>
        <pc:picChg chg="mod">
          <ac:chgData name="Thomas Stensitzki" userId="75cafe6b-2f2a-469b-85c4-eec3b9c972ba" providerId="ADAL" clId="{B1462F1E-0CE4-4310-BDB3-DCDEDFDFEA3A}" dt="2023-10-21T14:38:56.658" v="365" actId="1076"/>
          <ac:picMkLst>
            <pc:docMk/>
            <pc:sldMk cId="980172925" sldId="741"/>
            <ac:picMk id="1026" creationId="{A56E732E-05A6-05FC-08CC-655BB585349B}"/>
          </ac:picMkLst>
        </pc:picChg>
      </pc:sldChg>
      <pc:sldChg chg="addSp delSp modSp new mod ord">
        <pc:chgData name="Thomas Stensitzki" userId="75cafe6b-2f2a-469b-85c4-eec3b9c972ba" providerId="ADAL" clId="{B1462F1E-0CE4-4310-BDB3-DCDEDFDFEA3A}" dt="2023-10-26T09:28:08.453" v="2530"/>
        <pc:sldMkLst>
          <pc:docMk/>
          <pc:sldMk cId="1317116280" sldId="742"/>
        </pc:sldMkLst>
        <pc:spChg chg="mod">
          <ac:chgData name="Thomas Stensitzki" userId="75cafe6b-2f2a-469b-85c4-eec3b9c972ba" providerId="ADAL" clId="{B1462F1E-0CE4-4310-BDB3-DCDEDFDFEA3A}" dt="2023-10-22T09:12:42.301" v="444"/>
          <ac:spMkLst>
            <pc:docMk/>
            <pc:sldMk cId="1317116280" sldId="742"/>
            <ac:spMk id="2" creationId="{378DB6C1-23E6-ED5F-EE82-809596779B25}"/>
          </ac:spMkLst>
        </pc:spChg>
        <pc:spChg chg="del">
          <ac:chgData name="Thomas Stensitzki" userId="75cafe6b-2f2a-469b-85c4-eec3b9c972ba" providerId="ADAL" clId="{B1462F1E-0CE4-4310-BDB3-DCDEDFDFEA3A}" dt="2023-10-22T09:14:24.777" v="445" actId="478"/>
          <ac:spMkLst>
            <pc:docMk/>
            <pc:sldMk cId="1317116280" sldId="742"/>
            <ac:spMk id="3" creationId="{BC6AA501-4554-8DFD-A7C9-9DDA1E27921C}"/>
          </ac:spMkLst>
        </pc:spChg>
        <pc:spChg chg="add mod">
          <ac:chgData name="Thomas Stensitzki" userId="75cafe6b-2f2a-469b-85c4-eec3b9c972ba" providerId="ADAL" clId="{B1462F1E-0CE4-4310-BDB3-DCDEDFDFEA3A}" dt="2023-10-22T09:18:00.823" v="500" actId="20577"/>
          <ac:spMkLst>
            <pc:docMk/>
            <pc:sldMk cId="1317116280" sldId="742"/>
            <ac:spMk id="4" creationId="{8D785377-9608-B44E-3A78-4A4C1101B9B5}"/>
          </ac:spMkLst>
        </pc:spChg>
        <pc:spChg chg="add mod">
          <ac:chgData name="Thomas Stensitzki" userId="75cafe6b-2f2a-469b-85c4-eec3b9c972ba" providerId="ADAL" clId="{B1462F1E-0CE4-4310-BDB3-DCDEDFDFEA3A}" dt="2023-10-22T09:18:59.858" v="557" actId="20577"/>
          <ac:spMkLst>
            <pc:docMk/>
            <pc:sldMk cId="1317116280" sldId="742"/>
            <ac:spMk id="6" creationId="{5EE65999-F6D7-3033-7601-0BA8AF9CC78C}"/>
          </ac:spMkLst>
        </pc:spChg>
        <pc:picChg chg="add mod">
          <ac:chgData name="Thomas Stensitzki" userId="75cafe6b-2f2a-469b-85c4-eec3b9c972ba" providerId="ADAL" clId="{B1462F1E-0CE4-4310-BDB3-DCDEDFDFEA3A}" dt="2023-10-22T09:17:31.633" v="478" actId="1076"/>
          <ac:picMkLst>
            <pc:docMk/>
            <pc:sldMk cId="1317116280" sldId="742"/>
            <ac:picMk id="1026" creationId="{1E707FB8-1F61-439E-98E5-11D070D647A3}"/>
          </ac:picMkLst>
        </pc:picChg>
      </pc:sldChg>
      <pc:sldChg chg="del">
        <pc:chgData name="Thomas Stensitzki" userId="75cafe6b-2f2a-469b-85c4-eec3b9c972ba" providerId="ADAL" clId="{B1462F1E-0CE4-4310-BDB3-DCDEDFDFEA3A}" dt="2023-08-14T14:44:46.963" v="73" actId="47"/>
        <pc:sldMkLst>
          <pc:docMk/>
          <pc:sldMk cId="3557551175" sldId="742"/>
        </pc:sldMkLst>
      </pc:sldChg>
      <pc:sldChg chg="addSp modSp new add del mod">
        <pc:chgData name="Thomas Stensitzki" userId="75cafe6b-2f2a-469b-85c4-eec3b9c972ba" providerId="ADAL" clId="{B1462F1E-0CE4-4310-BDB3-DCDEDFDFEA3A}" dt="2023-10-22T09:26:54.438" v="760" actId="14734"/>
        <pc:sldMkLst>
          <pc:docMk/>
          <pc:sldMk cId="2889031269" sldId="743"/>
        </pc:sldMkLst>
        <pc:spChg chg="mod">
          <ac:chgData name="Thomas Stensitzki" userId="75cafe6b-2f2a-469b-85c4-eec3b9c972ba" providerId="ADAL" clId="{B1462F1E-0CE4-4310-BDB3-DCDEDFDFEA3A}" dt="2023-10-22T09:25:07.665" v="749"/>
          <ac:spMkLst>
            <pc:docMk/>
            <pc:sldMk cId="2889031269" sldId="743"/>
            <ac:spMk id="2" creationId="{AFA7D926-B298-6830-885B-70FEA34BC6A0}"/>
          </ac:spMkLst>
        </pc:spChg>
        <pc:spChg chg="mod">
          <ac:chgData name="Thomas Stensitzki" userId="75cafe6b-2f2a-469b-85c4-eec3b9c972ba" providerId="ADAL" clId="{B1462F1E-0CE4-4310-BDB3-DCDEDFDFEA3A}" dt="2023-10-22T09:25:23.249" v="753" actId="20577"/>
          <ac:spMkLst>
            <pc:docMk/>
            <pc:sldMk cId="2889031269" sldId="743"/>
            <ac:spMk id="3" creationId="{B0A1ED5E-E6A0-63A2-B868-1905B5100128}"/>
          </ac:spMkLst>
        </pc:spChg>
        <pc:graphicFrameChg chg="add mod modGraphic">
          <ac:chgData name="Thomas Stensitzki" userId="75cafe6b-2f2a-469b-85c4-eec3b9c972ba" providerId="ADAL" clId="{B1462F1E-0CE4-4310-BDB3-DCDEDFDFEA3A}" dt="2023-10-22T09:26:54.438" v="760" actId="14734"/>
          <ac:graphicFrameMkLst>
            <pc:docMk/>
            <pc:sldMk cId="2889031269" sldId="743"/>
            <ac:graphicFrameMk id="4" creationId="{922610F1-359B-96CE-BFA6-0181A99DA140}"/>
          </ac:graphicFrameMkLst>
        </pc:graphicFrameChg>
      </pc:sldChg>
      <pc:sldChg chg="del">
        <pc:chgData name="Thomas Stensitzki" userId="75cafe6b-2f2a-469b-85c4-eec3b9c972ba" providerId="ADAL" clId="{B1462F1E-0CE4-4310-BDB3-DCDEDFDFEA3A}" dt="2023-08-14T14:44:46.963" v="73" actId="47"/>
        <pc:sldMkLst>
          <pc:docMk/>
          <pc:sldMk cId="3417373465" sldId="743"/>
        </pc:sldMkLst>
      </pc:sldChg>
      <pc:sldChg chg="add">
        <pc:chgData name="Thomas Stensitzki" userId="75cafe6b-2f2a-469b-85c4-eec3b9c972ba" providerId="ADAL" clId="{B1462F1E-0CE4-4310-BDB3-DCDEDFDFEA3A}" dt="2023-10-22T09:25:03.898" v="748" actId="2890"/>
        <pc:sldMkLst>
          <pc:docMk/>
          <pc:sldMk cId="1784627537" sldId="744"/>
        </pc:sldMkLst>
      </pc:sldChg>
      <pc:sldChg chg="del">
        <pc:chgData name="Thomas Stensitzki" userId="75cafe6b-2f2a-469b-85c4-eec3b9c972ba" providerId="ADAL" clId="{B1462F1E-0CE4-4310-BDB3-DCDEDFDFEA3A}" dt="2023-08-14T14:44:39.723" v="72" actId="47"/>
        <pc:sldMkLst>
          <pc:docMk/>
          <pc:sldMk cId="2876131910" sldId="744"/>
        </pc:sldMkLst>
      </pc:sldChg>
      <pc:sldChg chg="del">
        <pc:chgData name="Thomas Stensitzki" userId="75cafe6b-2f2a-469b-85c4-eec3b9c972ba" providerId="ADAL" clId="{B1462F1E-0CE4-4310-BDB3-DCDEDFDFEA3A}" dt="2023-08-14T14:44:46.963" v="73" actId="47"/>
        <pc:sldMkLst>
          <pc:docMk/>
          <pc:sldMk cId="647126880" sldId="745"/>
        </pc:sldMkLst>
      </pc:sldChg>
      <pc:sldChg chg="modSp new mod">
        <pc:chgData name="Thomas Stensitzki" userId="75cafe6b-2f2a-469b-85c4-eec3b9c972ba" providerId="ADAL" clId="{B1462F1E-0CE4-4310-BDB3-DCDEDFDFEA3A}" dt="2023-10-22T09:28:32.548" v="797" actId="6549"/>
        <pc:sldMkLst>
          <pc:docMk/>
          <pc:sldMk cId="3716288060" sldId="745"/>
        </pc:sldMkLst>
        <pc:spChg chg="mod">
          <ac:chgData name="Thomas Stensitzki" userId="75cafe6b-2f2a-469b-85c4-eec3b9c972ba" providerId="ADAL" clId="{B1462F1E-0CE4-4310-BDB3-DCDEDFDFEA3A}" dt="2023-10-22T09:27:56.825" v="772"/>
          <ac:spMkLst>
            <pc:docMk/>
            <pc:sldMk cId="3716288060" sldId="745"/>
            <ac:spMk id="2" creationId="{4C6E92F7-E82B-5E0F-DD08-269B216023C6}"/>
          </ac:spMkLst>
        </pc:spChg>
        <pc:spChg chg="mod">
          <ac:chgData name="Thomas Stensitzki" userId="75cafe6b-2f2a-469b-85c4-eec3b9c972ba" providerId="ADAL" clId="{B1462F1E-0CE4-4310-BDB3-DCDEDFDFEA3A}" dt="2023-10-22T09:28:32.548" v="797" actId="6549"/>
          <ac:spMkLst>
            <pc:docMk/>
            <pc:sldMk cId="3716288060" sldId="745"/>
            <ac:spMk id="3" creationId="{E39E24DF-BE42-72DD-D13C-D25071A45F3E}"/>
          </ac:spMkLst>
        </pc:spChg>
      </pc:sldChg>
      <pc:sldChg chg="addSp delSp modSp new mod modNotesTx">
        <pc:chgData name="Thomas Stensitzki" userId="75cafe6b-2f2a-469b-85c4-eec3b9c972ba" providerId="ADAL" clId="{B1462F1E-0CE4-4310-BDB3-DCDEDFDFEA3A}" dt="2023-10-26T09:27:13.539" v="2513" actId="404"/>
        <pc:sldMkLst>
          <pc:docMk/>
          <pc:sldMk cId="3235938383" sldId="746"/>
        </pc:sldMkLst>
        <pc:spChg chg="mod">
          <ac:chgData name="Thomas Stensitzki" userId="75cafe6b-2f2a-469b-85c4-eec3b9c972ba" providerId="ADAL" clId="{B1462F1E-0CE4-4310-BDB3-DCDEDFDFEA3A}" dt="2023-10-26T09:27:13.539" v="2513" actId="404"/>
          <ac:spMkLst>
            <pc:docMk/>
            <pc:sldMk cId="3235938383" sldId="746"/>
            <ac:spMk id="2" creationId="{5B3E3C9C-491A-4B34-49D2-5725241CAB77}"/>
          </ac:spMkLst>
        </pc:spChg>
        <pc:spChg chg="del">
          <ac:chgData name="Thomas Stensitzki" userId="75cafe6b-2f2a-469b-85c4-eec3b9c972ba" providerId="ADAL" clId="{B1462F1E-0CE4-4310-BDB3-DCDEDFDFEA3A}" dt="2023-10-22T09:29:06.755" v="803" actId="478"/>
          <ac:spMkLst>
            <pc:docMk/>
            <pc:sldMk cId="3235938383" sldId="746"/>
            <ac:spMk id="3" creationId="{519183E1-F5AD-0EAD-AB8B-A16A577DC012}"/>
          </ac:spMkLst>
        </pc:spChg>
        <pc:picChg chg="add mod">
          <ac:chgData name="Thomas Stensitzki" userId="75cafe6b-2f2a-469b-85c4-eec3b9c972ba" providerId="ADAL" clId="{B1462F1E-0CE4-4310-BDB3-DCDEDFDFEA3A}" dt="2023-10-22T09:29:17.902" v="806" actId="1076"/>
          <ac:picMkLst>
            <pc:docMk/>
            <pc:sldMk cId="3235938383" sldId="746"/>
            <ac:picMk id="3074" creationId="{53106B50-8682-6EA9-4D5D-577426E07AAA}"/>
          </ac:picMkLst>
        </pc:picChg>
      </pc:sldChg>
      <pc:sldChg chg="del">
        <pc:chgData name="Thomas Stensitzki" userId="75cafe6b-2f2a-469b-85c4-eec3b9c972ba" providerId="ADAL" clId="{B1462F1E-0CE4-4310-BDB3-DCDEDFDFEA3A}" dt="2023-08-14T14:44:46.963" v="73" actId="47"/>
        <pc:sldMkLst>
          <pc:docMk/>
          <pc:sldMk cId="4269955596" sldId="746"/>
        </pc:sldMkLst>
      </pc:sldChg>
      <pc:sldChg chg="addSp modSp new mod">
        <pc:chgData name="Thomas Stensitzki" userId="75cafe6b-2f2a-469b-85c4-eec3b9c972ba" providerId="ADAL" clId="{B1462F1E-0CE4-4310-BDB3-DCDEDFDFEA3A}" dt="2023-10-22T09:32:21.738" v="827" actId="1076"/>
        <pc:sldMkLst>
          <pc:docMk/>
          <pc:sldMk cId="1889968485" sldId="747"/>
        </pc:sldMkLst>
        <pc:spChg chg="mod">
          <ac:chgData name="Thomas Stensitzki" userId="75cafe6b-2f2a-469b-85c4-eec3b9c972ba" providerId="ADAL" clId="{B1462F1E-0CE4-4310-BDB3-DCDEDFDFEA3A}" dt="2023-10-22T09:30:04.718" v="811"/>
          <ac:spMkLst>
            <pc:docMk/>
            <pc:sldMk cId="1889968485" sldId="747"/>
            <ac:spMk id="2" creationId="{7BA52265-3DB5-A681-F96F-27320A35EB54}"/>
          </ac:spMkLst>
        </pc:spChg>
        <pc:spChg chg="mod">
          <ac:chgData name="Thomas Stensitzki" userId="75cafe6b-2f2a-469b-85c4-eec3b9c972ba" providerId="ADAL" clId="{B1462F1E-0CE4-4310-BDB3-DCDEDFDFEA3A}" dt="2023-10-22T09:30:48.560" v="815" actId="20577"/>
          <ac:spMkLst>
            <pc:docMk/>
            <pc:sldMk cId="1889968485" sldId="747"/>
            <ac:spMk id="3" creationId="{8706F04D-9E26-2AD6-47D7-4CC3B32EEABB}"/>
          </ac:spMkLst>
        </pc:spChg>
        <pc:picChg chg="add mod">
          <ac:chgData name="Thomas Stensitzki" userId="75cafe6b-2f2a-469b-85c4-eec3b9c972ba" providerId="ADAL" clId="{B1462F1E-0CE4-4310-BDB3-DCDEDFDFEA3A}" dt="2023-10-22T09:32:05.780" v="823" actId="14100"/>
          <ac:picMkLst>
            <pc:docMk/>
            <pc:sldMk cId="1889968485" sldId="747"/>
            <ac:picMk id="4098" creationId="{D73AD4C7-FB43-E86C-C0D8-D1374E432BC6}"/>
          </ac:picMkLst>
        </pc:picChg>
        <pc:picChg chg="add mod">
          <ac:chgData name="Thomas Stensitzki" userId="75cafe6b-2f2a-469b-85c4-eec3b9c972ba" providerId="ADAL" clId="{B1462F1E-0CE4-4310-BDB3-DCDEDFDFEA3A}" dt="2023-10-22T09:32:21.738" v="827" actId="1076"/>
          <ac:picMkLst>
            <pc:docMk/>
            <pc:sldMk cId="1889968485" sldId="747"/>
            <ac:picMk id="4100" creationId="{ADF3CAFC-0E08-EE5F-F477-91C87E8C729E}"/>
          </ac:picMkLst>
        </pc:picChg>
      </pc:sldChg>
      <pc:sldChg chg="del">
        <pc:chgData name="Thomas Stensitzki" userId="75cafe6b-2f2a-469b-85c4-eec3b9c972ba" providerId="ADAL" clId="{B1462F1E-0CE4-4310-BDB3-DCDEDFDFEA3A}" dt="2023-08-14T14:44:39.723" v="72" actId="47"/>
        <pc:sldMkLst>
          <pc:docMk/>
          <pc:sldMk cId="2976596190" sldId="747"/>
        </pc:sldMkLst>
      </pc:sldChg>
      <pc:sldChg chg="addSp delSp modSp add mod">
        <pc:chgData name="Thomas Stensitzki" userId="75cafe6b-2f2a-469b-85c4-eec3b9c972ba" providerId="ADAL" clId="{B1462F1E-0CE4-4310-BDB3-DCDEDFDFEA3A}" dt="2023-10-22T09:33:04.527" v="837" actId="478"/>
        <pc:sldMkLst>
          <pc:docMk/>
          <pc:sldMk cId="1375897934" sldId="748"/>
        </pc:sldMkLst>
        <pc:spChg chg="del">
          <ac:chgData name="Thomas Stensitzki" userId="75cafe6b-2f2a-469b-85c4-eec3b9c972ba" providerId="ADAL" clId="{B1462F1E-0CE4-4310-BDB3-DCDEDFDFEA3A}" dt="2023-10-22T09:32:44.791" v="831" actId="478"/>
          <ac:spMkLst>
            <pc:docMk/>
            <pc:sldMk cId="1375897934" sldId="748"/>
            <ac:spMk id="3" creationId="{8706F04D-9E26-2AD6-47D7-4CC3B32EEABB}"/>
          </ac:spMkLst>
        </pc:spChg>
        <pc:spChg chg="add del mod">
          <ac:chgData name="Thomas Stensitzki" userId="75cafe6b-2f2a-469b-85c4-eec3b9c972ba" providerId="ADAL" clId="{B1462F1E-0CE4-4310-BDB3-DCDEDFDFEA3A}" dt="2023-10-22T09:33:04.527" v="837" actId="478"/>
          <ac:spMkLst>
            <pc:docMk/>
            <pc:sldMk cId="1375897934" sldId="748"/>
            <ac:spMk id="5" creationId="{58A69A0F-AE67-A29D-686E-6F6A3814A2CA}"/>
          </ac:spMkLst>
        </pc:spChg>
        <pc:picChg chg="del">
          <ac:chgData name="Thomas Stensitzki" userId="75cafe6b-2f2a-469b-85c4-eec3b9c972ba" providerId="ADAL" clId="{B1462F1E-0CE4-4310-BDB3-DCDEDFDFEA3A}" dt="2023-10-22T09:32:42.449" v="829" actId="478"/>
          <ac:picMkLst>
            <pc:docMk/>
            <pc:sldMk cId="1375897934" sldId="748"/>
            <ac:picMk id="4098" creationId="{D73AD4C7-FB43-E86C-C0D8-D1374E432BC6}"/>
          </ac:picMkLst>
        </pc:picChg>
        <pc:picChg chg="del">
          <ac:chgData name="Thomas Stensitzki" userId="75cafe6b-2f2a-469b-85c4-eec3b9c972ba" providerId="ADAL" clId="{B1462F1E-0CE4-4310-BDB3-DCDEDFDFEA3A}" dt="2023-10-22T09:32:43.079" v="830" actId="478"/>
          <ac:picMkLst>
            <pc:docMk/>
            <pc:sldMk cId="1375897934" sldId="748"/>
            <ac:picMk id="4100" creationId="{ADF3CAFC-0E08-EE5F-F477-91C87E8C729E}"/>
          </ac:picMkLst>
        </pc:picChg>
        <pc:picChg chg="add mod">
          <ac:chgData name="Thomas Stensitzki" userId="75cafe6b-2f2a-469b-85c4-eec3b9c972ba" providerId="ADAL" clId="{B1462F1E-0CE4-4310-BDB3-DCDEDFDFEA3A}" dt="2023-10-22T09:33:01.293" v="836" actId="1076"/>
          <ac:picMkLst>
            <pc:docMk/>
            <pc:sldMk cId="1375897934" sldId="748"/>
            <ac:picMk id="5122" creationId="{807E35F9-5B86-FD00-9674-932C366C99DE}"/>
          </ac:picMkLst>
        </pc:picChg>
      </pc:sldChg>
      <pc:sldChg chg="del">
        <pc:chgData name="Thomas Stensitzki" userId="75cafe6b-2f2a-469b-85c4-eec3b9c972ba" providerId="ADAL" clId="{B1462F1E-0CE4-4310-BDB3-DCDEDFDFEA3A}" dt="2023-08-14T14:44:39.723" v="72" actId="47"/>
        <pc:sldMkLst>
          <pc:docMk/>
          <pc:sldMk cId="4294720854" sldId="748"/>
        </pc:sldMkLst>
      </pc:sldChg>
      <pc:sldChg chg="modSp new mod">
        <pc:chgData name="Thomas Stensitzki" userId="75cafe6b-2f2a-469b-85c4-eec3b9c972ba" providerId="ADAL" clId="{B1462F1E-0CE4-4310-BDB3-DCDEDFDFEA3A}" dt="2023-10-26T09:30:35.909" v="2540" actId="6549"/>
        <pc:sldMkLst>
          <pc:docMk/>
          <pc:sldMk cId="1278550352" sldId="749"/>
        </pc:sldMkLst>
        <pc:spChg chg="mod">
          <ac:chgData name="Thomas Stensitzki" userId="75cafe6b-2f2a-469b-85c4-eec3b9c972ba" providerId="ADAL" clId="{B1462F1E-0CE4-4310-BDB3-DCDEDFDFEA3A}" dt="2023-10-22T09:33:56.492" v="841"/>
          <ac:spMkLst>
            <pc:docMk/>
            <pc:sldMk cId="1278550352" sldId="749"/>
            <ac:spMk id="2" creationId="{8876B3AB-B16E-287E-1316-672F0258B59F}"/>
          </ac:spMkLst>
        </pc:spChg>
        <pc:spChg chg="mod">
          <ac:chgData name="Thomas Stensitzki" userId="75cafe6b-2f2a-469b-85c4-eec3b9c972ba" providerId="ADAL" clId="{B1462F1E-0CE4-4310-BDB3-DCDEDFDFEA3A}" dt="2023-10-26T09:30:35.909" v="2540" actId="6549"/>
          <ac:spMkLst>
            <pc:docMk/>
            <pc:sldMk cId="1278550352" sldId="749"/>
            <ac:spMk id="3" creationId="{6F71AECF-7BA4-6357-1CF7-55976CB658A2}"/>
          </ac:spMkLst>
        </pc:spChg>
      </pc:sldChg>
      <pc:sldChg chg="del">
        <pc:chgData name="Thomas Stensitzki" userId="75cafe6b-2f2a-469b-85c4-eec3b9c972ba" providerId="ADAL" clId="{B1462F1E-0CE4-4310-BDB3-DCDEDFDFEA3A}" dt="2023-08-14T14:44:39.723" v="72" actId="47"/>
        <pc:sldMkLst>
          <pc:docMk/>
          <pc:sldMk cId="2501624097" sldId="749"/>
        </pc:sldMkLst>
      </pc:sldChg>
      <pc:sldChg chg="modSp add mod">
        <pc:chgData name="Thomas Stensitzki" userId="75cafe6b-2f2a-469b-85c4-eec3b9c972ba" providerId="ADAL" clId="{B1462F1E-0CE4-4310-BDB3-DCDEDFDFEA3A}" dt="2023-10-22T09:38:09.725" v="1032" actId="20577"/>
        <pc:sldMkLst>
          <pc:docMk/>
          <pc:sldMk cId="381789784" sldId="750"/>
        </pc:sldMkLst>
        <pc:spChg chg="mod">
          <ac:chgData name="Thomas Stensitzki" userId="75cafe6b-2f2a-469b-85c4-eec3b9c972ba" providerId="ADAL" clId="{B1462F1E-0CE4-4310-BDB3-DCDEDFDFEA3A}" dt="2023-10-22T09:38:09.725" v="1032" actId="20577"/>
          <ac:spMkLst>
            <pc:docMk/>
            <pc:sldMk cId="381789784" sldId="750"/>
            <ac:spMk id="3" creationId="{6F71AECF-7BA4-6357-1CF7-55976CB658A2}"/>
          </ac:spMkLst>
        </pc:spChg>
      </pc:sldChg>
      <pc:sldChg chg="del">
        <pc:chgData name="Thomas Stensitzki" userId="75cafe6b-2f2a-469b-85c4-eec3b9c972ba" providerId="ADAL" clId="{B1462F1E-0CE4-4310-BDB3-DCDEDFDFEA3A}" dt="2023-08-14T14:44:39.723" v="72" actId="47"/>
        <pc:sldMkLst>
          <pc:docMk/>
          <pc:sldMk cId="2026815640" sldId="750"/>
        </pc:sldMkLst>
      </pc:sldChg>
      <pc:sldChg chg="addSp modSp new mod">
        <pc:chgData name="Thomas Stensitzki" userId="75cafe6b-2f2a-469b-85c4-eec3b9c972ba" providerId="ADAL" clId="{B1462F1E-0CE4-4310-BDB3-DCDEDFDFEA3A}" dt="2023-10-22T09:44:18.025" v="1328" actId="20577"/>
        <pc:sldMkLst>
          <pc:docMk/>
          <pc:sldMk cId="850467813" sldId="751"/>
        </pc:sldMkLst>
        <pc:spChg chg="mod">
          <ac:chgData name="Thomas Stensitzki" userId="75cafe6b-2f2a-469b-85c4-eec3b9c972ba" providerId="ADAL" clId="{B1462F1E-0CE4-4310-BDB3-DCDEDFDFEA3A}" dt="2023-10-22T09:38:41.188" v="1035"/>
          <ac:spMkLst>
            <pc:docMk/>
            <pc:sldMk cId="850467813" sldId="751"/>
            <ac:spMk id="2" creationId="{C78EAC81-864B-AA3C-02D2-FCFDCC05E799}"/>
          </ac:spMkLst>
        </pc:spChg>
        <pc:spChg chg="mod">
          <ac:chgData name="Thomas Stensitzki" userId="75cafe6b-2f2a-469b-85c4-eec3b9c972ba" providerId="ADAL" clId="{B1462F1E-0CE4-4310-BDB3-DCDEDFDFEA3A}" dt="2023-10-22T09:39:51.334" v="1037" actId="14100"/>
          <ac:spMkLst>
            <pc:docMk/>
            <pc:sldMk cId="850467813" sldId="751"/>
            <ac:spMk id="3" creationId="{4D4BEA8D-A210-D82C-3177-B513F5A60BD1}"/>
          </ac:spMkLst>
        </pc:spChg>
        <pc:graphicFrameChg chg="add mod modGraphic">
          <ac:chgData name="Thomas Stensitzki" userId="75cafe6b-2f2a-469b-85c4-eec3b9c972ba" providerId="ADAL" clId="{B1462F1E-0CE4-4310-BDB3-DCDEDFDFEA3A}" dt="2023-10-22T09:44:18.025" v="1328" actId="20577"/>
          <ac:graphicFrameMkLst>
            <pc:docMk/>
            <pc:sldMk cId="850467813" sldId="751"/>
            <ac:graphicFrameMk id="4" creationId="{AB2BAF3A-14CC-7EC2-1E5D-4A468DC169A3}"/>
          </ac:graphicFrameMkLst>
        </pc:graphicFrameChg>
      </pc:sldChg>
      <pc:sldChg chg="del">
        <pc:chgData name="Thomas Stensitzki" userId="75cafe6b-2f2a-469b-85c4-eec3b9c972ba" providerId="ADAL" clId="{B1462F1E-0CE4-4310-BDB3-DCDEDFDFEA3A}" dt="2023-08-14T14:44:46.963" v="73" actId="47"/>
        <pc:sldMkLst>
          <pc:docMk/>
          <pc:sldMk cId="1546711668" sldId="751"/>
        </pc:sldMkLst>
      </pc:sldChg>
      <pc:sldChg chg="del">
        <pc:chgData name="Thomas Stensitzki" userId="75cafe6b-2f2a-469b-85c4-eec3b9c972ba" providerId="ADAL" clId="{B1462F1E-0CE4-4310-BDB3-DCDEDFDFEA3A}" dt="2023-08-14T14:44:46.963" v="73" actId="47"/>
        <pc:sldMkLst>
          <pc:docMk/>
          <pc:sldMk cId="2598459548" sldId="752"/>
        </pc:sldMkLst>
      </pc:sldChg>
      <pc:sldChg chg="modSp add mod ord">
        <pc:chgData name="Thomas Stensitzki" userId="75cafe6b-2f2a-469b-85c4-eec3b9c972ba" providerId="ADAL" clId="{B1462F1E-0CE4-4310-BDB3-DCDEDFDFEA3A}" dt="2023-10-22T10:16:27.580" v="2507" actId="20577"/>
        <pc:sldMkLst>
          <pc:docMk/>
          <pc:sldMk cId="2617257881" sldId="752"/>
        </pc:sldMkLst>
        <pc:spChg chg="mod">
          <ac:chgData name="Thomas Stensitzki" userId="75cafe6b-2f2a-469b-85c4-eec3b9c972ba" providerId="ADAL" clId="{B1462F1E-0CE4-4310-BDB3-DCDEDFDFEA3A}" dt="2023-10-22T10:16:27.580" v="2507" actId="20577"/>
          <ac:spMkLst>
            <pc:docMk/>
            <pc:sldMk cId="2617257881" sldId="752"/>
            <ac:spMk id="5" creationId="{C24DACB5-1BEC-4C86-9652-BAFD8DE56FEF}"/>
          </ac:spMkLst>
        </pc:spChg>
      </pc:sldChg>
      <pc:sldChg chg="del">
        <pc:chgData name="Thomas Stensitzki" userId="75cafe6b-2f2a-469b-85c4-eec3b9c972ba" providerId="ADAL" clId="{B1462F1E-0CE4-4310-BDB3-DCDEDFDFEA3A}" dt="2023-08-14T14:44:39.723" v="72" actId="47"/>
        <pc:sldMkLst>
          <pc:docMk/>
          <pc:sldMk cId="3863686543" sldId="753"/>
        </pc:sldMkLst>
      </pc:sldChg>
      <pc:sldChg chg="modSp new mod">
        <pc:chgData name="Thomas Stensitzki" userId="75cafe6b-2f2a-469b-85c4-eec3b9c972ba" providerId="ADAL" clId="{B1462F1E-0CE4-4310-BDB3-DCDEDFDFEA3A}" dt="2023-10-22T09:48:47.842" v="1581"/>
        <pc:sldMkLst>
          <pc:docMk/>
          <pc:sldMk cId="4180603478" sldId="753"/>
        </pc:sldMkLst>
        <pc:spChg chg="mod">
          <ac:chgData name="Thomas Stensitzki" userId="75cafe6b-2f2a-469b-85c4-eec3b9c972ba" providerId="ADAL" clId="{B1462F1E-0CE4-4310-BDB3-DCDEDFDFEA3A}" dt="2023-10-22T09:45:50.865" v="1340"/>
          <ac:spMkLst>
            <pc:docMk/>
            <pc:sldMk cId="4180603478" sldId="753"/>
            <ac:spMk id="2" creationId="{A1901751-DFFE-9E9E-F49E-74C83804C907}"/>
          </ac:spMkLst>
        </pc:spChg>
        <pc:spChg chg="mod">
          <ac:chgData name="Thomas Stensitzki" userId="75cafe6b-2f2a-469b-85c4-eec3b9c972ba" providerId="ADAL" clId="{B1462F1E-0CE4-4310-BDB3-DCDEDFDFEA3A}" dt="2023-10-22T09:48:47.842" v="1581"/>
          <ac:spMkLst>
            <pc:docMk/>
            <pc:sldMk cId="4180603478" sldId="753"/>
            <ac:spMk id="3" creationId="{21F9DBD2-F7BC-E468-F48B-85D0BC462445}"/>
          </ac:spMkLst>
        </pc:spChg>
      </pc:sldChg>
      <pc:sldChg chg="addSp delSp modSp new mod">
        <pc:chgData name="Thomas Stensitzki" userId="75cafe6b-2f2a-469b-85c4-eec3b9c972ba" providerId="ADAL" clId="{B1462F1E-0CE4-4310-BDB3-DCDEDFDFEA3A}" dt="2023-10-22T09:51:24.356" v="1629" actId="1076"/>
        <pc:sldMkLst>
          <pc:docMk/>
          <pc:sldMk cId="245637279" sldId="754"/>
        </pc:sldMkLst>
        <pc:spChg chg="mod">
          <ac:chgData name="Thomas Stensitzki" userId="75cafe6b-2f2a-469b-85c4-eec3b9c972ba" providerId="ADAL" clId="{B1462F1E-0CE4-4310-BDB3-DCDEDFDFEA3A}" dt="2023-10-22T09:49:51.393" v="1585"/>
          <ac:spMkLst>
            <pc:docMk/>
            <pc:sldMk cId="245637279" sldId="754"/>
            <ac:spMk id="2" creationId="{22C56AED-4985-C750-1F3A-78C1C47C7FEC}"/>
          </ac:spMkLst>
        </pc:spChg>
        <pc:spChg chg="del">
          <ac:chgData name="Thomas Stensitzki" userId="75cafe6b-2f2a-469b-85c4-eec3b9c972ba" providerId="ADAL" clId="{B1462F1E-0CE4-4310-BDB3-DCDEDFDFEA3A}" dt="2023-10-22T09:51:07.517" v="1624" actId="478"/>
          <ac:spMkLst>
            <pc:docMk/>
            <pc:sldMk cId="245637279" sldId="754"/>
            <ac:spMk id="3" creationId="{5E9645CC-F51E-762D-58B1-D34B3EF4F333}"/>
          </ac:spMkLst>
        </pc:spChg>
        <pc:spChg chg="add mod">
          <ac:chgData name="Thomas Stensitzki" userId="75cafe6b-2f2a-469b-85c4-eec3b9c972ba" providerId="ADAL" clId="{B1462F1E-0CE4-4310-BDB3-DCDEDFDFEA3A}" dt="2023-10-22T09:51:04.618" v="1623" actId="1076"/>
          <ac:spMkLst>
            <pc:docMk/>
            <pc:sldMk cId="245637279" sldId="754"/>
            <ac:spMk id="5" creationId="{6E9B5E34-0BF9-D9FB-709D-A8A381461F0F}"/>
          </ac:spMkLst>
        </pc:spChg>
        <pc:picChg chg="add mod">
          <ac:chgData name="Thomas Stensitzki" userId="75cafe6b-2f2a-469b-85c4-eec3b9c972ba" providerId="ADAL" clId="{B1462F1E-0CE4-4310-BDB3-DCDEDFDFEA3A}" dt="2023-10-22T09:51:24.356" v="1629" actId="1076"/>
          <ac:picMkLst>
            <pc:docMk/>
            <pc:sldMk cId="245637279" sldId="754"/>
            <ac:picMk id="6146" creationId="{E6D9661D-DA30-99FA-BAE2-953D554CA6DF}"/>
          </ac:picMkLst>
        </pc:picChg>
      </pc:sldChg>
      <pc:sldChg chg="del">
        <pc:chgData name="Thomas Stensitzki" userId="75cafe6b-2f2a-469b-85c4-eec3b9c972ba" providerId="ADAL" clId="{B1462F1E-0CE4-4310-BDB3-DCDEDFDFEA3A}" dt="2023-08-14T14:44:39.723" v="72" actId="47"/>
        <pc:sldMkLst>
          <pc:docMk/>
          <pc:sldMk cId="4175667725" sldId="754"/>
        </pc:sldMkLst>
      </pc:sldChg>
      <pc:sldChg chg="del">
        <pc:chgData name="Thomas Stensitzki" userId="75cafe6b-2f2a-469b-85c4-eec3b9c972ba" providerId="ADAL" clId="{B1462F1E-0CE4-4310-BDB3-DCDEDFDFEA3A}" dt="2023-08-14T14:44:39.723" v="72" actId="47"/>
        <pc:sldMkLst>
          <pc:docMk/>
          <pc:sldMk cId="2580803171" sldId="755"/>
        </pc:sldMkLst>
      </pc:sldChg>
      <pc:sldChg chg="modSp add">
        <pc:chgData name="Thomas Stensitzki" userId="75cafe6b-2f2a-469b-85c4-eec3b9c972ba" providerId="ADAL" clId="{B1462F1E-0CE4-4310-BDB3-DCDEDFDFEA3A}" dt="2023-10-22T09:56:10.317" v="1635" actId="14826"/>
        <pc:sldMkLst>
          <pc:docMk/>
          <pc:sldMk cId="3001994711" sldId="755"/>
        </pc:sldMkLst>
        <pc:picChg chg="mod">
          <ac:chgData name="Thomas Stensitzki" userId="75cafe6b-2f2a-469b-85c4-eec3b9c972ba" providerId="ADAL" clId="{B1462F1E-0CE4-4310-BDB3-DCDEDFDFEA3A}" dt="2023-10-22T09:56:10.317" v="1635" actId="14826"/>
          <ac:picMkLst>
            <pc:docMk/>
            <pc:sldMk cId="3001994711" sldId="755"/>
            <ac:picMk id="6146" creationId="{E6D9661D-DA30-99FA-BAE2-953D554CA6DF}"/>
          </ac:picMkLst>
        </pc:picChg>
      </pc:sldChg>
      <pc:sldChg chg="addSp delSp modSp new mod">
        <pc:chgData name="Thomas Stensitzki" userId="75cafe6b-2f2a-469b-85c4-eec3b9c972ba" providerId="ADAL" clId="{B1462F1E-0CE4-4310-BDB3-DCDEDFDFEA3A}" dt="2023-10-22T09:58:49.182" v="1661" actId="1440"/>
        <pc:sldMkLst>
          <pc:docMk/>
          <pc:sldMk cId="495742784" sldId="756"/>
        </pc:sldMkLst>
        <pc:spChg chg="mod">
          <ac:chgData name="Thomas Stensitzki" userId="75cafe6b-2f2a-469b-85c4-eec3b9c972ba" providerId="ADAL" clId="{B1462F1E-0CE4-4310-BDB3-DCDEDFDFEA3A}" dt="2023-10-22T09:57:18.570" v="1641" actId="6549"/>
          <ac:spMkLst>
            <pc:docMk/>
            <pc:sldMk cId="495742784" sldId="756"/>
            <ac:spMk id="2" creationId="{CA7F7A1D-5D7D-FF1F-4DD4-0C8C2713468E}"/>
          </ac:spMkLst>
        </pc:spChg>
        <pc:spChg chg="del">
          <ac:chgData name="Thomas Stensitzki" userId="75cafe6b-2f2a-469b-85c4-eec3b9c972ba" providerId="ADAL" clId="{B1462F1E-0CE4-4310-BDB3-DCDEDFDFEA3A}" dt="2023-10-22T09:57:27.384" v="1642" actId="478"/>
          <ac:spMkLst>
            <pc:docMk/>
            <pc:sldMk cId="495742784" sldId="756"/>
            <ac:spMk id="3" creationId="{B3DFDAF6-84DF-B6BE-A7DC-BDD125A121B1}"/>
          </ac:spMkLst>
        </pc:spChg>
        <pc:picChg chg="add mod">
          <ac:chgData name="Thomas Stensitzki" userId="75cafe6b-2f2a-469b-85c4-eec3b9c972ba" providerId="ADAL" clId="{B1462F1E-0CE4-4310-BDB3-DCDEDFDFEA3A}" dt="2023-10-22T09:58:49.182" v="1661" actId="1440"/>
          <ac:picMkLst>
            <pc:docMk/>
            <pc:sldMk cId="495742784" sldId="756"/>
            <ac:picMk id="4" creationId="{77012DCD-B808-FDA3-7BE4-98F129AE739F}"/>
          </ac:picMkLst>
        </pc:picChg>
        <pc:picChg chg="add mod">
          <ac:chgData name="Thomas Stensitzki" userId="75cafe6b-2f2a-469b-85c4-eec3b9c972ba" providerId="ADAL" clId="{B1462F1E-0CE4-4310-BDB3-DCDEDFDFEA3A}" dt="2023-10-22T09:58:49.182" v="1661" actId="1440"/>
          <ac:picMkLst>
            <pc:docMk/>
            <pc:sldMk cId="495742784" sldId="756"/>
            <ac:picMk id="5" creationId="{3742C661-9697-95D6-495A-2C41FCEF4E4F}"/>
          </ac:picMkLst>
        </pc:picChg>
        <pc:picChg chg="add mod">
          <ac:chgData name="Thomas Stensitzki" userId="75cafe6b-2f2a-469b-85c4-eec3b9c972ba" providerId="ADAL" clId="{B1462F1E-0CE4-4310-BDB3-DCDEDFDFEA3A}" dt="2023-10-22T09:58:49.182" v="1661" actId="1440"/>
          <ac:picMkLst>
            <pc:docMk/>
            <pc:sldMk cId="495742784" sldId="756"/>
            <ac:picMk id="6" creationId="{9EFBF646-632D-8B5B-DC46-4216D6681294}"/>
          </ac:picMkLst>
        </pc:picChg>
        <pc:picChg chg="add mod">
          <ac:chgData name="Thomas Stensitzki" userId="75cafe6b-2f2a-469b-85c4-eec3b9c972ba" providerId="ADAL" clId="{B1462F1E-0CE4-4310-BDB3-DCDEDFDFEA3A}" dt="2023-10-22T09:58:49.182" v="1661" actId="1440"/>
          <ac:picMkLst>
            <pc:docMk/>
            <pc:sldMk cId="495742784" sldId="756"/>
            <ac:picMk id="7" creationId="{BB90FE5B-97AE-1067-EEB5-145AAB8510A1}"/>
          </ac:picMkLst>
        </pc:picChg>
        <pc:picChg chg="add del">
          <ac:chgData name="Thomas Stensitzki" userId="75cafe6b-2f2a-469b-85c4-eec3b9c972ba" providerId="ADAL" clId="{B1462F1E-0CE4-4310-BDB3-DCDEDFDFEA3A}" dt="2023-10-22T09:57:47.852" v="1650"/>
          <ac:picMkLst>
            <pc:docMk/>
            <pc:sldMk cId="495742784" sldId="756"/>
            <ac:picMk id="7170" creationId="{5DB98872-1E46-BBF2-EDA9-4F42900D3129}"/>
          </ac:picMkLst>
        </pc:picChg>
      </pc:sldChg>
      <pc:sldChg chg="del">
        <pc:chgData name="Thomas Stensitzki" userId="75cafe6b-2f2a-469b-85c4-eec3b9c972ba" providerId="ADAL" clId="{B1462F1E-0CE4-4310-BDB3-DCDEDFDFEA3A}" dt="2023-08-14T14:44:39.723" v="72" actId="47"/>
        <pc:sldMkLst>
          <pc:docMk/>
          <pc:sldMk cId="3441249704" sldId="756"/>
        </pc:sldMkLst>
      </pc:sldChg>
      <pc:sldChg chg="modSp new mod">
        <pc:chgData name="Thomas Stensitzki" userId="75cafe6b-2f2a-469b-85c4-eec3b9c972ba" providerId="ADAL" clId="{B1462F1E-0CE4-4310-BDB3-DCDEDFDFEA3A}" dt="2023-10-22T10:03:02.588" v="2010" actId="20577"/>
        <pc:sldMkLst>
          <pc:docMk/>
          <pc:sldMk cId="132134635" sldId="757"/>
        </pc:sldMkLst>
        <pc:spChg chg="mod">
          <ac:chgData name="Thomas Stensitzki" userId="75cafe6b-2f2a-469b-85c4-eec3b9c972ba" providerId="ADAL" clId="{B1462F1E-0CE4-4310-BDB3-DCDEDFDFEA3A}" dt="2023-10-22T09:59:35.171" v="1665"/>
          <ac:spMkLst>
            <pc:docMk/>
            <pc:sldMk cId="132134635" sldId="757"/>
            <ac:spMk id="2" creationId="{9BBC6F39-39BE-5CBE-3253-AD50C56296D9}"/>
          </ac:spMkLst>
        </pc:spChg>
        <pc:spChg chg="mod">
          <ac:chgData name="Thomas Stensitzki" userId="75cafe6b-2f2a-469b-85c4-eec3b9c972ba" providerId="ADAL" clId="{B1462F1E-0CE4-4310-BDB3-DCDEDFDFEA3A}" dt="2023-10-22T10:03:02.588" v="2010" actId="20577"/>
          <ac:spMkLst>
            <pc:docMk/>
            <pc:sldMk cId="132134635" sldId="757"/>
            <ac:spMk id="3" creationId="{B503C17A-AFE5-DBDC-0647-30AF9B7C6DB7}"/>
          </ac:spMkLst>
        </pc:spChg>
      </pc:sldChg>
      <pc:sldChg chg="del">
        <pc:chgData name="Thomas Stensitzki" userId="75cafe6b-2f2a-469b-85c4-eec3b9c972ba" providerId="ADAL" clId="{B1462F1E-0CE4-4310-BDB3-DCDEDFDFEA3A}" dt="2023-08-14T14:44:39.723" v="72" actId="47"/>
        <pc:sldMkLst>
          <pc:docMk/>
          <pc:sldMk cId="2120421256" sldId="757"/>
        </pc:sldMkLst>
      </pc:sldChg>
      <pc:sldChg chg="addSp delSp modSp new mod">
        <pc:chgData name="Thomas Stensitzki" userId="75cafe6b-2f2a-469b-85c4-eec3b9c972ba" providerId="ADAL" clId="{B1462F1E-0CE4-4310-BDB3-DCDEDFDFEA3A}" dt="2023-10-22T10:04:15.344" v="2018" actId="1076"/>
        <pc:sldMkLst>
          <pc:docMk/>
          <pc:sldMk cId="2284546408" sldId="758"/>
        </pc:sldMkLst>
        <pc:spChg chg="mod">
          <ac:chgData name="Thomas Stensitzki" userId="75cafe6b-2f2a-469b-85c4-eec3b9c972ba" providerId="ADAL" clId="{B1462F1E-0CE4-4310-BDB3-DCDEDFDFEA3A}" dt="2023-10-22T10:03:55.461" v="2014"/>
          <ac:spMkLst>
            <pc:docMk/>
            <pc:sldMk cId="2284546408" sldId="758"/>
            <ac:spMk id="2" creationId="{6E62727E-4CB7-6B7A-043F-0F2A1E056316}"/>
          </ac:spMkLst>
        </pc:spChg>
        <pc:spChg chg="del">
          <ac:chgData name="Thomas Stensitzki" userId="75cafe6b-2f2a-469b-85c4-eec3b9c972ba" providerId="ADAL" clId="{B1462F1E-0CE4-4310-BDB3-DCDEDFDFEA3A}" dt="2023-10-22T10:04:08.961" v="2015" actId="478"/>
          <ac:spMkLst>
            <pc:docMk/>
            <pc:sldMk cId="2284546408" sldId="758"/>
            <ac:spMk id="3" creationId="{2027E923-2603-48D5-4378-B356477A3D56}"/>
          </ac:spMkLst>
        </pc:spChg>
        <pc:picChg chg="add mod">
          <ac:chgData name="Thomas Stensitzki" userId="75cafe6b-2f2a-469b-85c4-eec3b9c972ba" providerId="ADAL" clId="{B1462F1E-0CE4-4310-BDB3-DCDEDFDFEA3A}" dt="2023-10-22T10:04:15.344" v="2018" actId="1076"/>
          <ac:picMkLst>
            <pc:docMk/>
            <pc:sldMk cId="2284546408" sldId="758"/>
            <ac:picMk id="8194" creationId="{B39A795C-4B0E-9043-2B1C-F6C04AA3EC9A}"/>
          </ac:picMkLst>
        </pc:picChg>
      </pc:sldChg>
      <pc:sldChg chg="del">
        <pc:chgData name="Thomas Stensitzki" userId="75cafe6b-2f2a-469b-85c4-eec3b9c972ba" providerId="ADAL" clId="{B1462F1E-0CE4-4310-BDB3-DCDEDFDFEA3A}" dt="2023-08-14T14:44:39.723" v="72" actId="47"/>
        <pc:sldMkLst>
          <pc:docMk/>
          <pc:sldMk cId="3538299181" sldId="758"/>
        </pc:sldMkLst>
      </pc:sldChg>
      <pc:sldChg chg="del">
        <pc:chgData name="Thomas Stensitzki" userId="75cafe6b-2f2a-469b-85c4-eec3b9c972ba" providerId="ADAL" clId="{B1462F1E-0CE4-4310-BDB3-DCDEDFDFEA3A}" dt="2023-08-14T14:44:46.963" v="73" actId="47"/>
        <pc:sldMkLst>
          <pc:docMk/>
          <pc:sldMk cId="2253260559" sldId="759"/>
        </pc:sldMkLst>
      </pc:sldChg>
      <pc:sldChg chg="addSp delSp modSp new mod">
        <pc:chgData name="Thomas Stensitzki" userId="75cafe6b-2f2a-469b-85c4-eec3b9c972ba" providerId="ADAL" clId="{B1462F1E-0CE4-4310-BDB3-DCDEDFDFEA3A}" dt="2023-10-22T10:08:21.835" v="2321" actId="20577"/>
        <pc:sldMkLst>
          <pc:docMk/>
          <pc:sldMk cId="3449039697" sldId="759"/>
        </pc:sldMkLst>
        <pc:spChg chg="mod">
          <ac:chgData name="Thomas Stensitzki" userId="75cafe6b-2f2a-469b-85c4-eec3b9c972ba" providerId="ADAL" clId="{B1462F1E-0CE4-4310-BDB3-DCDEDFDFEA3A}" dt="2023-10-22T10:04:48.678" v="2025"/>
          <ac:spMkLst>
            <pc:docMk/>
            <pc:sldMk cId="3449039697" sldId="759"/>
            <ac:spMk id="2" creationId="{700C0F88-9477-8548-A548-573AA223F331}"/>
          </ac:spMkLst>
        </pc:spChg>
        <pc:spChg chg="del">
          <ac:chgData name="Thomas Stensitzki" userId="75cafe6b-2f2a-469b-85c4-eec3b9c972ba" providerId="ADAL" clId="{B1462F1E-0CE4-4310-BDB3-DCDEDFDFEA3A}" dt="2023-10-22T10:04:53.575" v="2026" actId="478"/>
          <ac:spMkLst>
            <pc:docMk/>
            <pc:sldMk cId="3449039697" sldId="759"/>
            <ac:spMk id="3" creationId="{A06C6B69-F0DE-755B-6165-E2A96019BA79}"/>
          </ac:spMkLst>
        </pc:spChg>
        <pc:spChg chg="add mod">
          <ac:chgData name="Thomas Stensitzki" userId="75cafe6b-2f2a-469b-85c4-eec3b9c972ba" providerId="ADAL" clId="{B1462F1E-0CE4-4310-BDB3-DCDEDFDFEA3A}" dt="2023-10-22T10:08:21.835" v="2321" actId="20577"/>
          <ac:spMkLst>
            <pc:docMk/>
            <pc:sldMk cId="3449039697" sldId="759"/>
            <ac:spMk id="4" creationId="{3DDDDCCA-E741-D1A6-75B8-F0C6B176681D}"/>
          </ac:spMkLst>
        </pc:spChg>
        <pc:picChg chg="add del mod">
          <ac:chgData name="Thomas Stensitzki" userId="75cafe6b-2f2a-469b-85c4-eec3b9c972ba" providerId="ADAL" clId="{B1462F1E-0CE4-4310-BDB3-DCDEDFDFEA3A}" dt="2023-10-22T10:05:28.597" v="2033" actId="478"/>
          <ac:picMkLst>
            <pc:docMk/>
            <pc:sldMk cId="3449039697" sldId="759"/>
            <ac:picMk id="9218" creationId="{92D8097A-EAB5-3FD4-9FC1-6DC08DCD5D31}"/>
          </ac:picMkLst>
        </pc:picChg>
      </pc:sldChg>
      <pc:sldChg chg="add">
        <pc:chgData name="Thomas Stensitzki" userId="75cafe6b-2f2a-469b-85c4-eec3b9c972ba" providerId="ADAL" clId="{B1462F1E-0CE4-4310-BDB3-DCDEDFDFEA3A}" dt="2023-10-22T10:05:25.489" v="2032" actId="2890"/>
        <pc:sldMkLst>
          <pc:docMk/>
          <pc:sldMk cId="1212930002" sldId="760"/>
        </pc:sldMkLst>
      </pc:sldChg>
      <pc:sldChg chg="del">
        <pc:chgData name="Thomas Stensitzki" userId="75cafe6b-2f2a-469b-85c4-eec3b9c972ba" providerId="ADAL" clId="{B1462F1E-0CE4-4310-BDB3-DCDEDFDFEA3A}" dt="2023-08-14T14:44:46.963" v="73" actId="47"/>
        <pc:sldMkLst>
          <pc:docMk/>
          <pc:sldMk cId="3932105883" sldId="760"/>
        </pc:sldMkLst>
      </pc:sldChg>
      <pc:sldChg chg="modSp new mod">
        <pc:chgData name="Thomas Stensitzki" userId="75cafe6b-2f2a-469b-85c4-eec3b9c972ba" providerId="ADAL" clId="{B1462F1E-0CE4-4310-BDB3-DCDEDFDFEA3A}" dt="2023-10-22T10:09:51.790" v="2387" actId="15"/>
        <pc:sldMkLst>
          <pc:docMk/>
          <pc:sldMk cId="2936606080" sldId="761"/>
        </pc:sldMkLst>
        <pc:spChg chg="mod">
          <ac:chgData name="Thomas Stensitzki" userId="75cafe6b-2f2a-469b-85c4-eec3b9c972ba" providerId="ADAL" clId="{B1462F1E-0CE4-4310-BDB3-DCDEDFDFEA3A}" dt="2023-10-22T10:09:09.959" v="2336"/>
          <ac:spMkLst>
            <pc:docMk/>
            <pc:sldMk cId="2936606080" sldId="761"/>
            <ac:spMk id="2" creationId="{052B0509-F7A0-D935-5601-79EB8AA808FA}"/>
          </ac:spMkLst>
        </pc:spChg>
        <pc:spChg chg="mod">
          <ac:chgData name="Thomas Stensitzki" userId="75cafe6b-2f2a-469b-85c4-eec3b9c972ba" providerId="ADAL" clId="{B1462F1E-0CE4-4310-BDB3-DCDEDFDFEA3A}" dt="2023-10-22T10:09:51.790" v="2387" actId="15"/>
          <ac:spMkLst>
            <pc:docMk/>
            <pc:sldMk cId="2936606080" sldId="761"/>
            <ac:spMk id="3" creationId="{CB929649-1F92-2E41-5BFB-8D885A041FFA}"/>
          </ac:spMkLst>
        </pc:spChg>
      </pc:sldChg>
      <pc:sldChg chg="del">
        <pc:chgData name="Thomas Stensitzki" userId="75cafe6b-2f2a-469b-85c4-eec3b9c972ba" providerId="ADAL" clId="{B1462F1E-0CE4-4310-BDB3-DCDEDFDFEA3A}" dt="2023-08-14T14:44:46.963" v="73" actId="47"/>
        <pc:sldMkLst>
          <pc:docMk/>
          <pc:sldMk cId="3362652068" sldId="761"/>
        </pc:sldMkLst>
      </pc:sldChg>
      <pc:sldChg chg="modSp add mod ord">
        <pc:chgData name="Thomas Stensitzki" userId="75cafe6b-2f2a-469b-85c4-eec3b9c972ba" providerId="ADAL" clId="{B1462F1E-0CE4-4310-BDB3-DCDEDFDFEA3A}" dt="2023-10-22T10:10:19.989" v="2392"/>
        <pc:sldMkLst>
          <pc:docMk/>
          <pc:sldMk cId="817169500" sldId="762"/>
        </pc:sldMkLst>
        <pc:spChg chg="mod">
          <ac:chgData name="Thomas Stensitzki" userId="75cafe6b-2f2a-469b-85c4-eec3b9c972ba" providerId="ADAL" clId="{B1462F1E-0CE4-4310-BDB3-DCDEDFDFEA3A}" dt="2023-10-22T10:10:19.989" v="2392"/>
          <ac:spMkLst>
            <pc:docMk/>
            <pc:sldMk cId="817169500" sldId="762"/>
            <ac:spMk id="2" creationId="{6E62727E-4CB7-6B7A-043F-0F2A1E056316}"/>
          </ac:spMkLst>
        </pc:spChg>
        <pc:picChg chg="mod">
          <ac:chgData name="Thomas Stensitzki" userId="75cafe6b-2f2a-469b-85c4-eec3b9c972ba" providerId="ADAL" clId="{B1462F1E-0CE4-4310-BDB3-DCDEDFDFEA3A}" dt="2023-10-22T10:10:12.937" v="2391" actId="14826"/>
          <ac:picMkLst>
            <pc:docMk/>
            <pc:sldMk cId="817169500" sldId="762"/>
            <ac:picMk id="8194" creationId="{B39A795C-4B0E-9043-2B1C-F6C04AA3EC9A}"/>
          </ac:picMkLst>
        </pc:picChg>
      </pc:sldChg>
      <pc:sldChg chg="addSp modSp del mod">
        <pc:chgData name="Thomas Stensitzki" userId="75cafe6b-2f2a-469b-85c4-eec3b9c972ba" providerId="ADAL" clId="{B1462F1E-0CE4-4310-BDB3-DCDEDFDFEA3A}" dt="2023-10-21T14:40:38.874" v="398" actId="47"/>
        <pc:sldMkLst>
          <pc:docMk/>
          <pc:sldMk cId="1155620625" sldId="762"/>
        </pc:sldMkLst>
        <pc:spChg chg="mod">
          <ac:chgData name="Thomas Stensitzki" userId="75cafe6b-2f2a-469b-85c4-eec3b9c972ba" providerId="ADAL" clId="{B1462F1E-0CE4-4310-BDB3-DCDEDFDFEA3A}" dt="2023-08-14T14:47:11.094" v="113" actId="20577"/>
          <ac:spMkLst>
            <pc:docMk/>
            <pc:sldMk cId="1155620625" sldId="762"/>
            <ac:spMk id="4" creationId="{22178338-04CE-D0ED-FF1C-006DA86C3465}"/>
          </ac:spMkLst>
        </pc:spChg>
        <pc:spChg chg="mod">
          <ac:chgData name="Thomas Stensitzki" userId="75cafe6b-2f2a-469b-85c4-eec3b9c972ba" providerId="ADAL" clId="{B1462F1E-0CE4-4310-BDB3-DCDEDFDFEA3A}" dt="2023-08-14T15:00:27.359" v="251" actId="113"/>
          <ac:spMkLst>
            <pc:docMk/>
            <pc:sldMk cId="1155620625" sldId="762"/>
            <ac:spMk id="5" creationId="{E051A96C-66E0-5823-6CCB-1AD57472AD68}"/>
          </ac:spMkLst>
        </pc:spChg>
        <pc:picChg chg="add mod">
          <ac:chgData name="Thomas Stensitzki" userId="75cafe6b-2f2a-469b-85c4-eec3b9c972ba" providerId="ADAL" clId="{B1462F1E-0CE4-4310-BDB3-DCDEDFDFEA3A}" dt="2023-08-14T15:00:43.548" v="254" actId="1076"/>
          <ac:picMkLst>
            <pc:docMk/>
            <pc:sldMk cId="1155620625" sldId="762"/>
            <ac:picMk id="3" creationId="{A6AD01EF-A5F6-0EBF-181A-9B7E6860F0C5}"/>
          </ac:picMkLst>
        </pc:picChg>
        <pc:picChg chg="add mod">
          <ac:chgData name="Thomas Stensitzki" userId="75cafe6b-2f2a-469b-85c4-eec3b9c972ba" providerId="ADAL" clId="{B1462F1E-0CE4-4310-BDB3-DCDEDFDFEA3A}" dt="2023-08-14T15:02:42.731" v="262" actId="1076"/>
          <ac:picMkLst>
            <pc:docMk/>
            <pc:sldMk cId="1155620625" sldId="762"/>
            <ac:picMk id="7" creationId="{6781202D-2001-6B27-A943-AAF7B83F0D76}"/>
          </ac:picMkLst>
        </pc:picChg>
      </pc:sldChg>
      <pc:sldChg chg="addSp delSp modSp new del mod setBg modClrScheme chgLayout">
        <pc:chgData name="Thomas Stensitzki" userId="75cafe6b-2f2a-469b-85c4-eec3b9c972ba" providerId="ADAL" clId="{B1462F1E-0CE4-4310-BDB3-DCDEDFDFEA3A}" dt="2023-10-21T14:40:42.873" v="400" actId="47"/>
        <pc:sldMkLst>
          <pc:docMk/>
          <pc:sldMk cId="1641846161" sldId="763"/>
        </pc:sldMkLst>
        <pc:spChg chg="del mod ord">
          <ac:chgData name="Thomas Stensitzki" userId="75cafe6b-2f2a-469b-85c4-eec3b9c972ba" providerId="ADAL" clId="{B1462F1E-0CE4-4310-BDB3-DCDEDFDFEA3A}" dt="2023-08-14T14:45:41.797" v="77" actId="700"/>
          <ac:spMkLst>
            <pc:docMk/>
            <pc:sldMk cId="1641846161" sldId="763"/>
            <ac:spMk id="2" creationId="{4C5020C9-B624-7FFB-13A6-05243D44CF10}"/>
          </ac:spMkLst>
        </pc:spChg>
        <pc:spChg chg="del mod ord">
          <ac:chgData name="Thomas Stensitzki" userId="75cafe6b-2f2a-469b-85c4-eec3b9c972ba" providerId="ADAL" clId="{B1462F1E-0CE4-4310-BDB3-DCDEDFDFEA3A}" dt="2023-08-14T14:45:41.797" v="77" actId="700"/>
          <ac:spMkLst>
            <pc:docMk/>
            <pc:sldMk cId="1641846161" sldId="763"/>
            <ac:spMk id="3" creationId="{61D44FEF-C543-2BCC-7AFF-0E3030F50737}"/>
          </ac:spMkLst>
        </pc:spChg>
        <pc:spChg chg="add mod ord">
          <ac:chgData name="Thomas Stensitzki" userId="75cafe6b-2f2a-469b-85c4-eec3b9c972ba" providerId="ADAL" clId="{B1462F1E-0CE4-4310-BDB3-DCDEDFDFEA3A}" dt="2023-08-14T14:46:39.973" v="91" actId="26606"/>
          <ac:spMkLst>
            <pc:docMk/>
            <pc:sldMk cId="1641846161" sldId="763"/>
            <ac:spMk id="4" creationId="{A3DA713F-584F-BC94-0FD7-997781C0DDF7}"/>
          </ac:spMkLst>
        </pc:spChg>
        <pc:spChg chg="add mod ord">
          <ac:chgData name="Thomas Stensitzki" userId="75cafe6b-2f2a-469b-85c4-eec3b9c972ba" providerId="ADAL" clId="{B1462F1E-0CE4-4310-BDB3-DCDEDFDFEA3A}" dt="2023-08-14T14:46:39.973" v="91" actId="26606"/>
          <ac:spMkLst>
            <pc:docMk/>
            <pc:sldMk cId="1641846161" sldId="763"/>
            <ac:spMk id="5" creationId="{778FA543-80CD-FCD1-4878-3D3EB2910BDF}"/>
          </ac:spMkLst>
        </pc:spChg>
        <pc:spChg chg="add del">
          <ac:chgData name="Thomas Stensitzki" userId="75cafe6b-2f2a-469b-85c4-eec3b9c972ba" providerId="ADAL" clId="{B1462F1E-0CE4-4310-BDB3-DCDEDFDFEA3A}" dt="2023-08-14T14:46:39.973" v="91" actId="26606"/>
          <ac:spMkLst>
            <pc:docMk/>
            <pc:sldMk cId="1641846161" sldId="763"/>
            <ac:spMk id="10" creationId="{6DDA8CE9-E0A6-4FF2-823D-D08607606DC2}"/>
          </ac:spMkLst>
        </pc:spChg>
        <pc:spChg chg="add del">
          <ac:chgData name="Thomas Stensitzki" userId="75cafe6b-2f2a-469b-85c4-eec3b9c972ba" providerId="ADAL" clId="{B1462F1E-0CE4-4310-BDB3-DCDEDFDFEA3A}" dt="2023-08-14T14:46:06.462" v="83" actId="26606"/>
          <ac:spMkLst>
            <pc:docMk/>
            <pc:sldMk cId="1641846161" sldId="763"/>
            <ac:spMk id="12" creationId="{A3363022-C969-41E9-8EB2-E4C94908C1FA}"/>
          </ac:spMkLst>
        </pc:spChg>
        <pc:spChg chg="add del">
          <ac:chgData name="Thomas Stensitzki" userId="75cafe6b-2f2a-469b-85c4-eec3b9c972ba" providerId="ADAL" clId="{B1462F1E-0CE4-4310-BDB3-DCDEDFDFEA3A}" dt="2023-08-14T14:46:06.462" v="83" actId="26606"/>
          <ac:spMkLst>
            <pc:docMk/>
            <pc:sldMk cId="1641846161" sldId="763"/>
            <ac:spMk id="14" creationId="{8D1AD6B3-BE88-4CEB-BA17-790657CC4729}"/>
          </ac:spMkLst>
        </pc:spChg>
        <pc:spChg chg="add del">
          <ac:chgData name="Thomas Stensitzki" userId="75cafe6b-2f2a-469b-85c4-eec3b9c972ba" providerId="ADAL" clId="{B1462F1E-0CE4-4310-BDB3-DCDEDFDFEA3A}" dt="2023-08-14T14:46:39.973" v="91" actId="26606"/>
          <ac:spMkLst>
            <pc:docMk/>
            <pc:sldMk cId="1641846161" sldId="763"/>
            <ac:spMk id="24" creationId="{11195564-33B9-434B-9641-764F5905A56F}"/>
          </ac:spMkLst>
        </pc:spChg>
        <pc:spChg chg="add del">
          <ac:chgData name="Thomas Stensitzki" userId="75cafe6b-2f2a-469b-85c4-eec3b9c972ba" providerId="ADAL" clId="{B1462F1E-0CE4-4310-BDB3-DCDEDFDFEA3A}" dt="2023-08-14T14:46:29.439" v="86" actId="26606"/>
          <ac:spMkLst>
            <pc:docMk/>
            <pc:sldMk cId="1641846161" sldId="763"/>
            <ac:spMk id="35" creationId="{BEBFA723-5A7B-472D-ABD7-1526B8D3A38B}"/>
          </ac:spMkLst>
        </pc:spChg>
        <pc:spChg chg="add del">
          <ac:chgData name="Thomas Stensitzki" userId="75cafe6b-2f2a-469b-85c4-eec3b9c972ba" providerId="ADAL" clId="{B1462F1E-0CE4-4310-BDB3-DCDEDFDFEA3A}" dt="2023-08-14T14:46:29.439" v="86" actId="26606"/>
          <ac:spMkLst>
            <pc:docMk/>
            <pc:sldMk cId="1641846161" sldId="763"/>
            <ac:spMk id="37" creationId="{A6B27065-399A-4CF7-BF70-CF79B9848FC1}"/>
          </ac:spMkLst>
        </pc:spChg>
        <pc:spChg chg="add del">
          <ac:chgData name="Thomas Stensitzki" userId="75cafe6b-2f2a-469b-85c4-eec3b9c972ba" providerId="ADAL" clId="{B1462F1E-0CE4-4310-BDB3-DCDEDFDFEA3A}" dt="2023-08-14T14:46:31.752" v="88" actId="26606"/>
          <ac:spMkLst>
            <pc:docMk/>
            <pc:sldMk cId="1641846161" sldId="763"/>
            <ac:spMk id="44" creationId="{65219498-D544-41AC-98FE-8F956EF66A62}"/>
          </ac:spMkLst>
        </pc:spChg>
        <pc:spChg chg="add del">
          <ac:chgData name="Thomas Stensitzki" userId="75cafe6b-2f2a-469b-85c4-eec3b9c972ba" providerId="ADAL" clId="{B1462F1E-0CE4-4310-BDB3-DCDEDFDFEA3A}" dt="2023-08-14T14:46:31.752" v="88" actId="26606"/>
          <ac:spMkLst>
            <pc:docMk/>
            <pc:sldMk cId="1641846161" sldId="763"/>
            <ac:spMk id="45" creationId="{F500DBFC-17A9-4E0A-AEE2-A49F9AEEF0FD}"/>
          </ac:spMkLst>
        </pc:spChg>
        <pc:spChg chg="add del">
          <ac:chgData name="Thomas Stensitzki" userId="75cafe6b-2f2a-469b-85c4-eec3b9c972ba" providerId="ADAL" clId="{B1462F1E-0CE4-4310-BDB3-DCDEDFDFEA3A}" dt="2023-08-14T14:46:39.957" v="90" actId="26606"/>
          <ac:spMkLst>
            <pc:docMk/>
            <pc:sldMk cId="1641846161" sldId="763"/>
            <ac:spMk id="52" creationId="{6DBF50F6-DD88-4D9F-B7D3-79B989980940}"/>
          </ac:spMkLst>
        </pc:spChg>
        <pc:spChg chg="add del">
          <ac:chgData name="Thomas Stensitzki" userId="75cafe6b-2f2a-469b-85c4-eec3b9c972ba" providerId="ADAL" clId="{B1462F1E-0CE4-4310-BDB3-DCDEDFDFEA3A}" dt="2023-08-14T14:46:39.957" v="90" actId="26606"/>
          <ac:spMkLst>
            <pc:docMk/>
            <pc:sldMk cId="1641846161" sldId="763"/>
            <ac:spMk id="53" creationId="{916BBDC2-6929-469E-B7C4-A03E77BF94B0}"/>
          </ac:spMkLst>
        </pc:spChg>
        <pc:spChg chg="add">
          <ac:chgData name="Thomas Stensitzki" userId="75cafe6b-2f2a-469b-85c4-eec3b9c972ba" providerId="ADAL" clId="{B1462F1E-0CE4-4310-BDB3-DCDEDFDFEA3A}" dt="2023-08-14T14:46:39.973" v="91" actId="26606"/>
          <ac:spMkLst>
            <pc:docMk/>
            <pc:sldMk cId="1641846161" sldId="763"/>
            <ac:spMk id="63" creationId="{74751229-0244-4FBB-BED1-407467F4C951}"/>
          </ac:spMkLst>
        </pc:spChg>
        <pc:grpChg chg="add del">
          <ac:chgData name="Thomas Stensitzki" userId="75cafe6b-2f2a-469b-85c4-eec3b9c972ba" providerId="ADAL" clId="{B1462F1E-0CE4-4310-BDB3-DCDEDFDFEA3A}" dt="2023-08-14T14:46:06.462" v="83" actId="26606"/>
          <ac:grpSpMkLst>
            <pc:docMk/>
            <pc:sldMk cId="1641846161" sldId="763"/>
            <ac:grpSpMk id="16" creationId="{89D1390B-7E13-4B4F-9CB2-391063412E54}"/>
          </ac:grpSpMkLst>
        </pc:grpChg>
        <pc:grpChg chg="add del">
          <ac:chgData name="Thomas Stensitzki" userId="75cafe6b-2f2a-469b-85c4-eec3b9c972ba" providerId="ADAL" clId="{B1462F1E-0CE4-4310-BDB3-DCDEDFDFEA3A}" dt="2023-08-14T14:46:39.973" v="91" actId="26606"/>
          <ac:grpSpMkLst>
            <pc:docMk/>
            <pc:sldMk cId="1641846161" sldId="763"/>
            <ac:grpSpMk id="20" creationId="{5A1259D8-0C3A-4069-A22F-537BBBB61A9C}"/>
          </ac:grpSpMkLst>
        </pc:grpChg>
        <pc:grpChg chg="add del">
          <ac:chgData name="Thomas Stensitzki" userId="75cafe6b-2f2a-469b-85c4-eec3b9c972ba" providerId="ADAL" clId="{B1462F1E-0CE4-4310-BDB3-DCDEDFDFEA3A}" dt="2023-08-14T14:46:39.973" v="91" actId="26606"/>
          <ac:grpSpMkLst>
            <pc:docMk/>
            <pc:sldMk cId="1641846161" sldId="763"/>
            <ac:grpSpMk id="25" creationId="{1D18C537-E336-47C4-836B-C342A230F8F3}"/>
          </ac:grpSpMkLst>
        </pc:grpChg>
        <pc:grpChg chg="add del">
          <ac:chgData name="Thomas Stensitzki" userId="75cafe6b-2f2a-469b-85c4-eec3b9c972ba" providerId="ADAL" clId="{B1462F1E-0CE4-4310-BDB3-DCDEDFDFEA3A}" dt="2023-08-14T14:46:29.439" v="86" actId="26606"/>
          <ac:grpSpMkLst>
            <pc:docMk/>
            <pc:sldMk cId="1641846161" sldId="763"/>
            <ac:grpSpMk id="39" creationId="{CF22986C-DDF7-4109-9D6A-006800D6B041}"/>
          </ac:grpSpMkLst>
        </pc:grpChg>
        <pc:grpChg chg="add del">
          <ac:chgData name="Thomas Stensitzki" userId="75cafe6b-2f2a-469b-85c4-eec3b9c972ba" providerId="ADAL" clId="{B1462F1E-0CE4-4310-BDB3-DCDEDFDFEA3A}" dt="2023-08-14T14:46:31.752" v="88" actId="26606"/>
          <ac:grpSpMkLst>
            <pc:docMk/>
            <pc:sldMk cId="1641846161" sldId="763"/>
            <ac:grpSpMk id="46" creationId="{D74613BB-817C-4C4F-8A24-4936F2F064C0}"/>
          </ac:grpSpMkLst>
        </pc:grpChg>
        <pc:grpChg chg="add del">
          <ac:chgData name="Thomas Stensitzki" userId="75cafe6b-2f2a-469b-85c4-eec3b9c972ba" providerId="ADAL" clId="{B1462F1E-0CE4-4310-BDB3-DCDEDFDFEA3A}" dt="2023-08-14T14:46:39.957" v="90" actId="26606"/>
          <ac:grpSpMkLst>
            <pc:docMk/>
            <pc:sldMk cId="1641846161" sldId="763"/>
            <ac:grpSpMk id="54" creationId="{C344E6B5-C9F5-4338-9E33-003B12373104}"/>
          </ac:grpSpMkLst>
        </pc:grpChg>
        <pc:grpChg chg="add del">
          <ac:chgData name="Thomas Stensitzki" userId="75cafe6b-2f2a-469b-85c4-eec3b9c972ba" providerId="ADAL" clId="{B1462F1E-0CE4-4310-BDB3-DCDEDFDFEA3A}" dt="2023-08-14T14:46:39.957" v="90" actId="26606"/>
          <ac:grpSpMkLst>
            <pc:docMk/>
            <pc:sldMk cId="1641846161" sldId="763"/>
            <ac:grpSpMk id="57" creationId="{FDFEDBF7-8E2C-46B8-9095-AE1D77E21773}"/>
          </ac:grpSpMkLst>
        </pc:grpChg>
        <pc:picChg chg="add del">
          <ac:chgData name="Thomas Stensitzki" userId="75cafe6b-2f2a-469b-85c4-eec3b9c972ba" providerId="ADAL" clId="{B1462F1E-0CE4-4310-BDB3-DCDEDFDFEA3A}" dt="2023-08-14T14:46:06.462" v="83" actId="26606"/>
          <ac:picMkLst>
            <pc:docMk/>
            <pc:sldMk cId="1641846161" sldId="763"/>
            <ac:picMk id="9" creationId="{A742AAA3-7D3B-A102-C2C8-17E54979B712}"/>
          </ac:picMkLst>
        </pc:picChg>
        <pc:picChg chg="add del">
          <ac:chgData name="Thomas Stensitzki" userId="75cafe6b-2f2a-469b-85c4-eec3b9c972ba" providerId="ADAL" clId="{B1462F1E-0CE4-4310-BDB3-DCDEDFDFEA3A}" dt="2023-08-14T14:46:29.439" v="86" actId="26606"/>
          <ac:picMkLst>
            <pc:docMk/>
            <pc:sldMk cId="1641846161" sldId="763"/>
            <ac:picMk id="32" creationId="{F10ED702-DE75-6CC7-BAA3-A92A3263D099}"/>
          </ac:picMkLst>
        </pc:picChg>
        <pc:picChg chg="add">
          <ac:chgData name="Thomas Stensitzki" userId="75cafe6b-2f2a-469b-85c4-eec3b9c972ba" providerId="ADAL" clId="{B1462F1E-0CE4-4310-BDB3-DCDEDFDFEA3A}" dt="2023-08-14T14:46:39.973" v="91" actId="26606"/>
          <ac:picMkLst>
            <pc:docMk/>
            <pc:sldMk cId="1641846161" sldId="763"/>
            <ac:picMk id="34" creationId="{62B778F7-0F10-4640-B92C-CBE0CC1C8E78}"/>
          </ac:picMkLst>
        </pc:picChg>
        <pc:picChg chg="add del">
          <ac:chgData name="Thomas Stensitzki" userId="75cafe6b-2f2a-469b-85c4-eec3b9c972ba" providerId="ADAL" clId="{B1462F1E-0CE4-4310-BDB3-DCDEDFDFEA3A}" dt="2023-08-14T14:46:31.752" v="88" actId="26606"/>
          <ac:picMkLst>
            <pc:docMk/>
            <pc:sldMk cId="1641846161" sldId="763"/>
            <ac:picMk id="50" creationId="{11E4C180-E90A-7870-3B38-CA9B50ED00EA}"/>
          </ac:picMkLst>
        </pc:picChg>
        <pc:picChg chg="add del">
          <ac:chgData name="Thomas Stensitzki" userId="75cafe6b-2f2a-469b-85c4-eec3b9c972ba" providerId="ADAL" clId="{B1462F1E-0CE4-4310-BDB3-DCDEDFDFEA3A}" dt="2023-08-14T14:46:39.957" v="90" actId="26606"/>
          <ac:picMkLst>
            <pc:docMk/>
            <pc:sldMk cId="1641846161" sldId="763"/>
            <ac:picMk id="56" creationId="{095230B0-E3D4-1562-2D48-A73E1B1899D6}"/>
          </ac:picMkLst>
        </pc:picChg>
        <pc:picChg chg="add">
          <ac:chgData name="Thomas Stensitzki" userId="75cafe6b-2f2a-469b-85c4-eec3b9c972ba" providerId="ADAL" clId="{B1462F1E-0CE4-4310-BDB3-DCDEDFDFEA3A}" dt="2023-08-14T14:46:39.973" v="91" actId="26606"/>
          <ac:picMkLst>
            <pc:docMk/>
            <pc:sldMk cId="1641846161" sldId="763"/>
            <ac:picMk id="64" creationId="{B9E05867-B7E5-7BEA-C90C-F2B2F6D819A4}"/>
          </ac:picMkLst>
        </pc:picChg>
      </pc:sldChg>
      <pc:sldChg chg="modSp add mod ord">
        <pc:chgData name="Thomas Stensitzki" userId="75cafe6b-2f2a-469b-85c4-eec3b9c972ba" providerId="ADAL" clId="{B1462F1E-0CE4-4310-BDB3-DCDEDFDFEA3A}" dt="2023-10-31T11:27:18.103" v="3101" actId="14100"/>
        <pc:sldMkLst>
          <pc:docMk/>
          <pc:sldMk cId="1663945658" sldId="763"/>
        </pc:sldMkLst>
        <pc:spChg chg="mod">
          <ac:chgData name="Thomas Stensitzki" userId="75cafe6b-2f2a-469b-85c4-eec3b9c972ba" providerId="ADAL" clId="{B1462F1E-0CE4-4310-BDB3-DCDEDFDFEA3A}" dt="2023-10-31T11:27:18.103" v="3101" actId="14100"/>
          <ac:spMkLst>
            <pc:docMk/>
            <pc:sldMk cId="1663945658" sldId="763"/>
            <ac:spMk id="2" creationId="{909DC09D-B9A6-4493-9A72-1CA7ECB1F5CA}"/>
          </ac:spMkLst>
        </pc:spChg>
        <pc:spChg chg="mod">
          <ac:chgData name="Thomas Stensitzki" userId="75cafe6b-2f2a-469b-85c4-eec3b9c972ba" providerId="ADAL" clId="{B1462F1E-0CE4-4310-BDB3-DCDEDFDFEA3A}" dt="2023-10-26T17:23:10.594" v="3073" actId="20577"/>
          <ac:spMkLst>
            <pc:docMk/>
            <pc:sldMk cId="1663945658" sldId="763"/>
            <ac:spMk id="5" creationId="{C24DACB5-1BEC-4C86-9652-BAFD8DE56FEF}"/>
          </ac:spMkLst>
        </pc:spChg>
      </pc:sldChg>
      <pc:sldChg chg="del">
        <pc:chgData name="Thomas Stensitzki" userId="75cafe6b-2f2a-469b-85c4-eec3b9c972ba" providerId="ADAL" clId="{B1462F1E-0CE4-4310-BDB3-DCDEDFDFEA3A}" dt="2023-08-14T14:44:30.908" v="71" actId="47"/>
        <pc:sldMkLst>
          <pc:docMk/>
          <pc:sldMk cId="2162106461" sldId="763"/>
        </pc:sldMkLst>
      </pc:sldChg>
      <pc:sldChg chg="addSp delSp modSp new del mod modClrScheme chgLayout">
        <pc:chgData name="Thomas Stensitzki" userId="75cafe6b-2f2a-469b-85c4-eec3b9c972ba" providerId="ADAL" clId="{B1462F1E-0CE4-4310-BDB3-DCDEDFDFEA3A}" dt="2023-10-21T14:40:42.873" v="400" actId="47"/>
        <pc:sldMkLst>
          <pc:docMk/>
          <pc:sldMk cId="999070759" sldId="764"/>
        </pc:sldMkLst>
        <pc:spChg chg="del mod ord">
          <ac:chgData name="Thomas Stensitzki" userId="75cafe6b-2f2a-469b-85c4-eec3b9c972ba" providerId="ADAL" clId="{B1462F1E-0CE4-4310-BDB3-DCDEDFDFEA3A}" dt="2023-08-14T15:16:29.202" v="264" actId="700"/>
          <ac:spMkLst>
            <pc:docMk/>
            <pc:sldMk cId="999070759" sldId="764"/>
            <ac:spMk id="2" creationId="{DB6D1DC5-7B62-C75C-B373-DE97C93F7809}"/>
          </ac:spMkLst>
        </pc:spChg>
        <pc:spChg chg="del mod ord">
          <ac:chgData name="Thomas Stensitzki" userId="75cafe6b-2f2a-469b-85c4-eec3b9c972ba" providerId="ADAL" clId="{B1462F1E-0CE4-4310-BDB3-DCDEDFDFEA3A}" dt="2023-08-14T15:16:29.202" v="264" actId="700"/>
          <ac:spMkLst>
            <pc:docMk/>
            <pc:sldMk cId="999070759" sldId="764"/>
            <ac:spMk id="3" creationId="{1FFC3D5C-0632-C8C0-F839-B6D52508A740}"/>
          </ac:spMkLst>
        </pc:spChg>
        <pc:spChg chg="add mod ord">
          <ac:chgData name="Thomas Stensitzki" userId="75cafe6b-2f2a-469b-85c4-eec3b9c972ba" providerId="ADAL" clId="{B1462F1E-0CE4-4310-BDB3-DCDEDFDFEA3A}" dt="2023-08-14T15:16:33.461" v="279" actId="20577"/>
          <ac:spMkLst>
            <pc:docMk/>
            <pc:sldMk cId="999070759" sldId="764"/>
            <ac:spMk id="4" creationId="{D3FB94DB-D38F-CA60-DCB8-0FEF4F24D7C6}"/>
          </ac:spMkLst>
        </pc:spChg>
        <pc:spChg chg="add mod ord">
          <ac:chgData name="Thomas Stensitzki" userId="75cafe6b-2f2a-469b-85c4-eec3b9c972ba" providerId="ADAL" clId="{B1462F1E-0CE4-4310-BDB3-DCDEDFDFEA3A}" dt="2023-08-14T15:16:29.202" v="264" actId="700"/>
          <ac:spMkLst>
            <pc:docMk/>
            <pc:sldMk cId="999070759" sldId="764"/>
            <ac:spMk id="5" creationId="{8D62AC15-122C-80C9-8976-87857D2278B3}"/>
          </ac:spMkLst>
        </pc:spChg>
      </pc:sldChg>
      <pc:sldChg chg="addSp delSp modSp new mod">
        <pc:chgData name="Thomas Stensitzki" userId="75cafe6b-2f2a-469b-85c4-eec3b9c972ba" providerId="ADAL" clId="{B1462F1E-0CE4-4310-BDB3-DCDEDFDFEA3A}" dt="2023-10-22T10:14:25.265" v="2495" actId="1076"/>
        <pc:sldMkLst>
          <pc:docMk/>
          <pc:sldMk cId="1345283162" sldId="764"/>
        </pc:sldMkLst>
        <pc:spChg chg="mod">
          <ac:chgData name="Thomas Stensitzki" userId="75cafe6b-2f2a-469b-85c4-eec3b9c972ba" providerId="ADAL" clId="{B1462F1E-0CE4-4310-BDB3-DCDEDFDFEA3A}" dt="2023-10-22T10:11:32.716" v="2403"/>
          <ac:spMkLst>
            <pc:docMk/>
            <pc:sldMk cId="1345283162" sldId="764"/>
            <ac:spMk id="2" creationId="{D1197E69-E233-0B46-4F95-EE12CC1A77D2}"/>
          </ac:spMkLst>
        </pc:spChg>
        <pc:spChg chg="del">
          <ac:chgData name="Thomas Stensitzki" userId="75cafe6b-2f2a-469b-85c4-eec3b9c972ba" providerId="ADAL" clId="{B1462F1E-0CE4-4310-BDB3-DCDEDFDFEA3A}" dt="2023-10-22T10:11:52.474" v="2406" actId="478"/>
          <ac:spMkLst>
            <pc:docMk/>
            <pc:sldMk cId="1345283162" sldId="764"/>
            <ac:spMk id="3" creationId="{57140876-07BA-4E68-2494-01078A3295E3}"/>
          </ac:spMkLst>
        </pc:spChg>
        <pc:spChg chg="add mod">
          <ac:chgData name="Thomas Stensitzki" userId="75cafe6b-2f2a-469b-85c4-eec3b9c972ba" providerId="ADAL" clId="{B1462F1E-0CE4-4310-BDB3-DCDEDFDFEA3A}" dt="2023-10-22T10:14:00.474" v="2493" actId="1582"/>
          <ac:spMkLst>
            <pc:docMk/>
            <pc:sldMk cId="1345283162" sldId="764"/>
            <ac:spMk id="5" creationId="{25904851-8CF3-DBB5-D8D8-E205C39A75E8}"/>
          </ac:spMkLst>
        </pc:spChg>
        <pc:picChg chg="add mod">
          <ac:chgData name="Thomas Stensitzki" userId="75cafe6b-2f2a-469b-85c4-eec3b9c972ba" providerId="ADAL" clId="{B1462F1E-0CE4-4310-BDB3-DCDEDFDFEA3A}" dt="2023-10-22T10:12:04.463" v="2411" actId="1076"/>
          <ac:picMkLst>
            <pc:docMk/>
            <pc:sldMk cId="1345283162" sldId="764"/>
            <ac:picMk id="4" creationId="{C642694B-2B18-BF8D-2F85-E0CBD15FEA05}"/>
          </ac:picMkLst>
        </pc:picChg>
        <pc:picChg chg="add mod">
          <ac:chgData name="Thomas Stensitzki" userId="75cafe6b-2f2a-469b-85c4-eec3b9c972ba" providerId="ADAL" clId="{B1462F1E-0CE4-4310-BDB3-DCDEDFDFEA3A}" dt="2023-10-22T10:14:25.265" v="2495" actId="1076"/>
          <ac:picMkLst>
            <pc:docMk/>
            <pc:sldMk cId="1345283162" sldId="764"/>
            <ac:picMk id="7" creationId="{3969CE17-17A6-A769-AE86-BECF751A8CAB}"/>
          </ac:picMkLst>
        </pc:picChg>
      </pc:sldChg>
      <pc:sldChg chg="del">
        <pc:chgData name="Thomas Stensitzki" userId="75cafe6b-2f2a-469b-85c4-eec3b9c972ba" providerId="ADAL" clId="{B1462F1E-0CE4-4310-BDB3-DCDEDFDFEA3A}" dt="2023-08-14T14:44:30.908" v="71" actId="47"/>
        <pc:sldMkLst>
          <pc:docMk/>
          <pc:sldMk cId="3624400259" sldId="764"/>
        </pc:sldMkLst>
      </pc:sldChg>
      <pc:sldChg chg="modSp new mod">
        <pc:chgData name="Thomas Stensitzki" userId="75cafe6b-2f2a-469b-85c4-eec3b9c972ba" providerId="ADAL" clId="{B1462F1E-0CE4-4310-BDB3-DCDEDFDFEA3A}" dt="2023-10-22T10:16:47.475" v="2510"/>
        <pc:sldMkLst>
          <pc:docMk/>
          <pc:sldMk cId="1401076497" sldId="765"/>
        </pc:sldMkLst>
        <pc:spChg chg="mod">
          <ac:chgData name="Thomas Stensitzki" userId="75cafe6b-2f2a-469b-85c4-eec3b9c972ba" providerId="ADAL" clId="{B1462F1E-0CE4-4310-BDB3-DCDEDFDFEA3A}" dt="2023-10-22T10:16:37.367" v="2509"/>
          <ac:spMkLst>
            <pc:docMk/>
            <pc:sldMk cId="1401076497" sldId="765"/>
            <ac:spMk id="2" creationId="{B3DAD3CF-B18C-D2D6-C9D9-F46AA8A47C8D}"/>
          </ac:spMkLst>
        </pc:spChg>
        <pc:spChg chg="mod">
          <ac:chgData name="Thomas Stensitzki" userId="75cafe6b-2f2a-469b-85c4-eec3b9c972ba" providerId="ADAL" clId="{B1462F1E-0CE4-4310-BDB3-DCDEDFDFEA3A}" dt="2023-10-22T10:16:47.475" v="2510"/>
          <ac:spMkLst>
            <pc:docMk/>
            <pc:sldMk cId="1401076497" sldId="765"/>
            <ac:spMk id="3" creationId="{153203AF-64BE-7B9F-F92D-FECE6C5DEC7F}"/>
          </ac:spMkLst>
        </pc:spChg>
      </pc:sldChg>
      <pc:sldChg chg="modSp new del mod">
        <pc:chgData name="Thomas Stensitzki" userId="75cafe6b-2f2a-469b-85c4-eec3b9c972ba" providerId="ADAL" clId="{B1462F1E-0CE4-4310-BDB3-DCDEDFDFEA3A}" dt="2023-10-21T14:40:42.873" v="400" actId="47"/>
        <pc:sldMkLst>
          <pc:docMk/>
          <pc:sldMk cId="1981337435" sldId="765"/>
        </pc:sldMkLst>
        <pc:spChg chg="mod">
          <ac:chgData name="Thomas Stensitzki" userId="75cafe6b-2f2a-469b-85c4-eec3b9c972ba" providerId="ADAL" clId="{B1462F1E-0CE4-4310-BDB3-DCDEDFDFEA3A}" dt="2023-08-14T15:16:59.562" v="294" actId="20577"/>
          <ac:spMkLst>
            <pc:docMk/>
            <pc:sldMk cId="1981337435" sldId="765"/>
            <ac:spMk id="2" creationId="{BCB35630-2AE4-042D-4D58-79566EC68644}"/>
          </ac:spMkLst>
        </pc:spChg>
        <pc:spChg chg="mod">
          <ac:chgData name="Thomas Stensitzki" userId="75cafe6b-2f2a-469b-85c4-eec3b9c972ba" providerId="ADAL" clId="{B1462F1E-0CE4-4310-BDB3-DCDEDFDFEA3A}" dt="2023-08-14T15:18:31.030" v="297" actId="20577"/>
          <ac:spMkLst>
            <pc:docMk/>
            <pc:sldMk cId="1981337435" sldId="765"/>
            <ac:spMk id="3" creationId="{09C8A70B-535C-8D44-5E04-C50627D6EA9E}"/>
          </ac:spMkLst>
        </pc:spChg>
      </pc:sldChg>
      <pc:sldChg chg="del">
        <pc:chgData name="Thomas Stensitzki" userId="75cafe6b-2f2a-469b-85c4-eec3b9c972ba" providerId="ADAL" clId="{B1462F1E-0CE4-4310-BDB3-DCDEDFDFEA3A}" dt="2023-08-14T14:44:30.908" v="71" actId="47"/>
        <pc:sldMkLst>
          <pc:docMk/>
          <pc:sldMk cId="4177790355" sldId="765"/>
        </pc:sldMkLst>
      </pc:sldChg>
      <pc:sldChg chg="del">
        <pc:chgData name="Thomas Stensitzki" userId="75cafe6b-2f2a-469b-85c4-eec3b9c972ba" providerId="ADAL" clId="{B1462F1E-0CE4-4310-BDB3-DCDEDFDFEA3A}" dt="2023-08-14T14:44:30.908" v="71" actId="47"/>
        <pc:sldMkLst>
          <pc:docMk/>
          <pc:sldMk cId="2406853124" sldId="766"/>
        </pc:sldMkLst>
      </pc:sldChg>
      <pc:sldChg chg="add ord">
        <pc:chgData name="Thomas Stensitzki" userId="75cafe6b-2f2a-469b-85c4-eec3b9c972ba" providerId="ADAL" clId="{B1462F1E-0CE4-4310-BDB3-DCDEDFDFEA3A}" dt="2023-10-26T09:27:40.029" v="2517"/>
        <pc:sldMkLst>
          <pc:docMk/>
          <pc:sldMk cId="3637612548" sldId="766"/>
        </pc:sldMkLst>
      </pc:sldChg>
      <pc:sldChg chg="addSp delSp modSp new del mod modClrScheme chgLayout">
        <pc:chgData name="Thomas Stensitzki" userId="75cafe6b-2f2a-469b-85c4-eec3b9c972ba" providerId="ADAL" clId="{B1462F1E-0CE4-4310-BDB3-DCDEDFDFEA3A}" dt="2023-10-21T14:40:38.874" v="398" actId="47"/>
        <pc:sldMkLst>
          <pc:docMk/>
          <pc:sldMk cId="3956272902" sldId="766"/>
        </pc:sldMkLst>
        <pc:spChg chg="del mod ord">
          <ac:chgData name="Thomas Stensitzki" userId="75cafe6b-2f2a-469b-85c4-eec3b9c972ba" providerId="ADAL" clId="{B1462F1E-0CE4-4310-BDB3-DCDEDFDFEA3A}" dt="2023-08-14T16:13:07.146" v="299" actId="700"/>
          <ac:spMkLst>
            <pc:docMk/>
            <pc:sldMk cId="3956272902" sldId="766"/>
            <ac:spMk id="2" creationId="{413011A2-2019-5663-6885-F8F5CEFB3722}"/>
          </ac:spMkLst>
        </pc:spChg>
        <pc:spChg chg="del">
          <ac:chgData name="Thomas Stensitzki" userId="75cafe6b-2f2a-469b-85c4-eec3b9c972ba" providerId="ADAL" clId="{B1462F1E-0CE4-4310-BDB3-DCDEDFDFEA3A}" dt="2023-08-14T16:13:07.146" v="299" actId="700"/>
          <ac:spMkLst>
            <pc:docMk/>
            <pc:sldMk cId="3956272902" sldId="766"/>
            <ac:spMk id="3" creationId="{4926A21D-D00B-6809-4C6D-D73BCD4C986A}"/>
          </ac:spMkLst>
        </pc:spChg>
        <pc:spChg chg="add mod ord">
          <ac:chgData name="Thomas Stensitzki" userId="75cafe6b-2f2a-469b-85c4-eec3b9c972ba" providerId="ADAL" clId="{B1462F1E-0CE4-4310-BDB3-DCDEDFDFEA3A}" dt="2023-08-14T16:13:07.146" v="299" actId="700"/>
          <ac:spMkLst>
            <pc:docMk/>
            <pc:sldMk cId="3956272902" sldId="766"/>
            <ac:spMk id="4" creationId="{083A6199-FB12-AE21-AC4D-F4F75CB53612}"/>
          </ac:spMkLst>
        </pc:spChg>
        <pc:spChg chg="add del">
          <ac:chgData name="Thomas Stensitzki" userId="75cafe6b-2f2a-469b-85c4-eec3b9c972ba" providerId="ADAL" clId="{B1462F1E-0CE4-4310-BDB3-DCDEDFDFEA3A}" dt="2023-08-14T16:13:10.201" v="301" actId="22"/>
          <ac:spMkLst>
            <pc:docMk/>
            <pc:sldMk cId="3956272902" sldId="766"/>
            <ac:spMk id="6" creationId="{FEA5EB2B-25D0-BEC1-B935-D77D07843D7D}"/>
          </ac:spMkLst>
        </pc:spChg>
        <pc:picChg chg="add mod">
          <ac:chgData name="Thomas Stensitzki" userId="75cafe6b-2f2a-469b-85c4-eec3b9c972ba" providerId="ADAL" clId="{B1462F1E-0CE4-4310-BDB3-DCDEDFDFEA3A}" dt="2023-08-14T16:13:31.176" v="305" actId="1440"/>
          <ac:picMkLst>
            <pc:docMk/>
            <pc:sldMk cId="3956272902" sldId="766"/>
            <ac:picMk id="8" creationId="{A5A81896-D298-DF9D-40D7-06F3FBA35725}"/>
          </ac:picMkLst>
        </pc:picChg>
      </pc:sldChg>
      <pc:sldChg chg="modSp add mod ord">
        <pc:chgData name="Thomas Stensitzki" userId="75cafe6b-2f2a-469b-85c4-eec3b9c972ba" providerId="ADAL" clId="{B1462F1E-0CE4-4310-BDB3-DCDEDFDFEA3A}" dt="2023-10-26T09:27:57.516" v="2528" actId="1036"/>
        <pc:sldMkLst>
          <pc:docMk/>
          <pc:sldMk cId="1072098424" sldId="767"/>
        </pc:sldMkLst>
        <pc:spChg chg="mod">
          <ac:chgData name="Thomas Stensitzki" userId="75cafe6b-2f2a-469b-85c4-eec3b9c972ba" providerId="ADAL" clId="{B1462F1E-0CE4-4310-BDB3-DCDEDFDFEA3A}" dt="2023-10-26T09:27:57.516" v="2528" actId="1036"/>
          <ac:spMkLst>
            <pc:docMk/>
            <pc:sldMk cId="1072098424" sldId="767"/>
            <ac:spMk id="2" creationId="{909DC09D-B9A6-4493-9A72-1CA7ECB1F5CA}"/>
          </ac:spMkLst>
        </pc:spChg>
      </pc:sldChg>
      <pc:sldChg chg="del">
        <pc:chgData name="Thomas Stensitzki" userId="75cafe6b-2f2a-469b-85c4-eec3b9c972ba" providerId="ADAL" clId="{B1462F1E-0CE4-4310-BDB3-DCDEDFDFEA3A}" dt="2023-08-14T14:44:30.908" v="71" actId="47"/>
        <pc:sldMkLst>
          <pc:docMk/>
          <pc:sldMk cId="2531410684" sldId="767"/>
        </pc:sldMkLst>
      </pc:sldChg>
      <pc:sldChg chg="modSp add del mod">
        <pc:chgData name="Thomas Stensitzki" userId="75cafe6b-2f2a-469b-85c4-eec3b9c972ba" providerId="ADAL" clId="{B1462F1E-0CE4-4310-BDB3-DCDEDFDFEA3A}" dt="2023-10-21T14:40:38.874" v="398" actId="47"/>
        <pc:sldMkLst>
          <pc:docMk/>
          <pc:sldMk cId="3460402903" sldId="767"/>
        </pc:sldMkLst>
        <pc:picChg chg="mod">
          <ac:chgData name="Thomas Stensitzki" userId="75cafe6b-2f2a-469b-85c4-eec3b9c972ba" providerId="ADAL" clId="{B1462F1E-0CE4-4310-BDB3-DCDEDFDFEA3A}" dt="2023-08-14T16:14:40.674" v="307" actId="14826"/>
          <ac:picMkLst>
            <pc:docMk/>
            <pc:sldMk cId="3460402903" sldId="767"/>
            <ac:picMk id="8" creationId="{A5A81896-D298-DF9D-40D7-06F3FBA35725}"/>
          </ac:picMkLst>
        </pc:picChg>
      </pc:sldChg>
      <pc:sldChg chg="del">
        <pc:chgData name="Thomas Stensitzki" userId="75cafe6b-2f2a-469b-85c4-eec3b9c972ba" providerId="ADAL" clId="{B1462F1E-0CE4-4310-BDB3-DCDEDFDFEA3A}" dt="2023-08-14T14:44:30.908" v="71" actId="47"/>
        <pc:sldMkLst>
          <pc:docMk/>
          <pc:sldMk cId="466978322" sldId="768"/>
        </pc:sldMkLst>
      </pc:sldChg>
      <pc:sldChg chg="addSp delSp new del mod">
        <pc:chgData name="Thomas Stensitzki" userId="75cafe6b-2f2a-469b-85c4-eec3b9c972ba" providerId="ADAL" clId="{B1462F1E-0CE4-4310-BDB3-DCDEDFDFEA3A}" dt="2023-10-21T14:40:38.874" v="398" actId="47"/>
        <pc:sldMkLst>
          <pc:docMk/>
          <pc:sldMk cId="2801496755" sldId="768"/>
        </pc:sldMkLst>
        <pc:picChg chg="add del">
          <ac:chgData name="Thomas Stensitzki" userId="75cafe6b-2f2a-469b-85c4-eec3b9c972ba" providerId="ADAL" clId="{B1462F1E-0CE4-4310-BDB3-DCDEDFDFEA3A}" dt="2023-08-14T16:18:06.925" v="310" actId="22"/>
          <ac:picMkLst>
            <pc:docMk/>
            <pc:sldMk cId="2801496755" sldId="768"/>
            <ac:picMk id="4" creationId="{B6A5F679-A63D-5956-DAAD-FA405B000DA5}"/>
          </ac:picMkLst>
        </pc:picChg>
        <pc:picChg chg="add">
          <ac:chgData name="Thomas Stensitzki" userId="75cafe6b-2f2a-469b-85c4-eec3b9c972ba" providerId="ADAL" clId="{B1462F1E-0CE4-4310-BDB3-DCDEDFDFEA3A}" dt="2023-08-14T16:18:14.121" v="311" actId="22"/>
          <ac:picMkLst>
            <pc:docMk/>
            <pc:sldMk cId="2801496755" sldId="768"/>
            <ac:picMk id="6" creationId="{0BA0DF4E-C805-2093-432E-5EB9E5617599}"/>
          </ac:picMkLst>
        </pc:picChg>
      </pc:sldChg>
      <pc:sldChg chg="modSp add mod ord">
        <pc:chgData name="Thomas Stensitzki" userId="75cafe6b-2f2a-469b-85c4-eec3b9c972ba" providerId="ADAL" clId="{B1462F1E-0CE4-4310-BDB3-DCDEDFDFEA3A}" dt="2023-10-26T09:28:27.130" v="2534" actId="1076"/>
        <pc:sldMkLst>
          <pc:docMk/>
          <pc:sldMk cId="3015216465" sldId="768"/>
        </pc:sldMkLst>
        <pc:spChg chg="mod">
          <ac:chgData name="Thomas Stensitzki" userId="75cafe6b-2f2a-469b-85c4-eec3b9c972ba" providerId="ADAL" clId="{B1462F1E-0CE4-4310-BDB3-DCDEDFDFEA3A}" dt="2023-10-26T09:28:27.130" v="2534" actId="1076"/>
          <ac:spMkLst>
            <pc:docMk/>
            <pc:sldMk cId="3015216465" sldId="768"/>
            <ac:spMk id="2" creationId="{909DC09D-B9A6-4493-9A72-1CA7ECB1F5CA}"/>
          </ac:spMkLst>
        </pc:spChg>
      </pc:sldChg>
      <pc:sldChg chg="addSp new del mod">
        <pc:chgData name="Thomas Stensitzki" userId="75cafe6b-2f2a-469b-85c4-eec3b9c972ba" providerId="ADAL" clId="{B1462F1E-0CE4-4310-BDB3-DCDEDFDFEA3A}" dt="2023-10-21T14:40:38.874" v="398" actId="47"/>
        <pc:sldMkLst>
          <pc:docMk/>
          <pc:sldMk cId="3299554368" sldId="769"/>
        </pc:sldMkLst>
        <pc:picChg chg="add">
          <ac:chgData name="Thomas Stensitzki" userId="75cafe6b-2f2a-469b-85c4-eec3b9c972ba" providerId="ADAL" clId="{B1462F1E-0CE4-4310-BDB3-DCDEDFDFEA3A}" dt="2023-08-14T16:22:24.393" v="313" actId="22"/>
          <ac:picMkLst>
            <pc:docMk/>
            <pc:sldMk cId="3299554368" sldId="769"/>
            <ac:picMk id="4" creationId="{140B0127-B551-80B0-2892-D5D3434F3459}"/>
          </ac:picMkLst>
        </pc:picChg>
      </pc:sldChg>
      <pc:sldChg chg="modSp add mod ord">
        <pc:chgData name="Thomas Stensitzki" userId="75cafe6b-2f2a-469b-85c4-eec3b9c972ba" providerId="ADAL" clId="{B1462F1E-0CE4-4310-BDB3-DCDEDFDFEA3A}" dt="2023-10-26T09:30:18.108" v="2538" actId="1076"/>
        <pc:sldMkLst>
          <pc:docMk/>
          <pc:sldMk cId="3341696552" sldId="769"/>
        </pc:sldMkLst>
        <pc:spChg chg="mod">
          <ac:chgData name="Thomas Stensitzki" userId="75cafe6b-2f2a-469b-85c4-eec3b9c972ba" providerId="ADAL" clId="{B1462F1E-0CE4-4310-BDB3-DCDEDFDFEA3A}" dt="2023-10-26T09:30:18.108" v="2538" actId="1076"/>
          <ac:spMkLst>
            <pc:docMk/>
            <pc:sldMk cId="3341696552" sldId="769"/>
            <ac:spMk id="2" creationId="{909DC09D-B9A6-4493-9A72-1CA7ECB1F5CA}"/>
          </ac:spMkLst>
        </pc:spChg>
      </pc:sldChg>
      <pc:sldChg chg="del">
        <pc:chgData name="Thomas Stensitzki" userId="75cafe6b-2f2a-469b-85c4-eec3b9c972ba" providerId="ADAL" clId="{B1462F1E-0CE4-4310-BDB3-DCDEDFDFEA3A}" dt="2023-08-14T14:44:30.908" v="71" actId="47"/>
        <pc:sldMkLst>
          <pc:docMk/>
          <pc:sldMk cId="3413044843" sldId="769"/>
        </pc:sldMkLst>
      </pc:sldChg>
      <pc:sldChg chg="del">
        <pc:chgData name="Thomas Stensitzki" userId="75cafe6b-2f2a-469b-85c4-eec3b9c972ba" providerId="ADAL" clId="{B1462F1E-0CE4-4310-BDB3-DCDEDFDFEA3A}" dt="2023-08-14T14:44:30.908" v="71" actId="47"/>
        <pc:sldMkLst>
          <pc:docMk/>
          <pc:sldMk cId="679298916" sldId="770"/>
        </pc:sldMkLst>
      </pc:sldChg>
      <pc:sldChg chg="modSp add mod ord">
        <pc:chgData name="Thomas Stensitzki" userId="75cafe6b-2f2a-469b-85c4-eec3b9c972ba" providerId="ADAL" clId="{B1462F1E-0CE4-4310-BDB3-DCDEDFDFEA3A}" dt="2023-10-26T09:31:02.404" v="2546" actId="1076"/>
        <pc:sldMkLst>
          <pc:docMk/>
          <pc:sldMk cId="1862083116" sldId="770"/>
        </pc:sldMkLst>
        <pc:spChg chg="mod">
          <ac:chgData name="Thomas Stensitzki" userId="75cafe6b-2f2a-469b-85c4-eec3b9c972ba" providerId="ADAL" clId="{B1462F1E-0CE4-4310-BDB3-DCDEDFDFEA3A}" dt="2023-10-26T09:31:02.404" v="2546" actId="1076"/>
          <ac:spMkLst>
            <pc:docMk/>
            <pc:sldMk cId="1862083116" sldId="770"/>
            <ac:spMk id="2" creationId="{909DC09D-B9A6-4493-9A72-1CA7ECB1F5CA}"/>
          </ac:spMkLst>
        </pc:spChg>
      </pc:sldChg>
      <pc:sldChg chg="addSp modSp new del mod">
        <pc:chgData name="Thomas Stensitzki" userId="75cafe6b-2f2a-469b-85c4-eec3b9c972ba" providerId="ADAL" clId="{B1462F1E-0CE4-4310-BDB3-DCDEDFDFEA3A}" dt="2023-10-21T14:40:38.874" v="398" actId="47"/>
        <pc:sldMkLst>
          <pc:docMk/>
          <pc:sldMk cId="1945898391" sldId="770"/>
        </pc:sldMkLst>
        <pc:picChg chg="add mod">
          <ac:chgData name="Thomas Stensitzki" userId="75cafe6b-2f2a-469b-85c4-eec3b9c972ba" providerId="ADAL" clId="{B1462F1E-0CE4-4310-BDB3-DCDEDFDFEA3A}" dt="2023-08-14T16:26:31.378" v="317" actId="1076"/>
          <ac:picMkLst>
            <pc:docMk/>
            <pc:sldMk cId="1945898391" sldId="770"/>
            <ac:picMk id="4" creationId="{664F28CA-D864-8C19-69D9-AABBDA93A566}"/>
          </ac:picMkLst>
        </pc:picChg>
      </pc:sldChg>
      <pc:sldChg chg="del">
        <pc:chgData name="Thomas Stensitzki" userId="75cafe6b-2f2a-469b-85c4-eec3b9c972ba" providerId="ADAL" clId="{B1462F1E-0CE4-4310-BDB3-DCDEDFDFEA3A}" dt="2023-08-14T14:44:30.908" v="71" actId="47"/>
        <pc:sldMkLst>
          <pc:docMk/>
          <pc:sldMk cId="1476531" sldId="771"/>
        </pc:sldMkLst>
      </pc:sldChg>
      <pc:sldChg chg="addSp modSp new del mod">
        <pc:chgData name="Thomas Stensitzki" userId="75cafe6b-2f2a-469b-85c4-eec3b9c972ba" providerId="ADAL" clId="{B1462F1E-0CE4-4310-BDB3-DCDEDFDFEA3A}" dt="2023-10-21T14:40:38.874" v="398" actId="47"/>
        <pc:sldMkLst>
          <pc:docMk/>
          <pc:sldMk cId="2085927561" sldId="771"/>
        </pc:sldMkLst>
        <pc:picChg chg="add mod">
          <ac:chgData name="Thomas Stensitzki" userId="75cafe6b-2f2a-469b-85c4-eec3b9c972ba" providerId="ADAL" clId="{B1462F1E-0CE4-4310-BDB3-DCDEDFDFEA3A}" dt="2023-08-14T16:27:56.682" v="321" actId="1076"/>
          <ac:picMkLst>
            <pc:docMk/>
            <pc:sldMk cId="2085927561" sldId="771"/>
            <ac:picMk id="4" creationId="{CF020303-0A6E-056A-3D3E-08CAB69A2633}"/>
          </ac:picMkLst>
        </pc:picChg>
      </pc:sldChg>
      <pc:sldChg chg="modSp add mod ord">
        <pc:chgData name="Thomas Stensitzki" userId="75cafe6b-2f2a-469b-85c4-eec3b9c972ba" providerId="ADAL" clId="{B1462F1E-0CE4-4310-BDB3-DCDEDFDFEA3A}" dt="2023-10-26T09:31:32.327" v="2553" actId="14100"/>
        <pc:sldMkLst>
          <pc:docMk/>
          <pc:sldMk cId="3596702180" sldId="771"/>
        </pc:sldMkLst>
        <pc:spChg chg="mod">
          <ac:chgData name="Thomas Stensitzki" userId="75cafe6b-2f2a-469b-85c4-eec3b9c972ba" providerId="ADAL" clId="{B1462F1E-0CE4-4310-BDB3-DCDEDFDFEA3A}" dt="2023-10-26T09:31:32.327" v="2553" actId="14100"/>
          <ac:spMkLst>
            <pc:docMk/>
            <pc:sldMk cId="3596702180" sldId="771"/>
            <ac:spMk id="2" creationId="{909DC09D-B9A6-4493-9A72-1CA7ECB1F5CA}"/>
          </ac:spMkLst>
        </pc:spChg>
      </pc:sldChg>
      <pc:sldChg chg="addSp modSp new del mod">
        <pc:chgData name="Thomas Stensitzki" userId="75cafe6b-2f2a-469b-85c4-eec3b9c972ba" providerId="ADAL" clId="{B1462F1E-0CE4-4310-BDB3-DCDEDFDFEA3A}" dt="2023-10-21T14:40:40.593" v="399" actId="47"/>
        <pc:sldMkLst>
          <pc:docMk/>
          <pc:sldMk cId="1916890412" sldId="772"/>
        </pc:sldMkLst>
        <pc:picChg chg="add mod">
          <ac:chgData name="Thomas Stensitzki" userId="75cafe6b-2f2a-469b-85c4-eec3b9c972ba" providerId="ADAL" clId="{B1462F1E-0CE4-4310-BDB3-DCDEDFDFEA3A}" dt="2023-08-14T16:29:38.289" v="325" actId="1076"/>
          <ac:picMkLst>
            <pc:docMk/>
            <pc:sldMk cId="1916890412" sldId="772"/>
            <ac:picMk id="4" creationId="{5EB0DF70-CC2B-1292-6FA5-87C3CDB0459D}"/>
          </ac:picMkLst>
        </pc:picChg>
      </pc:sldChg>
      <pc:sldChg chg="modSp add mod ord">
        <pc:chgData name="Thomas Stensitzki" userId="75cafe6b-2f2a-469b-85c4-eec3b9c972ba" providerId="ADAL" clId="{B1462F1E-0CE4-4310-BDB3-DCDEDFDFEA3A}" dt="2023-10-26T09:31:52.248" v="2558" actId="14100"/>
        <pc:sldMkLst>
          <pc:docMk/>
          <pc:sldMk cId="2393292893" sldId="772"/>
        </pc:sldMkLst>
        <pc:spChg chg="mod">
          <ac:chgData name="Thomas Stensitzki" userId="75cafe6b-2f2a-469b-85c4-eec3b9c972ba" providerId="ADAL" clId="{B1462F1E-0CE4-4310-BDB3-DCDEDFDFEA3A}" dt="2023-10-26T09:31:52.248" v="2558" actId="14100"/>
          <ac:spMkLst>
            <pc:docMk/>
            <pc:sldMk cId="2393292893" sldId="772"/>
            <ac:spMk id="2" creationId="{909DC09D-B9A6-4493-9A72-1CA7ECB1F5CA}"/>
          </ac:spMkLst>
        </pc:spChg>
      </pc:sldChg>
      <pc:sldChg chg="addSp modSp new del mod">
        <pc:chgData name="Thomas Stensitzki" userId="75cafe6b-2f2a-469b-85c4-eec3b9c972ba" providerId="ADAL" clId="{B1462F1E-0CE4-4310-BDB3-DCDEDFDFEA3A}" dt="2023-10-21T14:40:40.593" v="399" actId="47"/>
        <pc:sldMkLst>
          <pc:docMk/>
          <pc:sldMk cId="3206471218" sldId="773"/>
        </pc:sldMkLst>
        <pc:picChg chg="add mod">
          <ac:chgData name="Thomas Stensitzki" userId="75cafe6b-2f2a-469b-85c4-eec3b9c972ba" providerId="ADAL" clId="{B1462F1E-0CE4-4310-BDB3-DCDEDFDFEA3A}" dt="2023-08-14T16:30:44.291" v="329" actId="1076"/>
          <ac:picMkLst>
            <pc:docMk/>
            <pc:sldMk cId="3206471218" sldId="773"/>
            <ac:picMk id="4" creationId="{F1930ACF-B5BA-2382-55AF-AE20E0532D18}"/>
          </ac:picMkLst>
        </pc:picChg>
      </pc:sldChg>
      <pc:sldChg chg="modSp add mod ord">
        <pc:chgData name="Thomas Stensitzki" userId="75cafe6b-2f2a-469b-85c4-eec3b9c972ba" providerId="ADAL" clId="{B1462F1E-0CE4-4310-BDB3-DCDEDFDFEA3A}" dt="2023-10-26T09:33:05.298" v="2565" actId="14100"/>
        <pc:sldMkLst>
          <pc:docMk/>
          <pc:sldMk cId="3637642839" sldId="773"/>
        </pc:sldMkLst>
        <pc:spChg chg="mod">
          <ac:chgData name="Thomas Stensitzki" userId="75cafe6b-2f2a-469b-85c4-eec3b9c972ba" providerId="ADAL" clId="{B1462F1E-0CE4-4310-BDB3-DCDEDFDFEA3A}" dt="2023-10-26T09:33:05.298" v="2565" actId="14100"/>
          <ac:spMkLst>
            <pc:docMk/>
            <pc:sldMk cId="3637642839" sldId="773"/>
            <ac:spMk id="2" creationId="{909DC09D-B9A6-4493-9A72-1CA7ECB1F5CA}"/>
          </ac:spMkLst>
        </pc:spChg>
      </pc:sldChg>
      <pc:sldChg chg="addSp delSp modSp new mod modClrScheme chgLayout">
        <pc:chgData name="Thomas Stensitzki" userId="75cafe6b-2f2a-469b-85c4-eec3b9c972ba" providerId="ADAL" clId="{B1462F1E-0CE4-4310-BDB3-DCDEDFDFEA3A}" dt="2023-10-26T09:38:30.087" v="2582"/>
        <pc:sldMkLst>
          <pc:docMk/>
          <pc:sldMk cId="300984612" sldId="774"/>
        </pc:sldMkLst>
        <pc:spChg chg="del mod ord">
          <ac:chgData name="Thomas Stensitzki" userId="75cafe6b-2f2a-469b-85c4-eec3b9c972ba" providerId="ADAL" clId="{B1462F1E-0CE4-4310-BDB3-DCDEDFDFEA3A}" dt="2023-10-26T09:37:26.938" v="2567" actId="700"/>
          <ac:spMkLst>
            <pc:docMk/>
            <pc:sldMk cId="300984612" sldId="774"/>
            <ac:spMk id="2" creationId="{5F59B9C2-881A-DDFB-68F1-A0B13D81A24C}"/>
          </ac:spMkLst>
        </pc:spChg>
        <pc:spChg chg="del mod ord">
          <ac:chgData name="Thomas Stensitzki" userId="75cafe6b-2f2a-469b-85c4-eec3b9c972ba" providerId="ADAL" clId="{B1462F1E-0CE4-4310-BDB3-DCDEDFDFEA3A}" dt="2023-10-26T09:37:26.938" v="2567" actId="700"/>
          <ac:spMkLst>
            <pc:docMk/>
            <pc:sldMk cId="300984612" sldId="774"/>
            <ac:spMk id="3" creationId="{D12C2DF6-83E8-25A3-1F77-B4C2D3A7B9C0}"/>
          </ac:spMkLst>
        </pc:spChg>
        <pc:spChg chg="add mod ord">
          <ac:chgData name="Thomas Stensitzki" userId="75cafe6b-2f2a-469b-85c4-eec3b9c972ba" providerId="ADAL" clId="{B1462F1E-0CE4-4310-BDB3-DCDEDFDFEA3A}" dt="2023-10-26T09:37:29.348" v="2573" actId="20577"/>
          <ac:spMkLst>
            <pc:docMk/>
            <pc:sldMk cId="300984612" sldId="774"/>
            <ac:spMk id="4" creationId="{7534D53D-CBAC-847B-0F05-996F728A734C}"/>
          </ac:spMkLst>
        </pc:spChg>
        <pc:spChg chg="add mod ord">
          <ac:chgData name="Thomas Stensitzki" userId="75cafe6b-2f2a-469b-85c4-eec3b9c972ba" providerId="ADAL" clId="{B1462F1E-0CE4-4310-BDB3-DCDEDFDFEA3A}" dt="2023-10-26T09:38:30.087" v="2582"/>
          <ac:spMkLst>
            <pc:docMk/>
            <pc:sldMk cId="300984612" sldId="774"/>
            <ac:spMk id="5" creationId="{EB3EE15C-31D3-4DE1-85CD-5E2D24291A49}"/>
          </ac:spMkLst>
        </pc:spChg>
      </pc:sldChg>
      <pc:sldChg chg="addSp new del mod">
        <pc:chgData name="Thomas Stensitzki" userId="75cafe6b-2f2a-469b-85c4-eec3b9c972ba" providerId="ADAL" clId="{B1462F1E-0CE4-4310-BDB3-DCDEDFDFEA3A}" dt="2023-10-21T14:40:40.593" v="399" actId="47"/>
        <pc:sldMkLst>
          <pc:docMk/>
          <pc:sldMk cId="1625589664" sldId="774"/>
        </pc:sldMkLst>
        <pc:picChg chg="add">
          <ac:chgData name="Thomas Stensitzki" userId="75cafe6b-2f2a-469b-85c4-eec3b9c972ba" providerId="ADAL" clId="{B1462F1E-0CE4-4310-BDB3-DCDEDFDFEA3A}" dt="2023-08-14T16:31:28.240" v="331" actId="22"/>
          <ac:picMkLst>
            <pc:docMk/>
            <pc:sldMk cId="1625589664" sldId="774"/>
            <ac:picMk id="4" creationId="{A4489DB3-18F0-4E0A-2828-541BF3437148}"/>
          </ac:picMkLst>
        </pc:picChg>
      </pc:sldChg>
      <pc:sldChg chg="modSp add mod modNotesTx">
        <pc:chgData name="Thomas Stensitzki" userId="75cafe6b-2f2a-469b-85c4-eec3b9c972ba" providerId="ADAL" clId="{B1462F1E-0CE4-4310-BDB3-DCDEDFDFEA3A}" dt="2023-10-26T09:49:17.073" v="2613"/>
        <pc:sldMkLst>
          <pc:docMk/>
          <pc:sldMk cId="1215936229" sldId="775"/>
        </pc:sldMkLst>
        <pc:spChg chg="mod">
          <ac:chgData name="Thomas Stensitzki" userId="75cafe6b-2f2a-469b-85c4-eec3b9c972ba" providerId="ADAL" clId="{B1462F1E-0CE4-4310-BDB3-DCDEDFDFEA3A}" dt="2023-10-26T09:46:23.946" v="2584"/>
          <ac:spMkLst>
            <pc:docMk/>
            <pc:sldMk cId="1215936229" sldId="775"/>
            <ac:spMk id="4" creationId="{7534D53D-CBAC-847B-0F05-996F728A734C}"/>
          </ac:spMkLst>
        </pc:spChg>
        <pc:spChg chg="mod">
          <ac:chgData name="Thomas Stensitzki" userId="75cafe6b-2f2a-469b-85c4-eec3b9c972ba" providerId="ADAL" clId="{B1462F1E-0CE4-4310-BDB3-DCDEDFDFEA3A}" dt="2023-10-26T09:47:45.355" v="2610" actId="113"/>
          <ac:spMkLst>
            <pc:docMk/>
            <pc:sldMk cId="1215936229" sldId="775"/>
            <ac:spMk id="5" creationId="{EB3EE15C-31D3-4DE1-85CD-5E2D24291A49}"/>
          </ac:spMkLst>
        </pc:spChg>
      </pc:sldChg>
      <pc:sldChg chg="addSp new del mod">
        <pc:chgData name="Thomas Stensitzki" userId="75cafe6b-2f2a-469b-85c4-eec3b9c972ba" providerId="ADAL" clId="{B1462F1E-0CE4-4310-BDB3-DCDEDFDFEA3A}" dt="2023-10-21T14:40:40.593" v="399" actId="47"/>
        <pc:sldMkLst>
          <pc:docMk/>
          <pc:sldMk cId="1247548401" sldId="775"/>
        </pc:sldMkLst>
        <pc:picChg chg="add">
          <ac:chgData name="Thomas Stensitzki" userId="75cafe6b-2f2a-469b-85c4-eec3b9c972ba" providerId="ADAL" clId="{B1462F1E-0CE4-4310-BDB3-DCDEDFDFEA3A}" dt="2023-08-14T16:34:25.386" v="333" actId="22"/>
          <ac:picMkLst>
            <pc:docMk/>
            <pc:sldMk cId="1247548401" sldId="775"/>
            <ac:picMk id="4" creationId="{53F5F847-6EA6-93F9-EB67-6EA3249BC9F7}"/>
          </ac:picMkLst>
        </pc:picChg>
      </pc:sldChg>
      <pc:sldChg chg="addSp delSp modSp add mod">
        <pc:chgData name="Thomas Stensitzki" userId="75cafe6b-2f2a-469b-85c4-eec3b9c972ba" providerId="ADAL" clId="{B1462F1E-0CE4-4310-BDB3-DCDEDFDFEA3A}" dt="2023-10-26T09:55:26.846" v="2628" actId="478"/>
        <pc:sldMkLst>
          <pc:docMk/>
          <pc:sldMk cId="968451505" sldId="776"/>
        </pc:sldMkLst>
        <pc:spChg chg="add del">
          <ac:chgData name="Thomas Stensitzki" userId="75cafe6b-2f2a-469b-85c4-eec3b9c972ba" providerId="ADAL" clId="{B1462F1E-0CE4-4310-BDB3-DCDEDFDFEA3A}" dt="2023-10-26T09:54:01.498" v="2618" actId="22"/>
          <ac:spMkLst>
            <pc:docMk/>
            <pc:sldMk cId="968451505" sldId="776"/>
            <ac:spMk id="3" creationId="{89E329FB-3DE2-951E-24B9-FE7BF8FB76FF}"/>
          </ac:spMkLst>
        </pc:spChg>
        <pc:spChg chg="mod">
          <ac:chgData name="Thomas Stensitzki" userId="75cafe6b-2f2a-469b-85c4-eec3b9c972ba" providerId="ADAL" clId="{B1462F1E-0CE4-4310-BDB3-DCDEDFDFEA3A}" dt="2023-10-26T09:49:29.125" v="2615"/>
          <ac:spMkLst>
            <pc:docMk/>
            <pc:sldMk cId="968451505" sldId="776"/>
            <ac:spMk id="4" creationId="{7534D53D-CBAC-847B-0F05-996F728A734C}"/>
          </ac:spMkLst>
        </pc:spChg>
        <pc:spChg chg="del mod">
          <ac:chgData name="Thomas Stensitzki" userId="75cafe6b-2f2a-469b-85c4-eec3b9c972ba" providerId="ADAL" clId="{B1462F1E-0CE4-4310-BDB3-DCDEDFDFEA3A}" dt="2023-10-26T09:55:26.846" v="2628" actId="478"/>
          <ac:spMkLst>
            <pc:docMk/>
            <pc:sldMk cId="968451505" sldId="776"/>
            <ac:spMk id="5" creationId="{EB3EE15C-31D3-4DE1-85CD-5E2D24291A49}"/>
          </ac:spMkLst>
        </pc:spChg>
        <pc:spChg chg="add del">
          <ac:chgData name="Thomas Stensitzki" userId="75cafe6b-2f2a-469b-85c4-eec3b9c972ba" providerId="ADAL" clId="{B1462F1E-0CE4-4310-BDB3-DCDEDFDFEA3A}" dt="2023-10-26T09:54:10.263" v="2620" actId="22"/>
          <ac:spMkLst>
            <pc:docMk/>
            <pc:sldMk cId="968451505" sldId="776"/>
            <ac:spMk id="7" creationId="{E7C56540-9CDD-17FE-0064-E3DABB4F184E}"/>
          </ac:spMkLst>
        </pc:spChg>
        <pc:picChg chg="add mod">
          <ac:chgData name="Thomas Stensitzki" userId="75cafe6b-2f2a-469b-85c4-eec3b9c972ba" providerId="ADAL" clId="{B1462F1E-0CE4-4310-BDB3-DCDEDFDFEA3A}" dt="2023-10-26T09:55:24.972" v="2627" actId="1076"/>
          <ac:picMkLst>
            <pc:docMk/>
            <pc:sldMk cId="968451505" sldId="776"/>
            <ac:picMk id="9" creationId="{CE9D7C96-D56D-9727-4220-30C579E8537F}"/>
          </ac:picMkLst>
        </pc:picChg>
        <pc:picChg chg="add del mod">
          <ac:chgData name="Thomas Stensitzki" userId="75cafe6b-2f2a-469b-85c4-eec3b9c972ba" providerId="ADAL" clId="{B1462F1E-0CE4-4310-BDB3-DCDEDFDFEA3A}" dt="2023-10-26T09:55:18.191" v="2624" actId="478"/>
          <ac:picMkLst>
            <pc:docMk/>
            <pc:sldMk cId="968451505" sldId="776"/>
            <ac:picMk id="1026" creationId="{EFD29C94-4B4F-651D-773D-954AC3A9B409}"/>
          </ac:picMkLst>
        </pc:picChg>
      </pc:sldChg>
      <pc:sldChg chg="addSp delSp modSp add mod">
        <pc:chgData name="Thomas Stensitzki" userId="75cafe6b-2f2a-469b-85c4-eec3b9c972ba" providerId="ADAL" clId="{B1462F1E-0CE4-4310-BDB3-DCDEDFDFEA3A}" dt="2023-10-26T10:00:51.798" v="3041" actId="404"/>
        <pc:sldMkLst>
          <pc:docMk/>
          <pc:sldMk cId="2373903630" sldId="777"/>
        </pc:sldMkLst>
        <pc:spChg chg="add mod">
          <ac:chgData name="Thomas Stensitzki" userId="75cafe6b-2f2a-469b-85c4-eec3b9c972ba" providerId="ADAL" clId="{B1462F1E-0CE4-4310-BDB3-DCDEDFDFEA3A}" dt="2023-10-26T10:00:51.798" v="3041" actId="404"/>
          <ac:spMkLst>
            <pc:docMk/>
            <pc:sldMk cId="2373903630" sldId="777"/>
            <ac:spMk id="2" creationId="{F7DA8F79-2538-0C43-E35E-FD481A70A55B}"/>
          </ac:spMkLst>
        </pc:spChg>
        <pc:picChg chg="del">
          <ac:chgData name="Thomas Stensitzki" userId="75cafe6b-2f2a-469b-85c4-eec3b9c972ba" providerId="ADAL" clId="{B1462F1E-0CE4-4310-BDB3-DCDEDFDFEA3A}" dt="2023-10-26T09:55:43.577" v="2630" actId="478"/>
          <ac:picMkLst>
            <pc:docMk/>
            <pc:sldMk cId="2373903630" sldId="777"/>
            <ac:picMk id="9" creationId="{CE9D7C96-D56D-9727-4220-30C579E8537F}"/>
          </ac:picMkLst>
        </pc:picChg>
      </pc:sldChg>
      <pc:sldChg chg="modSp new mod modNotesTx">
        <pc:chgData name="Thomas Stensitzki" userId="75cafe6b-2f2a-469b-85c4-eec3b9c972ba" providerId="ADAL" clId="{B1462F1E-0CE4-4310-BDB3-DCDEDFDFEA3A}" dt="2023-10-26T10:03:13.752" v="3071"/>
        <pc:sldMkLst>
          <pc:docMk/>
          <pc:sldMk cId="2758939317" sldId="778"/>
        </pc:sldMkLst>
        <pc:spChg chg="mod">
          <ac:chgData name="Thomas Stensitzki" userId="75cafe6b-2f2a-469b-85c4-eec3b9c972ba" providerId="ADAL" clId="{B1462F1E-0CE4-4310-BDB3-DCDEDFDFEA3A}" dt="2023-10-26T10:01:53.919" v="3043"/>
          <ac:spMkLst>
            <pc:docMk/>
            <pc:sldMk cId="2758939317" sldId="778"/>
            <ac:spMk id="2" creationId="{188CE960-92EA-9363-AD0B-76B0D9A800A3}"/>
          </ac:spMkLst>
        </pc:spChg>
        <pc:spChg chg="mod">
          <ac:chgData name="Thomas Stensitzki" userId="75cafe6b-2f2a-469b-85c4-eec3b9c972ba" providerId="ADAL" clId="{B1462F1E-0CE4-4310-BDB3-DCDEDFDFEA3A}" dt="2023-10-26T10:02:02.335" v="3070" actId="20577"/>
          <ac:spMkLst>
            <pc:docMk/>
            <pc:sldMk cId="2758939317" sldId="778"/>
            <ac:spMk id="3" creationId="{562391BD-AE54-4F1C-879F-315F7F52F759}"/>
          </ac:spMkLst>
        </pc:spChg>
      </pc:sldChg>
      <pc:sldChg chg="modSp add mod ord">
        <pc:chgData name="Thomas Stensitzki" userId="75cafe6b-2f2a-469b-85c4-eec3b9c972ba" providerId="ADAL" clId="{B1462F1E-0CE4-4310-BDB3-DCDEDFDFEA3A}" dt="2023-10-31T11:26:00.958" v="3080" actId="14100"/>
        <pc:sldMkLst>
          <pc:docMk/>
          <pc:sldMk cId="2052217329" sldId="779"/>
        </pc:sldMkLst>
        <pc:spChg chg="mod">
          <ac:chgData name="Thomas Stensitzki" userId="75cafe6b-2f2a-469b-85c4-eec3b9c972ba" providerId="ADAL" clId="{B1462F1E-0CE4-4310-BDB3-DCDEDFDFEA3A}" dt="2023-10-31T11:26:00.958" v="3080" actId="14100"/>
          <ac:spMkLst>
            <pc:docMk/>
            <pc:sldMk cId="2052217329" sldId="779"/>
            <ac:spMk id="2" creationId="{909DC09D-B9A6-4493-9A72-1CA7ECB1F5CA}"/>
          </ac:spMkLst>
        </pc:spChg>
      </pc:sldChg>
      <pc:sldChg chg="add del">
        <pc:chgData name="Thomas Stensitzki" userId="75cafe6b-2f2a-469b-85c4-eec3b9c972ba" providerId="ADAL" clId="{B1462F1E-0CE4-4310-BDB3-DCDEDFDFEA3A}" dt="2023-10-31T11:24:54.746" v="3075"/>
        <pc:sldMkLst>
          <pc:docMk/>
          <pc:sldMk cId="2724628692" sldId="779"/>
        </pc:sldMkLst>
      </pc:sldChg>
      <pc:sldChg chg="modSp add mod ord">
        <pc:chgData name="Thomas Stensitzki" userId="75cafe6b-2f2a-469b-85c4-eec3b9c972ba" providerId="ADAL" clId="{B1462F1E-0CE4-4310-BDB3-DCDEDFDFEA3A}" dt="2023-10-31T11:26:13.065" v="3084" actId="1076"/>
        <pc:sldMkLst>
          <pc:docMk/>
          <pc:sldMk cId="456002877" sldId="780"/>
        </pc:sldMkLst>
        <pc:spChg chg="mod">
          <ac:chgData name="Thomas Stensitzki" userId="75cafe6b-2f2a-469b-85c4-eec3b9c972ba" providerId="ADAL" clId="{B1462F1E-0CE4-4310-BDB3-DCDEDFDFEA3A}" dt="2023-10-31T11:26:13.065" v="3084" actId="1076"/>
          <ac:spMkLst>
            <pc:docMk/>
            <pc:sldMk cId="456002877" sldId="780"/>
            <ac:spMk id="2" creationId="{909DC09D-B9A6-4493-9A72-1CA7ECB1F5CA}"/>
          </ac:spMkLst>
        </pc:spChg>
      </pc:sldChg>
      <pc:sldChg chg="modSp add mod ord">
        <pc:chgData name="Thomas Stensitzki" userId="75cafe6b-2f2a-469b-85c4-eec3b9c972ba" providerId="ADAL" clId="{B1462F1E-0CE4-4310-BDB3-DCDEDFDFEA3A}" dt="2023-10-31T11:26:28.276" v="3088" actId="1076"/>
        <pc:sldMkLst>
          <pc:docMk/>
          <pc:sldMk cId="1666844012" sldId="781"/>
        </pc:sldMkLst>
        <pc:spChg chg="mod">
          <ac:chgData name="Thomas Stensitzki" userId="75cafe6b-2f2a-469b-85c4-eec3b9c972ba" providerId="ADAL" clId="{B1462F1E-0CE4-4310-BDB3-DCDEDFDFEA3A}" dt="2023-10-31T11:26:28.276" v="3088" actId="1076"/>
          <ac:spMkLst>
            <pc:docMk/>
            <pc:sldMk cId="1666844012" sldId="781"/>
            <ac:spMk id="2" creationId="{909DC09D-B9A6-4493-9A72-1CA7ECB1F5CA}"/>
          </ac:spMkLst>
        </pc:spChg>
      </pc:sldChg>
      <pc:sldChg chg="modSp add mod ord">
        <pc:chgData name="Thomas Stensitzki" userId="75cafe6b-2f2a-469b-85c4-eec3b9c972ba" providerId="ADAL" clId="{B1462F1E-0CE4-4310-BDB3-DCDEDFDFEA3A}" dt="2023-10-31T11:26:43.986" v="3092" actId="1076"/>
        <pc:sldMkLst>
          <pc:docMk/>
          <pc:sldMk cId="1365151735" sldId="782"/>
        </pc:sldMkLst>
        <pc:spChg chg="mod">
          <ac:chgData name="Thomas Stensitzki" userId="75cafe6b-2f2a-469b-85c4-eec3b9c972ba" providerId="ADAL" clId="{B1462F1E-0CE4-4310-BDB3-DCDEDFDFEA3A}" dt="2023-10-31T11:26:43.986" v="3092" actId="1076"/>
          <ac:spMkLst>
            <pc:docMk/>
            <pc:sldMk cId="1365151735" sldId="782"/>
            <ac:spMk id="2" creationId="{909DC09D-B9A6-4493-9A72-1CA7ECB1F5CA}"/>
          </ac:spMkLst>
        </pc:spChg>
      </pc:sldChg>
      <pc:sldChg chg="modSp add mod ord">
        <pc:chgData name="Thomas Stensitzki" userId="75cafe6b-2f2a-469b-85c4-eec3b9c972ba" providerId="ADAL" clId="{B1462F1E-0CE4-4310-BDB3-DCDEDFDFEA3A}" dt="2023-10-31T11:26:56.766" v="3096" actId="1076"/>
        <pc:sldMkLst>
          <pc:docMk/>
          <pc:sldMk cId="2345373174" sldId="783"/>
        </pc:sldMkLst>
        <pc:spChg chg="mod">
          <ac:chgData name="Thomas Stensitzki" userId="75cafe6b-2f2a-469b-85c4-eec3b9c972ba" providerId="ADAL" clId="{B1462F1E-0CE4-4310-BDB3-DCDEDFDFEA3A}" dt="2023-10-31T11:26:56.766" v="3096" actId="1076"/>
          <ac:spMkLst>
            <pc:docMk/>
            <pc:sldMk cId="2345373174" sldId="783"/>
            <ac:spMk id="2" creationId="{909DC09D-B9A6-4493-9A72-1CA7ECB1F5CA}"/>
          </ac:spMkLst>
        </pc:spChg>
      </pc:sldChg>
      <pc:sldChg chg="modSp add mod ord">
        <pc:chgData name="Thomas Stensitzki" userId="75cafe6b-2f2a-469b-85c4-eec3b9c972ba" providerId="ADAL" clId="{B1462F1E-0CE4-4310-BDB3-DCDEDFDFEA3A}" dt="2023-10-31T11:27:10.611" v="3100" actId="1076"/>
        <pc:sldMkLst>
          <pc:docMk/>
          <pc:sldMk cId="3111584397" sldId="784"/>
        </pc:sldMkLst>
        <pc:spChg chg="mod">
          <ac:chgData name="Thomas Stensitzki" userId="75cafe6b-2f2a-469b-85c4-eec3b9c972ba" providerId="ADAL" clId="{B1462F1E-0CE4-4310-BDB3-DCDEDFDFEA3A}" dt="2023-10-31T11:27:10.611" v="3100" actId="1076"/>
          <ac:spMkLst>
            <pc:docMk/>
            <pc:sldMk cId="3111584397" sldId="784"/>
            <ac:spMk id="2" creationId="{909DC09D-B9A6-4493-9A72-1CA7ECB1F5CA}"/>
          </ac:spMkLst>
        </pc:spChg>
      </pc:sldChg>
    </pc:docChg>
  </pc:docChgLst>
  <pc:docChgLst>
    <pc:chgData name="Thomas Stensitzki" userId="75cafe6b-2f2a-469b-85c4-eec3b9c972ba" providerId="ADAL" clId="{78A7489F-5177-4675-A072-D65159DC1369}"/>
    <pc:docChg chg="undo custSel addSld delSld modSld sldOrd modSection">
      <pc:chgData name="Thomas Stensitzki" userId="75cafe6b-2f2a-469b-85c4-eec3b9c972ba" providerId="ADAL" clId="{78A7489F-5177-4675-A072-D65159DC1369}" dt="2022-08-11T17:58:41.700" v="2407" actId="20577"/>
      <pc:docMkLst>
        <pc:docMk/>
      </pc:docMkLst>
      <pc:sldChg chg="modSp mod">
        <pc:chgData name="Thomas Stensitzki" userId="75cafe6b-2f2a-469b-85c4-eec3b9c972ba" providerId="ADAL" clId="{78A7489F-5177-4675-A072-D65159DC1369}" dt="2022-08-06T13:53:42.722" v="15" actId="6549"/>
        <pc:sldMkLst>
          <pc:docMk/>
          <pc:sldMk cId="671489701" sldId="256"/>
        </pc:sldMkLst>
        <pc:spChg chg="mod">
          <ac:chgData name="Thomas Stensitzki" userId="75cafe6b-2f2a-469b-85c4-eec3b9c972ba" providerId="ADAL" clId="{78A7489F-5177-4675-A072-D65159DC1369}" dt="2022-08-06T13:53:42.722" v="15" actId="6549"/>
          <ac:spMkLst>
            <pc:docMk/>
            <pc:sldMk cId="671489701" sldId="256"/>
            <ac:spMk id="3" creationId="{CBA95633-B02D-4A15-A8B1-A38E0A70FD27}"/>
          </ac:spMkLst>
        </pc:spChg>
      </pc:sldChg>
      <pc:sldChg chg="modSp mod">
        <pc:chgData name="Thomas Stensitzki" userId="75cafe6b-2f2a-469b-85c4-eec3b9c972ba" providerId="ADAL" clId="{78A7489F-5177-4675-A072-D65159DC1369}" dt="2022-08-06T13:55:53.434" v="107" actId="14734"/>
        <pc:sldMkLst>
          <pc:docMk/>
          <pc:sldMk cId="2855324227" sldId="257"/>
        </pc:sldMkLst>
        <pc:spChg chg="mod">
          <ac:chgData name="Thomas Stensitzki" userId="75cafe6b-2f2a-469b-85c4-eec3b9c972ba" providerId="ADAL" clId="{78A7489F-5177-4675-A072-D65159DC1369}" dt="2022-08-06T13:55:35.319" v="98" actId="20577"/>
          <ac:spMkLst>
            <pc:docMk/>
            <pc:sldMk cId="2855324227" sldId="257"/>
            <ac:spMk id="5" creationId="{EE6719E1-4DB6-4D58-BA77-937CF975247C}"/>
          </ac:spMkLst>
        </pc:spChg>
        <pc:graphicFrameChg chg="mod modGraphic">
          <ac:chgData name="Thomas Stensitzki" userId="75cafe6b-2f2a-469b-85c4-eec3b9c972ba" providerId="ADAL" clId="{78A7489F-5177-4675-A072-D65159DC1369}" dt="2022-08-06T13:55:53.434" v="107" actId="14734"/>
          <ac:graphicFrameMkLst>
            <pc:docMk/>
            <pc:sldMk cId="2855324227" sldId="257"/>
            <ac:graphicFrameMk id="6" creationId="{0F955DCC-462D-431D-BBDE-26F10687D590}"/>
          </ac:graphicFrameMkLst>
        </pc:graphicFrameChg>
      </pc:sldChg>
      <pc:sldChg chg="addSp modSp mod">
        <pc:chgData name="Thomas Stensitzki" userId="75cafe6b-2f2a-469b-85c4-eec3b9c972ba" providerId="ADAL" clId="{78A7489F-5177-4675-A072-D65159DC1369}" dt="2022-08-11T17:58:41.700" v="2407" actId="20577"/>
        <pc:sldMkLst>
          <pc:docMk/>
          <pc:sldMk cId="3332792154" sldId="258"/>
        </pc:sldMkLst>
        <pc:spChg chg="mod">
          <ac:chgData name="Thomas Stensitzki" userId="75cafe6b-2f2a-469b-85c4-eec3b9c972ba" providerId="ADAL" clId="{78A7489F-5177-4675-A072-D65159DC1369}" dt="2022-08-11T17:58:41.700" v="2407" actId="20577"/>
          <ac:spMkLst>
            <pc:docMk/>
            <pc:sldMk cId="3332792154" sldId="258"/>
            <ac:spMk id="3" creationId="{3A5A44EB-7FB9-473A-8ED3-C49DDD2E65AB}"/>
          </ac:spMkLst>
        </pc:spChg>
        <pc:picChg chg="add mod">
          <ac:chgData name="Thomas Stensitzki" userId="75cafe6b-2f2a-469b-85c4-eec3b9c972ba" providerId="ADAL" clId="{78A7489F-5177-4675-A072-D65159DC1369}" dt="2022-08-06T14:12:01.417" v="321" actId="1076"/>
          <ac:picMkLst>
            <pc:docMk/>
            <pc:sldMk cId="3332792154" sldId="258"/>
            <ac:picMk id="1026" creationId="{F7C90142-B1AA-1344-2DB1-054C9B2C6BC4}"/>
          </ac:picMkLst>
        </pc:picChg>
      </pc:sldChg>
      <pc:sldChg chg="modSp mod">
        <pc:chgData name="Thomas Stensitzki" userId="75cafe6b-2f2a-469b-85c4-eec3b9c972ba" providerId="ADAL" clId="{78A7489F-5177-4675-A072-D65159DC1369}" dt="2022-08-06T13:56:08.694" v="113" actId="20577"/>
        <pc:sldMkLst>
          <pc:docMk/>
          <pc:sldMk cId="2698998357" sldId="260"/>
        </pc:sldMkLst>
        <pc:spChg chg="mod">
          <ac:chgData name="Thomas Stensitzki" userId="75cafe6b-2f2a-469b-85c4-eec3b9c972ba" providerId="ADAL" clId="{78A7489F-5177-4675-A072-D65159DC1369}" dt="2022-08-06T13:55:45.564" v="99"/>
          <ac:spMkLst>
            <pc:docMk/>
            <pc:sldMk cId="2698998357" sldId="260"/>
            <ac:spMk id="4" creationId="{F3A15CBD-C746-44A3-A4F0-4898CE2F02E6}"/>
          </ac:spMkLst>
        </pc:spChg>
        <pc:spChg chg="mod">
          <ac:chgData name="Thomas Stensitzki" userId="75cafe6b-2f2a-469b-85c4-eec3b9c972ba" providerId="ADAL" clId="{78A7489F-5177-4675-A072-D65159DC1369}" dt="2022-08-06T13:56:08.694" v="113" actId="20577"/>
          <ac:spMkLst>
            <pc:docMk/>
            <pc:sldMk cId="2698998357" sldId="260"/>
            <ac:spMk id="5" creationId="{F3459BE7-1731-4733-A912-12977C68CFD6}"/>
          </ac:spMkLst>
        </pc:spChg>
      </pc:sldChg>
      <pc:sldChg chg="modSp mod">
        <pc:chgData name="Thomas Stensitzki" userId="75cafe6b-2f2a-469b-85c4-eec3b9c972ba" providerId="ADAL" clId="{78A7489F-5177-4675-A072-D65159DC1369}" dt="2022-08-06T13:56:27.654" v="118" actId="6549"/>
        <pc:sldMkLst>
          <pc:docMk/>
          <pc:sldMk cId="4007670073" sldId="268"/>
        </pc:sldMkLst>
        <pc:spChg chg="mod">
          <ac:chgData name="Thomas Stensitzki" userId="75cafe6b-2f2a-469b-85c4-eec3b9c972ba" providerId="ADAL" clId="{78A7489F-5177-4675-A072-D65159DC1369}" dt="2022-08-06T13:56:27.654" v="118" actId="6549"/>
          <ac:spMkLst>
            <pc:docMk/>
            <pc:sldMk cId="4007670073" sldId="268"/>
            <ac:spMk id="5" creationId="{F3459BE7-1731-4733-A912-12977C68CFD6}"/>
          </ac:spMkLst>
        </pc:spChg>
      </pc:sldChg>
      <pc:sldChg chg="modSp add del mod">
        <pc:chgData name="Thomas Stensitzki" userId="75cafe6b-2f2a-469b-85c4-eec3b9c972ba" providerId="ADAL" clId="{78A7489F-5177-4675-A072-D65159DC1369}" dt="2022-08-10T10:24:46.981" v="2174" actId="5793"/>
        <pc:sldMkLst>
          <pc:docMk/>
          <pc:sldMk cId="2721051844" sldId="269"/>
        </pc:sldMkLst>
        <pc:spChg chg="mod">
          <ac:chgData name="Thomas Stensitzki" userId="75cafe6b-2f2a-469b-85c4-eec3b9c972ba" providerId="ADAL" clId="{78A7489F-5177-4675-A072-D65159DC1369}" dt="2022-08-10T10:24:46.981" v="2174" actId="5793"/>
          <ac:spMkLst>
            <pc:docMk/>
            <pc:sldMk cId="2721051844" sldId="269"/>
            <ac:spMk id="4" creationId="{D12969B4-351A-4517-A5B8-3E6AD9CDB206}"/>
          </ac:spMkLst>
        </pc:spChg>
        <pc:spChg chg="mod">
          <ac:chgData name="Thomas Stensitzki" userId="75cafe6b-2f2a-469b-85c4-eec3b9c972ba" providerId="ADAL" clId="{78A7489F-5177-4675-A072-D65159DC1369}" dt="2022-08-09T17:49:52.066" v="1632" actId="20577"/>
          <ac:spMkLst>
            <pc:docMk/>
            <pc:sldMk cId="2721051844" sldId="269"/>
            <ac:spMk id="5" creationId="{C24DACB5-1BEC-4C86-9652-BAFD8DE56FEF}"/>
          </ac:spMkLst>
        </pc:spChg>
      </pc:sldChg>
      <pc:sldChg chg="modSp mod">
        <pc:chgData name="Thomas Stensitzki" userId="75cafe6b-2f2a-469b-85c4-eec3b9c972ba" providerId="ADAL" clId="{78A7489F-5177-4675-A072-D65159DC1369}" dt="2022-08-10T10:18:15.441" v="2029" actId="14100"/>
        <pc:sldMkLst>
          <pc:docMk/>
          <pc:sldMk cId="2227487991" sldId="378"/>
        </pc:sldMkLst>
        <pc:spChg chg="mod">
          <ac:chgData name="Thomas Stensitzki" userId="75cafe6b-2f2a-469b-85c4-eec3b9c972ba" providerId="ADAL" clId="{78A7489F-5177-4675-A072-D65159DC1369}" dt="2022-08-10T10:18:15.441" v="2029" actId="14100"/>
          <ac:spMkLst>
            <pc:docMk/>
            <pc:sldMk cId="2227487991" sldId="378"/>
            <ac:spMk id="2" creationId="{909DC09D-B9A6-4493-9A72-1CA7ECB1F5CA}"/>
          </ac:spMkLst>
        </pc:spChg>
        <pc:spChg chg="mod">
          <ac:chgData name="Thomas Stensitzki" userId="75cafe6b-2f2a-469b-85c4-eec3b9c972ba" providerId="ADAL" clId="{78A7489F-5177-4675-A072-D65159DC1369}" dt="2022-08-10T10:17:17.322" v="2021" actId="14100"/>
          <ac:spMkLst>
            <pc:docMk/>
            <pc:sldMk cId="2227487991" sldId="378"/>
            <ac:spMk id="5" creationId="{C24DACB5-1BEC-4C86-9652-BAFD8DE56FEF}"/>
          </ac:spMkLst>
        </pc:spChg>
      </pc:sldChg>
      <pc:sldChg chg="add del">
        <pc:chgData name="Thomas Stensitzki" userId="75cafe6b-2f2a-469b-85c4-eec3b9c972ba" providerId="ADAL" clId="{78A7489F-5177-4675-A072-D65159DC1369}" dt="2022-08-06T13:56:56.205" v="121" actId="47"/>
        <pc:sldMkLst>
          <pc:docMk/>
          <pc:sldMk cId="2395924320" sldId="514"/>
        </pc:sldMkLst>
      </pc:sldChg>
      <pc:sldChg chg="modSp mod">
        <pc:chgData name="Thomas Stensitzki" userId="75cafe6b-2f2a-469b-85c4-eec3b9c972ba" providerId="ADAL" clId="{78A7489F-5177-4675-A072-D65159DC1369}" dt="2022-08-10T10:17:52.177" v="2027" actId="255"/>
        <pc:sldMkLst>
          <pc:docMk/>
          <pc:sldMk cId="3797754622" sldId="515"/>
        </pc:sldMkLst>
        <pc:spChg chg="mod">
          <ac:chgData name="Thomas Stensitzki" userId="75cafe6b-2f2a-469b-85c4-eec3b9c972ba" providerId="ADAL" clId="{78A7489F-5177-4675-A072-D65159DC1369}" dt="2022-08-10T10:17:52.177" v="2027" actId="255"/>
          <ac:spMkLst>
            <pc:docMk/>
            <pc:sldMk cId="3797754622" sldId="515"/>
            <ac:spMk id="5" creationId="{C24DACB5-1BEC-4C86-9652-BAFD8DE56FEF}"/>
          </ac:spMkLst>
        </pc:spChg>
      </pc:sldChg>
      <pc:sldChg chg="addSp modSp modAnim">
        <pc:chgData name="Thomas Stensitzki" userId="75cafe6b-2f2a-469b-85c4-eec3b9c972ba" providerId="ADAL" clId="{78A7489F-5177-4675-A072-D65159DC1369}" dt="2022-08-06T14:13:28.848" v="407" actId="1076"/>
        <pc:sldMkLst>
          <pc:docMk/>
          <pc:sldMk cId="2791634409" sldId="560"/>
        </pc:sldMkLst>
        <pc:spChg chg="mod">
          <ac:chgData name="Thomas Stensitzki" userId="75cafe6b-2f2a-469b-85c4-eec3b9c972ba" providerId="ADAL" clId="{78A7489F-5177-4675-A072-D65159DC1369}" dt="2022-08-06T14:12:43.790" v="404" actId="20577"/>
          <ac:spMkLst>
            <pc:docMk/>
            <pc:sldMk cId="2791634409" sldId="560"/>
            <ac:spMk id="5" creationId="{E4B561B6-C0CF-43D8-8BC7-F305B96C47C8}"/>
          </ac:spMkLst>
        </pc:spChg>
        <pc:picChg chg="add mod">
          <ac:chgData name="Thomas Stensitzki" userId="75cafe6b-2f2a-469b-85c4-eec3b9c972ba" providerId="ADAL" clId="{78A7489F-5177-4675-A072-D65159DC1369}" dt="2022-08-06T14:13:28.848" v="407" actId="1076"/>
          <ac:picMkLst>
            <pc:docMk/>
            <pc:sldMk cId="2791634409" sldId="560"/>
            <ac:picMk id="2050" creationId="{DE9DABCD-CA25-2C8D-141D-F825F843D221}"/>
          </ac:picMkLst>
        </pc:picChg>
      </pc:sldChg>
      <pc:sldChg chg="modSp mod">
        <pc:chgData name="Thomas Stensitzki" userId="75cafe6b-2f2a-469b-85c4-eec3b9c972ba" providerId="ADAL" clId="{78A7489F-5177-4675-A072-D65159DC1369}" dt="2022-08-10T10:27:52.206" v="2393" actId="20577"/>
        <pc:sldMkLst>
          <pc:docMk/>
          <pc:sldMk cId="1728515471" sldId="561"/>
        </pc:sldMkLst>
        <pc:graphicFrameChg chg="modGraphic">
          <ac:chgData name="Thomas Stensitzki" userId="75cafe6b-2f2a-469b-85c4-eec3b9c972ba" providerId="ADAL" clId="{78A7489F-5177-4675-A072-D65159DC1369}" dt="2022-08-10T10:27:52.206" v="2393" actId="20577"/>
          <ac:graphicFrameMkLst>
            <pc:docMk/>
            <pc:sldMk cId="1728515471" sldId="561"/>
            <ac:graphicFrameMk id="4" creationId="{55EDB790-67BC-42E5-B64A-5647620B8383}"/>
          </ac:graphicFrameMkLst>
        </pc:graphicFrameChg>
      </pc:sldChg>
      <pc:sldChg chg="addSp delSp modSp add del mod modAnim">
        <pc:chgData name="Thomas Stensitzki" userId="75cafe6b-2f2a-469b-85c4-eec3b9c972ba" providerId="ADAL" clId="{78A7489F-5177-4675-A072-D65159DC1369}" dt="2022-08-10T10:19:57.846" v="2055" actId="1440"/>
        <pc:sldMkLst>
          <pc:docMk/>
          <pc:sldMk cId="4104137776" sldId="567"/>
        </pc:sldMkLst>
        <pc:spChg chg="mod">
          <ac:chgData name="Thomas Stensitzki" userId="75cafe6b-2f2a-469b-85c4-eec3b9c972ba" providerId="ADAL" clId="{78A7489F-5177-4675-A072-D65159DC1369}" dt="2022-08-09T16:55:34.108" v="905"/>
          <ac:spMkLst>
            <pc:docMk/>
            <pc:sldMk cId="4104137776" sldId="567"/>
            <ac:spMk id="2" creationId="{EC46AD28-746E-4246-884F-4DAE24C62042}"/>
          </ac:spMkLst>
        </pc:spChg>
        <pc:picChg chg="add mod">
          <ac:chgData name="Thomas Stensitzki" userId="75cafe6b-2f2a-469b-85c4-eec3b9c972ba" providerId="ADAL" clId="{78A7489F-5177-4675-A072-D65159DC1369}" dt="2022-08-10T10:19:57.846" v="2055" actId="1440"/>
          <ac:picMkLst>
            <pc:docMk/>
            <pc:sldMk cId="4104137776" sldId="567"/>
            <ac:picMk id="1026" creationId="{B7F8F498-4FFF-EDA5-087D-1D4F52FA50CA}"/>
          </ac:picMkLst>
        </pc:picChg>
        <pc:picChg chg="add del mod">
          <ac:chgData name="Thomas Stensitzki" userId="75cafe6b-2f2a-469b-85c4-eec3b9c972ba" providerId="ADAL" clId="{78A7489F-5177-4675-A072-D65159DC1369}" dt="2022-08-09T16:56:24.126" v="919" actId="478"/>
          <ac:picMkLst>
            <pc:docMk/>
            <pc:sldMk cId="4104137776" sldId="567"/>
            <ac:picMk id="1028" creationId="{8B3653FD-FA04-3132-3198-3B31F53517E9}"/>
          </ac:picMkLst>
        </pc:picChg>
        <pc:picChg chg="del">
          <ac:chgData name="Thomas Stensitzki" userId="75cafe6b-2f2a-469b-85c4-eec3b9c972ba" providerId="ADAL" clId="{78A7489F-5177-4675-A072-D65159DC1369}" dt="2022-08-09T16:55:38.365" v="907" actId="478"/>
          <ac:picMkLst>
            <pc:docMk/>
            <pc:sldMk cId="4104137776" sldId="567"/>
            <ac:picMk id="6146" creationId="{BEB228D0-D6CB-482E-981C-8BBE1B427912}"/>
          </ac:picMkLst>
        </pc:picChg>
        <pc:picChg chg="del">
          <ac:chgData name="Thomas Stensitzki" userId="75cafe6b-2f2a-469b-85c4-eec3b9c972ba" providerId="ADAL" clId="{78A7489F-5177-4675-A072-D65159DC1369}" dt="2022-08-09T16:55:37.936" v="906" actId="478"/>
          <ac:picMkLst>
            <pc:docMk/>
            <pc:sldMk cId="4104137776" sldId="567"/>
            <ac:picMk id="6148" creationId="{C73D027B-CA10-4632-9BCD-2A04C1CA1660}"/>
          </ac:picMkLst>
        </pc:picChg>
      </pc:sldChg>
      <pc:sldChg chg="del">
        <pc:chgData name="Thomas Stensitzki" userId="75cafe6b-2f2a-469b-85c4-eec3b9c972ba" providerId="ADAL" clId="{78A7489F-5177-4675-A072-D65159DC1369}" dt="2022-08-06T13:56:19.231" v="114" actId="47"/>
        <pc:sldMkLst>
          <pc:docMk/>
          <pc:sldMk cId="2374589673" sldId="568"/>
        </pc:sldMkLst>
      </pc:sldChg>
      <pc:sldChg chg="mod modShow">
        <pc:chgData name="Thomas Stensitzki" userId="75cafe6b-2f2a-469b-85c4-eec3b9c972ba" providerId="ADAL" clId="{78A7489F-5177-4675-A072-D65159DC1369}" dt="2022-08-06T14:14:08.123" v="410" actId="729"/>
        <pc:sldMkLst>
          <pc:docMk/>
          <pc:sldMk cId="1051205786" sldId="607"/>
        </pc:sldMkLst>
      </pc:sldChg>
      <pc:sldChg chg="del">
        <pc:chgData name="Thomas Stensitzki" userId="75cafe6b-2f2a-469b-85c4-eec3b9c972ba" providerId="ADAL" clId="{78A7489F-5177-4675-A072-D65159DC1369}" dt="2022-08-06T13:56:19.231" v="114" actId="47"/>
        <pc:sldMkLst>
          <pc:docMk/>
          <pc:sldMk cId="1133784921" sldId="608"/>
        </pc:sldMkLst>
      </pc:sldChg>
      <pc:sldChg chg="del">
        <pc:chgData name="Thomas Stensitzki" userId="75cafe6b-2f2a-469b-85c4-eec3b9c972ba" providerId="ADAL" clId="{78A7489F-5177-4675-A072-D65159DC1369}" dt="2022-08-06T13:56:19.231" v="114" actId="47"/>
        <pc:sldMkLst>
          <pc:docMk/>
          <pc:sldMk cId="194201490" sldId="609"/>
        </pc:sldMkLst>
      </pc:sldChg>
      <pc:sldChg chg="del">
        <pc:chgData name="Thomas Stensitzki" userId="75cafe6b-2f2a-469b-85c4-eec3b9c972ba" providerId="ADAL" clId="{78A7489F-5177-4675-A072-D65159DC1369}" dt="2022-08-06T13:56:19.231" v="114" actId="47"/>
        <pc:sldMkLst>
          <pc:docMk/>
          <pc:sldMk cId="467678945" sldId="610"/>
        </pc:sldMkLst>
      </pc:sldChg>
      <pc:sldChg chg="del">
        <pc:chgData name="Thomas Stensitzki" userId="75cafe6b-2f2a-469b-85c4-eec3b9c972ba" providerId="ADAL" clId="{78A7489F-5177-4675-A072-D65159DC1369}" dt="2022-08-06T13:56:19.231" v="114" actId="47"/>
        <pc:sldMkLst>
          <pc:docMk/>
          <pc:sldMk cId="2119466313" sldId="611"/>
        </pc:sldMkLst>
      </pc:sldChg>
      <pc:sldChg chg="del">
        <pc:chgData name="Thomas Stensitzki" userId="75cafe6b-2f2a-469b-85c4-eec3b9c972ba" providerId="ADAL" clId="{78A7489F-5177-4675-A072-D65159DC1369}" dt="2022-08-06T13:56:19.231" v="114" actId="47"/>
        <pc:sldMkLst>
          <pc:docMk/>
          <pc:sldMk cId="3453821184" sldId="612"/>
        </pc:sldMkLst>
      </pc:sldChg>
      <pc:sldChg chg="del">
        <pc:chgData name="Thomas Stensitzki" userId="75cafe6b-2f2a-469b-85c4-eec3b9c972ba" providerId="ADAL" clId="{78A7489F-5177-4675-A072-D65159DC1369}" dt="2022-08-06T13:56:19.231" v="114" actId="47"/>
        <pc:sldMkLst>
          <pc:docMk/>
          <pc:sldMk cId="1137647844" sldId="613"/>
        </pc:sldMkLst>
      </pc:sldChg>
      <pc:sldChg chg="del">
        <pc:chgData name="Thomas Stensitzki" userId="75cafe6b-2f2a-469b-85c4-eec3b9c972ba" providerId="ADAL" clId="{78A7489F-5177-4675-A072-D65159DC1369}" dt="2022-08-06T13:56:19.231" v="114" actId="47"/>
        <pc:sldMkLst>
          <pc:docMk/>
          <pc:sldMk cId="1503137777" sldId="614"/>
        </pc:sldMkLst>
      </pc:sldChg>
      <pc:sldChg chg="addSp delSp modSp mod delAnim modAnim">
        <pc:chgData name="Thomas Stensitzki" userId="75cafe6b-2f2a-469b-85c4-eec3b9c972ba" providerId="ADAL" clId="{78A7489F-5177-4675-A072-D65159DC1369}" dt="2022-08-10T10:29:28.155" v="2396"/>
        <pc:sldMkLst>
          <pc:docMk/>
          <pc:sldMk cId="1055936327" sldId="615"/>
        </pc:sldMkLst>
        <pc:spChg chg="mod">
          <ac:chgData name="Thomas Stensitzki" userId="75cafe6b-2f2a-469b-85c4-eec3b9c972ba" providerId="ADAL" clId="{78A7489F-5177-4675-A072-D65159DC1369}" dt="2022-08-09T16:58:55.097" v="946"/>
          <ac:spMkLst>
            <pc:docMk/>
            <pc:sldMk cId="1055936327" sldId="615"/>
            <ac:spMk id="2" creationId="{8F0EE741-1AA9-4E98-9676-69EE83AA3E40}"/>
          </ac:spMkLst>
        </pc:spChg>
        <pc:spChg chg="del">
          <ac:chgData name="Thomas Stensitzki" userId="75cafe6b-2f2a-469b-85c4-eec3b9c972ba" providerId="ADAL" clId="{78A7489F-5177-4675-A072-D65159DC1369}" dt="2022-08-09T16:59:11.281" v="951" actId="478"/>
          <ac:spMkLst>
            <pc:docMk/>
            <pc:sldMk cId="1055936327" sldId="615"/>
            <ac:spMk id="3" creationId="{AB3DB976-C90F-4091-87CF-40163DF71AFA}"/>
          </ac:spMkLst>
        </pc:spChg>
        <pc:picChg chg="add mod">
          <ac:chgData name="Thomas Stensitzki" userId="75cafe6b-2f2a-469b-85c4-eec3b9c972ba" providerId="ADAL" clId="{78A7489F-5177-4675-A072-D65159DC1369}" dt="2022-08-10T10:19:18.529" v="2042" actId="1440"/>
          <ac:picMkLst>
            <pc:docMk/>
            <pc:sldMk cId="1055936327" sldId="615"/>
            <ac:picMk id="4" creationId="{DB26A891-FEB9-BE0E-582C-D71E578CD6EE}"/>
          </ac:picMkLst>
        </pc:picChg>
        <pc:picChg chg="del">
          <ac:chgData name="Thomas Stensitzki" userId="75cafe6b-2f2a-469b-85c4-eec3b9c972ba" providerId="ADAL" clId="{78A7489F-5177-4675-A072-D65159DC1369}" dt="2022-08-09T16:59:00.574" v="950" actId="478"/>
          <ac:picMkLst>
            <pc:docMk/>
            <pc:sldMk cId="1055936327" sldId="615"/>
            <ac:picMk id="1026" creationId="{7B51AD3F-B2C5-40C2-A1B0-148EC98E9697}"/>
          </ac:picMkLst>
        </pc:picChg>
        <pc:picChg chg="del">
          <ac:chgData name="Thomas Stensitzki" userId="75cafe6b-2f2a-469b-85c4-eec3b9c972ba" providerId="ADAL" clId="{78A7489F-5177-4675-A072-D65159DC1369}" dt="2022-08-09T16:59:00.092" v="949" actId="478"/>
          <ac:picMkLst>
            <pc:docMk/>
            <pc:sldMk cId="1055936327" sldId="615"/>
            <ac:picMk id="1028" creationId="{CE471663-B43B-4113-A916-DCC9088EAFED}"/>
          </ac:picMkLst>
        </pc:picChg>
        <pc:picChg chg="del">
          <ac:chgData name="Thomas Stensitzki" userId="75cafe6b-2f2a-469b-85c4-eec3b9c972ba" providerId="ADAL" clId="{78A7489F-5177-4675-A072-D65159DC1369}" dt="2022-08-09T16:58:58.985" v="947" actId="478"/>
          <ac:picMkLst>
            <pc:docMk/>
            <pc:sldMk cId="1055936327" sldId="615"/>
            <ac:picMk id="1030" creationId="{55623FF3-B572-4046-968C-52BEC1710B74}"/>
          </ac:picMkLst>
        </pc:picChg>
        <pc:picChg chg="del">
          <ac:chgData name="Thomas Stensitzki" userId="75cafe6b-2f2a-469b-85c4-eec3b9c972ba" providerId="ADAL" clId="{78A7489F-5177-4675-A072-D65159DC1369}" dt="2022-08-09T16:58:59.592" v="948" actId="478"/>
          <ac:picMkLst>
            <pc:docMk/>
            <pc:sldMk cId="1055936327" sldId="615"/>
            <ac:picMk id="1032" creationId="{A2A89887-1B80-4358-8DAF-1FE056BD8360}"/>
          </ac:picMkLst>
        </pc:picChg>
        <pc:picChg chg="add mod">
          <ac:chgData name="Thomas Stensitzki" userId="75cafe6b-2f2a-469b-85c4-eec3b9c972ba" providerId="ADAL" clId="{78A7489F-5177-4675-A072-D65159DC1369}" dt="2022-08-10T10:19:17.785" v="2041" actId="1440"/>
          <ac:picMkLst>
            <pc:docMk/>
            <pc:sldMk cId="1055936327" sldId="615"/>
            <ac:picMk id="4098" creationId="{44675D0D-E278-C3F3-AE57-0D44ADAD592E}"/>
          </ac:picMkLst>
        </pc:picChg>
        <pc:picChg chg="add mod">
          <ac:chgData name="Thomas Stensitzki" userId="75cafe6b-2f2a-469b-85c4-eec3b9c972ba" providerId="ADAL" clId="{78A7489F-5177-4675-A072-D65159DC1369}" dt="2022-08-10T10:19:16.810" v="2040" actId="1440"/>
          <ac:picMkLst>
            <pc:docMk/>
            <pc:sldMk cId="1055936327" sldId="615"/>
            <ac:picMk id="4100" creationId="{D0F09251-F2C4-882E-D250-6D9DD7DBD352}"/>
          </ac:picMkLst>
        </pc:picChg>
        <pc:picChg chg="add del mod">
          <ac:chgData name="Thomas Stensitzki" userId="75cafe6b-2f2a-469b-85c4-eec3b9c972ba" providerId="ADAL" clId="{78A7489F-5177-4675-A072-D65159DC1369}" dt="2022-08-09T17:02:42.290" v="981" actId="478"/>
          <ac:picMkLst>
            <pc:docMk/>
            <pc:sldMk cId="1055936327" sldId="615"/>
            <ac:picMk id="4102" creationId="{F0CDA692-00C1-65A2-667C-990CF73E4691}"/>
          </ac:picMkLst>
        </pc:picChg>
      </pc:sldChg>
      <pc:sldChg chg="del">
        <pc:chgData name="Thomas Stensitzki" userId="75cafe6b-2f2a-469b-85c4-eec3b9c972ba" providerId="ADAL" clId="{78A7489F-5177-4675-A072-D65159DC1369}" dt="2022-08-06T13:56:41.651" v="119" actId="47"/>
        <pc:sldMkLst>
          <pc:docMk/>
          <pc:sldMk cId="3478201021" sldId="616"/>
        </pc:sldMkLst>
      </pc:sldChg>
      <pc:sldChg chg="addSp delSp modSp new mod modClrScheme chgLayout">
        <pc:chgData name="Thomas Stensitzki" userId="75cafe6b-2f2a-469b-85c4-eec3b9c972ba" providerId="ADAL" clId="{78A7489F-5177-4675-A072-D65159DC1369}" dt="2022-08-07T16:38:03.051" v="901" actId="20577"/>
        <pc:sldMkLst>
          <pc:docMk/>
          <pc:sldMk cId="4105418081" sldId="616"/>
        </pc:sldMkLst>
        <pc:spChg chg="del mod ord">
          <ac:chgData name="Thomas Stensitzki" userId="75cafe6b-2f2a-469b-85c4-eec3b9c972ba" providerId="ADAL" clId="{78A7489F-5177-4675-A072-D65159DC1369}" dt="2022-08-06T14:13:54.592" v="409" actId="700"/>
          <ac:spMkLst>
            <pc:docMk/>
            <pc:sldMk cId="4105418081" sldId="616"/>
            <ac:spMk id="2" creationId="{B61306F2-F960-0AD9-310A-D814F6C403DC}"/>
          </ac:spMkLst>
        </pc:spChg>
        <pc:spChg chg="del mod ord">
          <ac:chgData name="Thomas Stensitzki" userId="75cafe6b-2f2a-469b-85c4-eec3b9c972ba" providerId="ADAL" clId="{78A7489F-5177-4675-A072-D65159DC1369}" dt="2022-08-06T14:13:54.592" v="409" actId="700"/>
          <ac:spMkLst>
            <pc:docMk/>
            <pc:sldMk cId="4105418081" sldId="616"/>
            <ac:spMk id="3" creationId="{2A094938-089E-EAA0-FB2D-0584EAF0FF8D}"/>
          </ac:spMkLst>
        </pc:spChg>
        <pc:spChg chg="add mod ord">
          <ac:chgData name="Thomas Stensitzki" userId="75cafe6b-2f2a-469b-85c4-eec3b9c972ba" providerId="ADAL" clId="{78A7489F-5177-4675-A072-D65159DC1369}" dt="2022-08-06T14:14:54.303" v="420" actId="20577"/>
          <ac:spMkLst>
            <pc:docMk/>
            <pc:sldMk cId="4105418081" sldId="616"/>
            <ac:spMk id="4" creationId="{0912CB56-E941-CC99-5A75-B3A4D6CF9E26}"/>
          </ac:spMkLst>
        </pc:spChg>
        <pc:spChg chg="add mod ord">
          <ac:chgData name="Thomas Stensitzki" userId="75cafe6b-2f2a-469b-85c4-eec3b9c972ba" providerId="ADAL" clId="{78A7489F-5177-4675-A072-D65159DC1369}" dt="2022-08-07T16:38:03.051" v="901" actId="20577"/>
          <ac:spMkLst>
            <pc:docMk/>
            <pc:sldMk cId="4105418081" sldId="616"/>
            <ac:spMk id="5" creationId="{BB4C8E7C-FA68-627B-2855-70693371E570}"/>
          </ac:spMkLst>
        </pc:spChg>
      </pc:sldChg>
      <pc:sldChg chg="modSp add del mod ord">
        <pc:chgData name="Thomas Stensitzki" userId="75cafe6b-2f2a-469b-85c4-eec3b9c972ba" providerId="ADAL" clId="{78A7489F-5177-4675-A072-D65159DC1369}" dt="2022-08-10T10:16:24.549" v="2009" actId="5793"/>
        <pc:sldMkLst>
          <pc:docMk/>
          <pc:sldMk cId="2500841606" sldId="617"/>
        </pc:sldMkLst>
        <pc:spChg chg="mod">
          <ac:chgData name="Thomas Stensitzki" userId="75cafe6b-2f2a-469b-85c4-eec3b9c972ba" providerId="ADAL" clId="{78A7489F-5177-4675-A072-D65159DC1369}" dt="2022-08-06T14:19:55.327" v="484" actId="20577"/>
          <ac:spMkLst>
            <pc:docMk/>
            <pc:sldMk cId="2500841606" sldId="617"/>
            <ac:spMk id="4" creationId="{0912CB56-E941-CC99-5A75-B3A4D6CF9E26}"/>
          </ac:spMkLst>
        </pc:spChg>
        <pc:spChg chg="mod">
          <ac:chgData name="Thomas Stensitzki" userId="75cafe6b-2f2a-469b-85c4-eec3b9c972ba" providerId="ADAL" clId="{78A7489F-5177-4675-A072-D65159DC1369}" dt="2022-08-10T10:16:24.549" v="2009" actId="5793"/>
          <ac:spMkLst>
            <pc:docMk/>
            <pc:sldMk cId="2500841606" sldId="617"/>
            <ac:spMk id="5" creationId="{BB4C8E7C-FA68-627B-2855-70693371E570}"/>
          </ac:spMkLst>
        </pc:spChg>
      </pc:sldChg>
      <pc:sldChg chg="del">
        <pc:chgData name="Thomas Stensitzki" userId="75cafe6b-2f2a-469b-85c4-eec3b9c972ba" providerId="ADAL" clId="{78A7489F-5177-4675-A072-D65159DC1369}" dt="2022-08-06T13:56:41.651" v="119" actId="47"/>
        <pc:sldMkLst>
          <pc:docMk/>
          <pc:sldMk cId="3437431207" sldId="617"/>
        </pc:sldMkLst>
      </pc:sldChg>
      <pc:sldChg chg="del">
        <pc:chgData name="Thomas Stensitzki" userId="75cafe6b-2f2a-469b-85c4-eec3b9c972ba" providerId="ADAL" clId="{78A7489F-5177-4675-A072-D65159DC1369}" dt="2022-08-06T13:56:41.651" v="119" actId="47"/>
        <pc:sldMkLst>
          <pc:docMk/>
          <pc:sldMk cId="891073797" sldId="618"/>
        </pc:sldMkLst>
      </pc:sldChg>
      <pc:sldChg chg="addSp modSp add mod">
        <pc:chgData name="Thomas Stensitzki" userId="75cafe6b-2f2a-469b-85c4-eec3b9c972ba" providerId="ADAL" clId="{78A7489F-5177-4675-A072-D65159DC1369}" dt="2022-08-07T16:28:58.860" v="878" actId="6549"/>
        <pc:sldMkLst>
          <pc:docMk/>
          <pc:sldMk cId="1322085727" sldId="618"/>
        </pc:sldMkLst>
        <pc:spChg chg="mod">
          <ac:chgData name="Thomas Stensitzki" userId="75cafe6b-2f2a-469b-85c4-eec3b9c972ba" providerId="ADAL" clId="{78A7489F-5177-4675-A072-D65159DC1369}" dt="2022-08-07T16:28:58.860" v="878" actId="6549"/>
          <ac:spMkLst>
            <pc:docMk/>
            <pc:sldMk cId="1322085727" sldId="618"/>
            <ac:spMk id="4" creationId="{0912CB56-E941-CC99-5A75-B3A4D6CF9E26}"/>
          </ac:spMkLst>
        </pc:spChg>
        <pc:spChg chg="mod">
          <ac:chgData name="Thomas Stensitzki" userId="75cafe6b-2f2a-469b-85c4-eec3b9c972ba" providerId="ADAL" clId="{78A7489F-5177-4675-A072-D65159DC1369}" dt="2022-08-06T14:32:51.136" v="747" actId="20577"/>
          <ac:spMkLst>
            <pc:docMk/>
            <pc:sldMk cId="1322085727" sldId="618"/>
            <ac:spMk id="5" creationId="{BB4C8E7C-FA68-627B-2855-70693371E570}"/>
          </ac:spMkLst>
        </pc:spChg>
        <pc:picChg chg="add mod">
          <ac:chgData name="Thomas Stensitzki" userId="75cafe6b-2f2a-469b-85c4-eec3b9c972ba" providerId="ADAL" clId="{78A7489F-5177-4675-A072-D65159DC1369}" dt="2022-08-06T14:34:42.177" v="786" actId="1440"/>
          <ac:picMkLst>
            <pc:docMk/>
            <pc:sldMk cId="1322085727" sldId="618"/>
            <ac:picMk id="3" creationId="{D5E66226-CE04-BF59-BC78-96F8499B263F}"/>
          </ac:picMkLst>
        </pc:picChg>
      </pc:sldChg>
      <pc:sldChg chg="addSp delSp modSp add mod">
        <pc:chgData name="Thomas Stensitzki" userId="75cafe6b-2f2a-469b-85c4-eec3b9c972ba" providerId="ADAL" clId="{78A7489F-5177-4675-A072-D65159DC1369}" dt="2022-08-07T16:28:55.065" v="877" actId="6549"/>
        <pc:sldMkLst>
          <pc:docMk/>
          <pc:sldMk cId="198888969" sldId="619"/>
        </pc:sldMkLst>
        <pc:spChg chg="mod">
          <ac:chgData name="Thomas Stensitzki" userId="75cafe6b-2f2a-469b-85c4-eec3b9c972ba" providerId="ADAL" clId="{78A7489F-5177-4675-A072-D65159DC1369}" dt="2022-08-07T16:28:55.065" v="877" actId="6549"/>
          <ac:spMkLst>
            <pc:docMk/>
            <pc:sldMk cId="198888969" sldId="619"/>
            <ac:spMk id="4" creationId="{0912CB56-E941-CC99-5A75-B3A4D6CF9E26}"/>
          </ac:spMkLst>
        </pc:spChg>
        <pc:spChg chg="mod">
          <ac:chgData name="Thomas Stensitzki" userId="75cafe6b-2f2a-469b-85c4-eec3b9c972ba" providerId="ADAL" clId="{78A7489F-5177-4675-A072-D65159DC1369}" dt="2022-08-06T14:33:11.673" v="780" actId="20577"/>
          <ac:spMkLst>
            <pc:docMk/>
            <pc:sldMk cId="198888969" sldId="619"/>
            <ac:spMk id="5" creationId="{BB4C8E7C-FA68-627B-2855-70693371E570}"/>
          </ac:spMkLst>
        </pc:spChg>
        <pc:picChg chg="del">
          <ac:chgData name="Thomas Stensitzki" userId="75cafe6b-2f2a-469b-85c4-eec3b9c972ba" providerId="ADAL" clId="{78A7489F-5177-4675-A072-D65159DC1369}" dt="2022-08-06T14:34:19.711" v="781" actId="478"/>
          <ac:picMkLst>
            <pc:docMk/>
            <pc:sldMk cId="198888969" sldId="619"/>
            <ac:picMk id="3" creationId="{D5E66226-CE04-BF59-BC78-96F8499B263F}"/>
          </ac:picMkLst>
        </pc:picChg>
        <pc:picChg chg="add mod">
          <ac:chgData name="Thomas Stensitzki" userId="75cafe6b-2f2a-469b-85c4-eec3b9c972ba" providerId="ADAL" clId="{78A7489F-5177-4675-A072-D65159DC1369}" dt="2022-08-06T14:34:39.108" v="785" actId="1440"/>
          <ac:picMkLst>
            <pc:docMk/>
            <pc:sldMk cId="198888969" sldId="619"/>
            <ac:picMk id="6" creationId="{BF544F03-8F48-B948-CBBE-0EE66501BD65}"/>
          </ac:picMkLst>
        </pc:picChg>
      </pc:sldChg>
      <pc:sldChg chg="add del">
        <pc:chgData name="Thomas Stensitzki" userId="75cafe6b-2f2a-469b-85c4-eec3b9c972ba" providerId="ADAL" clId="{78A7489F-5177-4675-A072-D65159DC1369}" dt="2022-08-06T14:32:56.429" v="748" actId="47"/>
        <pc:sldMkLst>
          <pc:docMk/>
          <pc:sldMk cId="1767873629" sldId="619"/>
        </pc:sldMkLst>
      </pc:sldChg>
      <pc:sldChg chg="del">
        <pc:chgData name="Thomas Stensitzki" userId="75cafe6b-2f2a-469b-85c4-eec3b9c972ba" providerId="ADAL" clId="{78A7489F-5177-4675-A072-D65159DC1369}" dt="2022-08-06T13:56:41.651" v="119" actId="47"/>
        <pc:sldMkLst>
          <pc:docMk/>
          <pc:sldMk cId="2883104128" sldId="619"/>
        </pc:sldMkLst>
      </pc:sldChg>
      <pc:sldChg chg="del">
        <pc:chgData name="Thomas Stensitzki" userId="75cafe6b-2f2a-469b-85c4-eec3b9c972ba" providerId="ADAL" clId="{78A7489F-5177-4675-A072-D65159DC1369}" dt="2022-08-06T13:56:41.651" v="119" actId="47"/>
        <pc:sldMkLst>
          <pc:docMk/>
          <pc:sldMk cId="1449374427" sldId="620"/>
        </pc:sldMkLst>
      </pc:sldChg>
      <pc:sldChg chg="addSp delSp modSp add mod">
        <pc:chgData name="Thomas Stensitzki" userId="75cafe6b-2f2a-469b-85c4-eec3b9c972ba" providerId="ADAL" clId="{78A7489F-5177-4675-A072-D65159DC1369}" dt="2022-08-07T16:31:42.476" v="883" actId="1440"/>
        <pc:sldMkLst>
          <pc:docMk/>
          <pc:sldMk cId="3201512428" sldId="620"/>
        </pc:sldMkLst>
        <pc:spChg chg="mod">
          <ac:chgData name="Thomas Stensitzki" userId="75cafe6b-2f2a-469b-85c4-eec3b9c972ba" providerId="ADAL" clId="{78A7489F-5177-4675-A072-D65159DC1369}" dt="2022-08-07T16:31:35.736" v="882" actId="20577"/>
          <ac:spMkLst>
            <pc:docMk/>
            <pc:sldMk cId="3201512428" sldId="620"/>
            <ac:spMk id="5" creationId="{BB4C8E7C-FA68-627B-2855-70693371E570}"/>
          </ac:spMkLst>
        </pc:spChg>
        <pc:picChg chg="add mod">
          <ac:chgData name="Thomas Stensitzki" userId="75cafe6b-2f2a-469b-85c4-eec3b9c972ba" providerId="ADAL" clId="{78A7489F-5177-4675-A072-D65159DC1369}" dt="2022-08-07T16:31:42.476" v="883" actId="1440"/>
          <ac:picMkLst>
            <pc:docMk/>
            <pc:sldMk cId="3201512428" sldId="620"/>
            <ac:picMk id="3" creationId="{7C3CD6DE-6A8E-3B3D-390B-25037CF2B7F9}"/>
          </ac:picMkLst>
        </pc:picChg>
        <pc:picChg chg="del">
          <ac:chgData name="Thomas Stensitzki" userId="75cafe6b-2f2a-469b-85c4-eec3b9c972ba" providerId="ADAL" clId="{78A7489F-5177-4675-A072-D65159DC1369}" dt="2022-08-06T14:34:50.944" v="788" actId="478"/>
          <ac:picMkLst>
            <pc:docMk/>
            <pc:sldMk cId="3201512428" sldId="620"/>
            <ac:picMk id="6" creationId="{BF544F03-8F48-B948-CBBE-0EE66501BD65}"/>
          </ac:picMkLst>
        </pc:picChg>
      </pc:sldChg>
      <pc:sldChg chg="addSp delSp modSp add mod">
        <pc:chgData name="Thomas Stensitzki" userId="75cafe6b-2f2a-469b-85c4-eec3b9c972ba" providerId="ADAL" clId="{78A7489F-5177-4675-A072-D65159DC1369}" dt="2022-08-07T16:33:09.346" v="898" actId="1440"/>
        <pc:sldMkLst>
          <pc:docMk/>
          <pc:sldMk cId="495201301" sldId="621"/>
        </pc:sldMkLst>
        <pc:picChg chg="del">
          <ac:chgData name="Thomas Stensitzki" userId="75cafe6b-2f2a-469b-85c4-eec3b9c972ba" providerId="ADAL" clId="{78A7489F-5177-4675-A072-D65159DC1369}" dt="2022-08-07T16:33:00.361" v="889" actId="478"/>
          <ac:picMkLst>
            <pc:docMk/>
            <pc:sldMk cId="495201301" sldId="621"/>
            <ac:picMk id="3" creationId="{7C3CD6DE-6A8E-3B3D-390B-25037CF2B7F9}"/>
          </ac:picMkLst>
        </pc:picChg>
        <pc:picChg chg="add mod">
          <ac:chgData name="Thomas Stensitzki" userId="75cafe6b-2f2a-469b-85c4-eec3b9c972ba" providerId="ADAL" clId="{78A7489F-5177-4675-A072-D65159DC1369}" dt="2022-08-07T16:33:09.346" v="898" actId="1440"/>
          <ac:picMkLst>
            <pc:docMk/>
            <pc:sldMk cId="495201301" sldId="621"/>
            <ac:picMk id="6" creationId="{54ACFD51-013F-11D3-5AC1-DD8F71C7779F}"/>
          </ac:picMkLst>
        </pc:picChg>
      </pc:sldChg>
      <pc:sldChg chg="del">
        <pc:chgData name="Thomas Stensitzki" userId="75cafe6b-2f2a-469b-85c4-eec3b9c972ba" providerId="ADAL" clId="{78A7489F-5177-4675-A072-D65159DC1369}" dt="2022-08-06T13:56:41.651" v="119" actId="47"/>
        <pc:sldMkLst>
          <pc:docMk/>
          <pc:sldMk cId="4271250423" sldId="621"/>
        </pc:sldMkLst>
      </pc:sldChg>
      <pc:sldChg chg="add del">
        <pc:chgData name="Thomas Stensitzki" userId="75cafe6b-2f2a-469b-85c4-eec3b9c972ba" providerId="ADAL" clId="{78A7489F-5177-4675-A072-D65159DC1369}" dt="2022-08-06T13:57:05.154" v="122" actId="47"/>
        <pc:sldMkLst>
          <pc:docMk/>
          <pc:sldMk cId="228228310" sldId="622"/>
        </pc:sldMkLst>
      </pc:sldChg>
      <pc:sldChg chg="delSp modSp add">
        <pc:chgData name="Thomas Stensitzki" userId="75cafe6b-2f2a-469b-85c4-eec3b9c972ba" providerId="ADAL" clId="{78A7489F-5177-4675-A072-D65159DC1369}" dt="2022-08-10T10:19:59.340" v="2056" actId="1440"/>
        <pc:sldMkLst>
          <pc:docMk/>
          <pc:sldMk cId="1216098891" sldId="622"/>
        </pc:sldMkLst>
        <pc:picChg chg="del">
          <ac:chgData name="Thomas Stensitzki" userId="75cafe6b-2f2a-469b-85c4-eec3b9c972ba" providerId="ADAL" clId="{78A7489F-5177-4675-A072-D65159DC1369}" dt="2022-08-09T16:56:31.275" v="922" actId="478"/>
          <ac:picMkLst>
            <pc:docMk/>
            <pc:sldMk cId="1216098891" sldId="622"/>
            <ac:picMk id="1026" creationId="{B7F8F498-4FFF-EDA5-087D-1D4F52FA50CA}"/>
          </ac:picMkLst>
        </pc:picChg>
        <pc:picChg chg="mod">
          <ac:chgData name="Thomas Stensitzki" userId="75cafe6b-2f2a-469b-85c4-eec3b9c972ba" providerId="ADAL" clId="{78A7489F-5177-4675-A072-D65159DC1369}" dt="2022-08-10T10:19:59.340" v="2056" actId="1440"/>
          <ac:picMkLst>
            <pc:docMk/>
            <pc:sldMk cId="1216098891" sldId="622"/>
            <ac:picMk id="1028" creationId="{8B3653FD-FA04-3132-3198-3B31F53517E9}"/>
          </ac:picMkLst>
        </pc:picChg>
      </pc:sldChg>
      <pc:sldChg chg="addSp delSp modSp add mod">
        <pc:chgData name="Thomas Stensitzki" userId="75cafe6b-2f2a-469b-85c4-eec3b9c972ba" providerId="ADAL" clId="{78A7489F-5177-4675-A072-D65159DC1369}" dt="2022-08-10T10:20:02.484" v="2057" actId="1440"/>
        <pc:sldMkLst>
          <pc:docMk/>
          <pc:sldMk cId="1625578544" sldId="623"/>
        </pc:sldMkLst>
        <pc:spChg chg="add del">
          <ac:chgData name="Thomas Stensitzki" userId="75cafe6b-2f2a-469b-85c4-eec3b9c972ba" providerId="ADAL" clId="{78A7489F-5177-4675-A072-D65159DC1369}" dt="2022-08-09T16:56:58.920" v="928" actId="22"/>
          <ac:spMkLst>
            <pc:docMk/>
            <pc:sldMk cId="1625578544" sldId="623"/>
            <ac:spMk id="5" creationId="{8FE519ED-2A82-D279-5086-58BC08BD20D8}"/>
          </ac:spMkLst>
        </pc:spChg>
        <pc:picChg chg="del">
          <ac:chgData name="Thomas Stensitzki" userId="75cafe6b-2f2a-469b-85c4-eec3b9c972ba" providerId="ADAL" clId="{78A7489F-5177-4675-A072-D65159DC1369}" dt="2022-08-09T16:57:19.050" v="933" actId="478"/>
          <ac:picMkLst>
            <pc:docMk/>
            <pc:sldMk cId="1625578544" sldId="623"/>
            <ac:picMk id="1028" creationId="{8B3653FD-FA04-3132-3198-3B31F53517E9}"/>
          </ac:picMkLst>
        </pc:picChg>
        <pc:picChg chg="add mod">
          <ac:chgData name="Thomas Stensitzki" userId="75cafe6b-2f2a-469b-85c4-eec3b9c972ba" providerId="ADAL" clId="{78A7489F-5177-4675-A072-D65159DC1369}" dt="2022-08-10T10:20:02.484" v="2057" actId="1440"/>
          <ac:picMkLst>
            <pc:docMk/>
            <pc:sldMk cId="1625578544" sldId="623"/>
            <ac:picMk id="2050" creationId="{2D3A4476-8CC1-39D0-C23D-81A4E553664C}"/>
          </ac:picMkLst>
        </pc:picChg>
      </pc:sldChg>
      <pc:sldChg chg="add del">
        <pc:chgData name="Thomas Stensitzki" userId="75cafe6b-2f2a-469b-85c4-eec3b9c972ba" providerId="ADAL" clId="{78A7489F-5177-4675-A072-D65159DC1369}" dt="2022-08-06T13:57:05.154" v="122" actId="47"/>
        <pc:sldMkLst>
          <pc:docMk/>
          <pc:sldMk cId="2858615882" sldId="623"/>
        </pc:sldMkLst>
      </pc:sldChg>
      <pc:sldChg chg="add del">
        <pc:chgData name="Thomas Stensitzki" userId="75cafe6b-2f2a-469b-85c4-eec3b9c972ba" providerId="ADAL" clId="{78A7489F-5177-4675-A072-D65159DC1369}" dt="2022-08-06T13:57:05.154" v="122" actId="47"/>
        <pc:sldMkLst>
          <pc:docMk/>
          <pc:sldMk cId="1458805602" sldId="624"/>
        </pc:sldMkLst>
      </pc:sldChg>
      <pc:sldChg chg="addSp delSp modSp add">
        <pc:chgData name="Thomas Stensitzki" userId="75cafe6b-2f2a-469b-85c4-eec3b9c972ba" providerId="ADAL" clId="{78A7489F-5177-4675-A072-D65159DC1369}" dt="2022-08-10T10:20:03.947" v="2058" actId="1440"/>
        <pc:sldMkLst>
          <pc:docMk/>
          <pc:sldMk cId="3928386235" sldId="624"/>
        </pc:sldMkLst>
        <pc:picChg chg="del">
          <ac:chgData name="Thomas Stensitzki" userId="75cafe6b-2f2a-469b-85c4-eec3b9c972ba" providerId="ADAL" clId="{78A7489F-5177-4675-A072-D65159DC1369}" dt="2022-08-09T16:57:53.939" v="941" actId="478"/>
          <ac:picMkLst>
            <pc:docMk/>
            <pc:sldMk cId="3928386235" sldId="624"/>
            <ac:picMk id="2050" creationId="{2D3A4476-8CC1-39D0-C23D-81A4E553664C}"/>
          </ac:picMkLst>
        </pc:picChg>
        <pc:picChg chg="add mod">
          <ac:chgData name="Thomas Stensitzki" userId="75cafe6b-2f2a-469b-85c4-eec3b9c972ba" providerId="ADAL" clId="{78A7489F-5177-4675-A072-D65159DC1369}" dt="2022-08-10T10:20:03.947" v="2058" actId="1440"/>
          <ac:picMkLst>
            <pc:docMk/>
            <pc:sldMk cId="3928386235" sldId="624"/>
            <ac:picMk id="3074" creationId="{767C9165-027D-6F2B-17B4-BEBB9518C685}"/>
          </ac:picMkLst>
        </pc:picChg>
      </pc:sldChg>
      <pc:sldChg chg="del">
        <pc:chgData name="Thomas Stensitzki" userId="75cafe6b-2f2a-469b-85c4-eec3b9c972ba" providerId="ADAL" clId="{78A7489F-5177-4675-A072-D65159DC1369}" dt="2022-08-06T13:56:41.651" v="119" actId="47"/>
        <pc:sldMkLst>
          <pc:docMk/>
          <pc:sldMk cId="772649472" sldId="625"/>
        </pc:sldMkLst>
      </pc:sldChg>
      <pc:sldChg chg="delSp modSp add mod">
        <pc:chgData name="Thomas Stensitzki" userId="75cafe6b-2f2a-469b-85c4-eec3b9c972ba" providerId="ADAL" clId="{78A7489F-5177-4675-A072-D65159DC1369}" dt="2022-08-10T10:19:14.279" v="2039" actId="1440"/>
        <pc:sldMkLst>
          <pc:docMk/>
          <pc:sldMk cId="2431608557" sldId="625"/>
        </pc:sldMkLst>
        <pc:picChg chg="del">
          <ac:chgData name="Thomas Stensitzki" userId="75cafe6b-2f2a-469b-85c4-eec3b9c972ba" providerId="ADAL" clId="{78A7489F-5177-4675-A072-D65159DC1369}" dt="2022-08-09T17:02:33.280" v="977" actId="478"/>
          <ac:picMkLst>
            <pc:docMk/>
            <pc:sldMk cId="2431608557" sldId="625"/>
            <ac:picMk id="4" creationId="{DB26A891-FEB9-BE0E-582C-D71E578CD6EE}"/>
          </ac:picMkLst>
        </pc:picChg>
        <pc:picChg chg="del">
          <ac:chgData name="Thomas Stensitzki" userId="75cafe6b-2f2a-469b-85c4-eec3b9c972ba" providerId="ADAL" clId="{78A7489F-5177-4675-A072-D65159DC1369}" dt="2022-08-09T17:02:33.894" v="978" actId="478"/>
          <ac:picMkLst>
            <pc:docMk/>
            <pc:sldMk cId="2431608557" sldId="625"/>
            <ac:picMk id="4098" creationId="{44675D0D-E278-C3F3-AE57-0D44ADAD592E}"/>
          </ac:picMkLst>
        </pc:picChg>
        <pc:picChg chg="del">
          <ac:chgData name="Thomas Stensitzki" userId="75cafe6b-2f2a-469b-85c4-eec3b9c972ba" providerId="ADAL" clId="{78A7489F-5177-4675-A072-D65159DC1369}" dt="2022-08-09T17:02:34.581" v="979" actId="478"/>
          <ac:picMkLst>
            <pc:docMk/>
            <pc:sldMk cId="2431608557" sldId="625"/>
            <ac:picMk id="4100" creationId="{D0F09251-F2C4-882E-D250-6D9DD7DBD352}"/>
          </ac:picMkLst>
        </pc:picChg>
        <pc:picChg chg="mod">
          <ac:chgData name="Thomas Stensitzki" userId="75cafe6b-2f2a-469b-85c4-eec3b9c972ba" providerId="ADAL" clId="{78A7489F-5177-4675-A072-D65159DC1369}" dt="2022-08-10T10:19:14.279" v="2039" actId="1440"/>
          <ac:picMkLst>
            <pc:docMk/>
            <pc:sldMk cId="2431608557" sldId="625"/>
            <ac:picMk id="4102" creationId="{F0CDA692-00C1-65A2-667C-990CF73E4691}"/>
          </ac:picMkLst>
        </pc:picChg>
      </pc:sldChg>
      <pc:sldChg chg="del">
        <pc:chgData name="Thomas Stensitzki" userId="75cafe6b-2f2a-469b-85c4-eec3b9c972ba" providerId="ADAL" clId="{78A7489F-5177-4675-A072-D65159DC1369}" dt="2022-08-06T13:56:41.651" v="119" actId="47"/>
        <pc:sldMkLst>
          <pc:docMk/>
          <pc:sldMk cId="60466671" sldId="626"/>
        </pc:sldMkLst>
      </pc:sldChg>
      <pc:sldChg chg="addSp delSp modSp add mod modNotesTx">
        <pc:chgData name="Thomas Stensitzki" userId="75cafe6b-2f2a-469b-85c4-eec3b9c972ba" providerId="ADAL" clId="{78A7489F-5177-4675-A072-D65159DC1369}" dt="2022-08-10T10:20:05.340" v="2059" actId="1440"/>
        <pc:sldMkLst>
          <pc:docMk/>
          <pc:sldMk cId="1333001301" sldId="626"/>
        </pc:sldMkLst>
        <pc:spChg chg="mod">
          <ac:chgData name="Thomas Stensitzki" userId="75cafe6b-2f2a-469b-85c4-eec3b9c972ba" providerId="ADAL" clId="{78A7489F-5177-4675-A072-D65159DC1369}" dt="2022-08-09T17:08:23.513" v="1039"/>
          <ac:spMkLst>
            <pc:docMk/>
            <pc:sldMk cId="1333001301" sldId="626"/>
            <ac:spMk id="2" creationId="{EC46AD28-746E-4246-884F-4DAE24C62042}"/>
          </ac:spMkLst>
        </pc:spChg>
        <pc:picChg chg="del">
          <ac:chgData name="Thomas Stensitzki" userId="75cafe6b-2f2a-469b-85c4-eec3b9c972ba" providerId="ADAL" clId="{78A7489F-5177-4675-A072-D65159DC1369}" dt="2022-08-09T17:08:20.425" v="1038" actId="478"/>
          <ac:picMkLst>
            <pc:docMk/>
            <pc:sldMk cId="1333001301" sldId="626"/>
            <ac:picMk id="3074" creationId="{767C9165-027D-6F2B-17B4-BEBB9518C685}"/>
          </ac:picMkLst>
        </pc:picChg>
        <pc:picChg chg="add mod">
          <ac:chgData name="Thomas Stensitzki" userId="75cafe6b-2f2a-469b-85c4-eec3b9c972ba" providerId="ADAL" clId="{78A7489F-5177-4675-A072-D65159DC1369}" dt="2022-08-10T10:20:05.340" v="2059" actId="1440"/>
          <ac:picMkLst>
            <pc:docMk/>
            <pc:sldMk cId="1333001301" sldId="626"/>
            <ac:picMk id="5122" creationId="{C3BCEB0C-B417-B7D1-9360-556B2D66400F}"/>
          </ac:picMkLst>
        </pc:picChg>
      </pc:sldChg>
      <pc:sldChg chg="add del">
        <pc:chgData name="Thomas Stensitzki" userId="75cafe6b-2f2a-469b-85c4-eec3b9c972ba" providerId="ADAL" clId="{78A7489F-5177-4675-A072-D65159DC1369}" dt="2022-08-06T13:57:05.154" v="122" actId="47"/>
        <pc:sldMkLst>
          <pc:docMk/>
          <pc:sldMk cId="851289349" sldId="627"/>
        </pc:sldMkLst>
      </pc:sldChg>
      <pc:sldChg chg="addSp delSp modSp add mod modAnim modNotesTx">
        <pc:chgData name="Thomas Stensitzki" userId="75cafe6b-2f2a-469b-85c4-eec3b9c972ba" providerId="ADAL" clId="{78A7489F-5177-4675-A072-D65159DC1369}" dt="2022-08-10T10:21:09.404" v="2078"/>
        <pc:sldMkLst>
          <pc:docMk/>
          <pc:sldMk cId="2864403089" sldId="627"/>
        </pc:sldMkLst>
        <pc:spChg chg="mod">
          <ac:chgData name="Thomas Stensitzki" userId="75cafe6b-2f2a-469b-85c4-eec3b9c972ba" providerId="ADAL" clId="{78A7489F-5177-4675-A072-D65159DC1369}" dt="2022-08-09T17:09:57.749" v="1049"/>
          <ac:spMkLst>
            <pc:docMk/>
            <pc:sldMk cId="2864403089" sldId="627"/>
            <ac:spMk id="2" creationId="{8F0EE741-1AA9-4E98-9676-69EE83AA3E40}"/>
          </ac:spMkLst>
        </pc:spChg>
        <pc:spChg chg="add del">
          <ac:chgData name="Thomas Stensitzki" userId="75cafe6b-2f2a-469b-85c4-eec3b9c972ba" providerId="ADAL" clId="{78A7489F-5177-4675-A072-D65159DC1369}" dt="2022-08-09T17:11:15.681" v="1064" actId="22"/>
          <ac:spMkLst>
            <pc:docMk/>
            <pc:sldMk cId="2864403089" sldId="627"/>
            <ac:spMk id="7" creationId="{031720FD-0C8A-A757-5BF1-FD390EFE6A4B}"/>
          </ac:spMkLst>
        </pc:spChg>
        <pc:picChg chg="del">
          <ac:chgData name="Thomas Stensitzki" userId="75cafe6b-2f2a-469b-85c4-eec3b9c972ba" providerId="ADAL" clId="{78A7489F-5177-4675-A072-D65159DC1369}" dt="2022-08-09T17:10:00.163" v="1050" actId="478"/>
          <ac:picMkLst>
            <pc:docMk/>
            <pc:sldMk cId="2864403089" sldId="627"/>
            <ac:picMk id="4102" creationId="{F0CDA692-00C1-65A2-667C-990CF73E4691}"/>
          </ac:picMkLst>
        </pc:picChg>
        <pc:picChg chg="add mod">
          <ac:chgData name="Thomas Stensitzki" userId="75cafe6b-2f2a-469b-85c4-eec3b9c972ba" providerId="ADAL" clId="{78A7489F-5177-4675-A072-D65159DC1369}" dt="2022-08-09T17:11:03.577" v="1062" actId="1076"/>
          <ac:picMkLst>
            <pc:docMk/>
            <pc:sldMk cId="2864403089" sldId="627"/>
            <ac:picMk id="6146" creationId="{B592E71D-CA5F-5ED8-D231-1890154A1049}"/>
          </ac:picMkLst>
        </pc:picChg>
        <pc:picChg chg="add mod">
          <ac:chgData name="Thomas Stensitzki" userId="75cafe6b-2f2a-469b-85c4-eec3b9c972ba" providerId="ADAL" clId="{78A7489F-5177-4675-A072-D65159DC1369}" dt="2022-08-09T17:10:59.578" v="1061" actId="1076"/>
          <ac:picMkLst>
            <pc:docMk/>
            <pc:sldMk cId="2864403089" sldId="627"/>
            <ac:picMk id="6148" creationId="{4874B0BD-8E8A-00C2-6366-83B3E04441AA}"/>
          </ac:picMkLst>
        </pc:picChg>
      </pc:sldChg>
      <pc:sldChg chg="addSp delSp modSp add mod modNotesTx">
        <pc:chgData name="Thomas Stensitzki" userId="75cafe6b-2f2a-469b-85c4-eec3b9c972ba" providerId="ADAL" clId="{78A7489F-5177-4675-A072-D65159DC1369}" dt="2022-08-10T10:20:06.740" v="2060" actId="1440"/>
        <pc:sldMkLst>
          <pc:docMk/>
          <pc:sldMk cId="2624383707" sldId="628"/>
        </pc:sldMkLst>
        <pc:spChg chg="mod">
          <ac:chgData name="Thomas Stensitzki" userId="75cafe6b-2f2a-469b-85c4-eec3b9c972ba" providerId="ADAL" clId="{78A7489F-5177-4675-A072-D65159DC1369}" dt="2022-08-09T17:11:43.815" v="1069"/>
          <ac:spMkLst>
            <pc:docMk/>
            <pc:sldMk cId="2624383707" sldId="628"/>
            <ac:spMk id="2" creationId="{EC46AD28-746E-4246-884F-4DAE24C62042}"/>
          </ac:spMkLst>
        </pc:spChg>
        <pc:picChg chg="del">
          <ac:chgData name="Thomas Stensitzki" userId="75cafe6b-2f2a-469b-85c4-eec3b9c972ba" providerId="ADAL" clId="{78A7489F-5177-4675-A072-D65159DC1369}" dt="2022-08-09T17:11:59.644" v="1070" actId="478"/>
          <ac:picMkLst>
            <pc:docMk/>
            <pc:sldMk cId="2624383707" sldId="628"/>
            <ac:picMk id="5122" creationId="{C3BCEB0C-B417-B7D1-9360-556B2D66400F}"/>
          </ac:picMkLst>
        </pc:picChg>
        <pc:picChg chg="add mod">
          <ac:chgData name="Thomas Stensitzki" userId="75cafe6b-2f2a-469b-85c4-eec3b9c972ba" providerId="ADAL" clId="{78A7489F-5177-4675-A072-D65159DC1369}" dt="2022-08-10T10:20:06.740" v="2060" actId="1440"/>
          <ac:picMkLst>
            <pc:docMk/>
            <pc:sldMk cId="2624383707" sldId="628"/>
            <ac:picMk id="7170" creationId="{8905B8A9-C7B3-F30A-D961-DC78BEC6DA73}"/>
          </ac:picMkLst>
        </pc:picChg>
      </pc:sldChg>
      <pc:sldChg chg="add del">
        <pc:chgData name="Thomas Stensitzki" userId="75cafe6b-2f2a-469b-85c4-eec3b9c972ba" providerId="ADAL" clId="{78A7489F-5177-4675-A072-D65159DC1369}" dt="2022-08-06T13:57:05.154" v="122" actId="47"/>
        <pc:sldMkLst>
          <pc:docMk/>
          <pc:sldMk cId="2662624884" sldId="628"/>
        </pc:sldMkLst>
      </pc:sldChg>
      <pc:sldChg chg="addSp delSp modSp add mod modNotesTx">
        <pc:chgData name="Thomas Stensitzki" userId="75cafe6b-2f2a-469b-85c4-eec3b9c972ba" providerId="ADAL" clId="{78A7489F-5177-4675-A072-D65159DC1369}" dt="2022-08-10T10:19:25.372" v="2043" actId="1440"/>
        <pc:sldMkLst>
          <pc:docMk/>
          <pc:sldMk cId="182847428" sldId="629"/>
        </pc:sldMkLst>
        <pc:spChg chg="mod">
          <ac:chgData name="Thomas Stensitzki" userId="75cafe6b-2f2a-469b-85c4-eec3b9c972ba" providerId="ADAL" clId="{78A7489F-5177-4675-A072-D65159DC1369}" dt="2022-08-09T17:12:46.925" v="1076"/>
          <ac:spMkLst>
            <pc:docMk/>
            <pc:sldMk cId="182847428" sldId="629"/>
            <ac:spMk id="2" creationId="{8F0EE741-1AA9-4E98-9676-69EE83AA3E40}"/>
          </ac:spMkLst>
        </pc:spChg>
        <pc:picChg chg="del">
          <ac:chgData name="Thomas Stensitzki" userId="75cafe6b-2f2a-469b-85c4-eec3b9c972ba" providerId="ADAL" clId="{78A7489F-5177-4675-A072-D65159DC1369}" dt="2022-08-09T17:12:48.377" v="1077" actId="478"/>
          <ac:picMkLst>
            <pc:docMk/>
            <pc:sldMk cId="182847428" sldId="629"/>
            <ac:picMk id="6146" creationId="{B592E71D-CA5F-5ED8-D231-1890154A1049}"/>
          </ac:picMkLst>
        </pc:picChg>
        <pc:picChg chg="del">
          <ac:chgData name="Thomas Stensitzki" userId="75cafe6b-2f2a-469b-85c4-eec3b9c972ba" providerId="ADAL" clId="{78A7489F-5177-4675-A072-D65159DC1369}" dt="2022-08-09T17:12:49.162" v="1078" actId="478"/>
          <ac:picMkLst>
            <pc:docMk/>
            <pc:sldMk cId="182847428" sldId="629"/>
            <ac:picMk id="6148" creationId="{4874B0BD-8E8A-00C2-6366-83B3E04441AA}"/>
          </ac:picMkLst>
        </pc:picChg>
        <pc:picChg chg="add mod">
          <ac:chgData name="Thomas Stensitzki" userId="75cafe6b-2f2a-469b-85c4-eec3b9c972ba" providerId="ADAL" clId="{78A7489F-5177-4675-A072-D65159DC1369}" dt="2022-08-10T10:19:25.372" v="2043" actId="1440"/>
          <ac:picMkLst>
            <pc:docMk/>
            <pc:sldMk cId="182847428" sldId="629"/>
            <ac:picMk id="8194" creationId="{EA005277-DE30-EF03-F6DE-0E65BAFBDC39}"/>
          </ac:picMkLst>
        </pc:picChg>
      </pc:sldChg>
      <pc:sldChg chg="del">
        <pc:chgData name="Thomas Stensitzki" userId="75cafe6b-2f2a-469b-85c4-eec3b9c972ba" providerId="ADAL" clId="{78A7489F-5177-4675-A072-D65159DC1369}" dt="2022-08-06T13:56:19.231" v="114" actId="47"/>
        <pc:sldMkLst>
          <pc:docMk/>
          <pc:sldMk cId="2218637555" sldId="629"/>
        </pc:sldMkLst>
      </pc:sldChg>
      <pc:sldChg chg="modSp add mod ord">
        <pc:chgData name="Thomas Stensitzki" userId="75cafe6b-2f2a-469b-85c4-eec3b9c972ba" providerId="ADAL" clId="{78A7489F-5177-4675-A072-D65159DC1369}" dt="2022-08-10T10:21:17.778" v="2082" actId="1035"/>
        <pc:sldMkLst>
          <pc:docMk/>
          <pc:sldMk cId="1125589417" sldId="630"/>
        </pc:sldMkLst>
        <pc:spChg chg="mod">
          <ac:chgData name="Thomas Stensitzki" userId="75cafe6b-2f2a-469b-85c4-eec3b9c972ba" providerId="ADAL" clId="{78A7489F-5177-4675-A072-D65159DC1369}" dt="2022-08-10T10:21:17.778" v="2082" actId="1035"/>
          <ac:spMkLst>
            <pc:docMk/>
            <pc:sldMk cId="1125589417" sldId="630"/>
            <ac:spMk id="2" creationId="{909DC09D-B9A6-4493-9A72-1CA7ECB1F5CA}"/>
          </ac:spMkLst>
        </pc:spChg>
        <pc:spChg chg="mod">
          <ac:chgData name="Thomas Stensitzki" userId="75cafe6b-2f2a-469b-85c4-eec3b9c972ba" providerId="ADAL" clId="{78A7489F-5177-4675-A072-D65159DC1369}" dt="2022-08-10T10:17:43.183" v="2025" actId="255"/>
          <ac:spMkLst>
            <pc:docMk/>
            <pc:sldMk cId="1125589417" sldId="630"/>
            <ac:spMk id="5" creationId="{C24DACB5-1BEC-4C86-9652-BAFD8DE56FEF}"/>
          </ac:spMkLst>
        </pc:spChg>
      </pc:sldChg>
      <pc:sldChg chg="del">
        <pc:chgData name="Thomas Stensitzki" userId="75cafe6b-2f2a-469b-85c4-eec3b9c972ba" providerId="ADAL" clId="{78A7489F-5177-4675-A072-D65159DC1369}" dt="2022-08-06T13:56:19.231" v="114" actId="47"/>
        <pc:sldMkLst>
          <pc:docMk/>
          <pc:sldMk cId="3271888249" sldId="630"/>
        </pc:sldMkLst>
      </pc:sldChg>
      <pc:sldChg chg="addSp delSp modSp add mod ord">
        <pc:chgData name="Thomas Stensitzki" userId="75cafe6b-2f2a-469b-85c4-eec3b9c972ba" providerId="ADAL" clId="{78A7489F-5177-4675-A072-D65159DC1369}" dt="2022-08-10T10:19:29.356" v="2044" actId="1440"/>
        <pc:sldMkLst>
          <pc:docMk/>
          <pc:sldMk cId="1294991851" sldId="631"/>
        </pc:sldMkLst>
        <pc:spChg chg="mod">
          <ac:chgData name="Thomas Stensitzki" userId="75cafe6b-2f2a-469b-85c4-eec3b9c972ba" providerId="ADAL" clId="{78A7489F-5177-4675-A072-D65159DC1369}" dt="2022-08-09T17:16:51.231" v="1144" actId="255"/>
          <ac:spMkLst>
            <pc:docMk/>
            <pc:sldMk cId="1294991851" sldId="631"/>
            <ac:spMk id="2" creationId="{8F0EE741-1AA9-4E98-9676-69EE83AA3E40}"/>
          </ac:spMkLst>
        </pc:spChg>
        <pc:picChg chg="del">
          <ac:chgData name="Thomas Stensitzki" userId="75cafe6b-2f2a-469b-85c4-eec3b9c972ba" providerId="ADAL" clId="{78A7489F-5177-4675-A072-D65159DC1369}" dt="2022-08-09T17:15:47.848" v="1118" actId="478"/>
          <ac:picMkLst>
            <pc:docMk/>
            <pc:sldMk cId="1294991851" sldId="631"/>
            <ac:picMk id="8194" creationId="{EA005277-DE30-EF03-F6DE-0E65BAFBDC39}"/>
          </ac:picMkLst>
        </pc:picChg>
        <pc:picChg chg="add mod">
          <ac:chgData name="Thomas Stensitzki" userId="75cafe6b-2f2a-469b-85c4-eec3b9c972ba" providerId="ADAL" clId="{78A7489F-5177-4675-A072-D65159DC1369}" dt="2022-08-10T10:19:29.356" v="2044" actId="1440"/>
          <ac:picMkLst>
            <pc:docMk/>
            <pc:sldMk cId="1294991851" sldId="631"/>
            <ac:picMk id="9218" creationId="{488761A5-3656-248B-4A95-CEAD5BD3DE14}"/>
          </ac:picMkLst>
        </pc:picChg>
      </pc:sldChg>
      <pc:sldChg chg="del">
        <pc:chgData name="Thomas Stensitzki" userId="75cafe6b-2f2a-469b-85c4-eec3b9c972ba" providerId="ADAL" clId="{78A7489F-5177-4675-A072-D65159DC1369}" dt="2022-08-06T13:56:19.231" v="114" actId="47"/>
        <pc:sldMkLst>
          <pc:docMk/>
          <pc:sldMk cId="2569360966" sldId="631"/>
        </pc:sldMkLst>
      </pc:sldChg>
      <pc:sldChg chg="addSp delSp modSp add mod modNotesTx">
        <pc:chgData name="Thomas Stensitzki" userId="75cafe6b-2f2a-469b-85c4-eec3b9c972ba" providerId="ADAL" clId="{78A7489F-5177-4675-A072-D65159DC1369}" dt="2022-08-10T10:20:09.447" v="2062" actId="1440"/>
        <pc:sldMkLst>
          <pc:docMk/>
          <pc:sldMk cId="74767398" sldId="632"/>
        </pc:sldMkLst>
        <pc:spChg chg="mod">
          <ac:chgData name="Thomas Stensitzki" userId="75cafe6b-2f2a-469b-85c4-eec3b9c972ba" providerId="ADAL" clId="{78A7489F-5177-4675-A072-D65159DC1369}" dt="2022-08-09T17:18:01.768" v="1154" actId="14100"/>
          <ac:spMkLst>
            <pc:docMk/>
            <pc:sldMk cId="74767398" sldId="632"/>
            <ac:spMk id="2" creationId="{EC46AD28-746E-4246-884F-4DAE24C62042}"/>
          </ac:spMkLst>
        </pc:spChg>
        <pc:picChg chg="del">
          <ac:chgData name="Thomas Stensitzki" userId="75cafe6b-2f2a-469b-85c4-eec3b9c972ba" providerId="ADAL" clId="{78A7489F-5177-4675-A072-D65159DC1369}" dt="2022-08-09T17:17:41.659" v="1148" actId="478"/>
          <ac:picMkLst>
            <pc:docMk/>
            <pc:sldMk cId="74767398" sldId="632"/>
            <ac:picMk id="7170" creationId="{8905B8A9-C7B3-F30A-D961-DC78BEC6DA73}"/>
          </ac:picMkLst>
        </pc:picChg>
        <pc:picChg chg="add mod">
          <ac:chgData name="Thomas Stensitzki" userId="75cafe6b-2f2a-469b-85c4-eec3b9c972ba" providerId="ADAL" clId="{78A7489F-5177-4675-A072-D65159DC1369}" dt="2022-08-10T10:20:08.888" v="2061" actId="1440"/>
          <ac:picMkLst>
            <pc:docMk/>
            <pc:sldMk cId="74767398" sldId="632"/>
            <ac:picMk id="10242" creationId="{20964371-AAE5-AF4E-C9C4-C4AE3DD3AFDF}"/>
          </ac:picMkLst>
        </pc:picChg>
        <pc:picChg chg="add mod">
          <ac:chgData name="Thomas Stensitzki" userId="75cafe6b-2f2a-469b-85c4-eec3b9c972ba" providerId="ADAL" clId="{78A7489F-5177-4675-A072-D65159DC1369}" dt="2022-08-10T10:20:09.447" v="2062" actId="1440"/>
          <ac:picMkLst>
            <pc:docMk/>
            <pc:sldMk cId="74767398" sldId="632"/>
            <ac:picMk id="10244" creationId="{0C5F9F00-8DE3-1048-2F7D-E0D78CA6B8FF}"/>
          </ac:picMkLst>
        </pc:picChg>
      </pc:sldChg>
      <pc:sldChg chg="del">
        <pc:chgData name="Thomas Stensitzki" userId="75cafe6b-2f2a-469b-85c4-eec3b9c972ba" providerId="ADAL" clId="{78A7489F-5177-4675-A072-D65159DC1369}" dt="2022-08-06T13:56:19.231" v="114" actId="47"/>
        <pc:sldMkLst>
          <pc:docMk/>
          <pc:sldMk cId="3289523661" sldId="632"/>
        </pc:sldMkLst>
      </pc:sldChg>
      <pc:sldChg chg="modSp new mod">
        <pc:chgData name="Thomas Stensitzki" userId="75cafe6b-2f2a-469b-85c4-eec3b9c972ba" providerId="ADAL" clId="{78A7489F-5177-4675-A072-D65159DC1369}" dt="2022-08-09T17:23:32.823" v="1327" actId="113"/>
        <pc:sldMkLst>
          <pc:docMk/>
          <pc:sldMk cId="222009446" sldId="633"/>
        </pc:sldMkLst>
        <pc:spChg chg="mod">
          <ac:chgData name="Thomas Stensitzki" userId="75cafe6b-2f2a-469b-85c4-eec3b9c972ba" providerId="ADAL" clId="{78A7489F-5177-4675-A072-D65159DC1369}" dt="2022-08-09T17:20:38.186" v="1172"/>
          <ac:spMkLst>
            <pc:docMk/>
            <pc:sldMk cId="222009446" sldId="633"/>
            <ac:spMk id="2" creationId="{3F6EC6BF-398B-0BFB-5F96-5F1AB56F0DFB}"/>
          </ac:spMkLst>
        </pc:spChg>
        <pc:spChg chg="mod">
          <ac:chgData name="Thomas Stensitzki" userId="75cafe6b-2f2a-469b-85c4-eec3b9c972ba" providerId="ADAL" clId="{78A7489F-5177-4675-A072-D65159DC1369}" dt="2022-08-09T17:23:32.823" v="1327" actId="113"/>
          <ac:spMkLst>
            <pc:docMk/>
            <pc:sldMk cId="222009446" sldId="633"/>
            <ac:spMk id="3" creationId="{B725E479-FBDE-7AEB-E785-70720672DCA2}"/>
          </ac:spMkLst>
        </pc:spChg>
      </pc:sldChg>
      <pc:sldChg chg="del">
        <pc:chgData name="Thomas Stensitzki" userId="75cafe6b-2f2a-469b-85c4-eec3b9c972ba" providerId="ADAL" clId="{78A7489F-5177-4675-A072-D65159DC1369}" dt="2022-08-06T13:56:19.231" v="114" actId="47"/>
        <pc:sldMkLst>
          <pc:docMk/>
          <pc:sldMk cId="561515482" sldId="633"/>
        </pc:sldMkLst>
      </pc:sldChg>
      <pc:sldChg chg="addSp modSp new mod">
        <pc:chgData name="Thomas Stensitzki" userId="75cafe6b-2f2a-469b-85c4-eec3b9c972ba" providerId="ADAL" clId="{78A7489F-5177-4675-A072-D65159DC1369}" dt="2022-08-10T10:19:30.987" v="2045" actId="1440"/>
        <pc:sldMkLst>
          <pc:docMk/>
          <pc:sldMk cId="641717594" sldId="634"/>
        </pc:sldMkLst>
        <pc:spChg chg="mod">
          <ac:chgData name="Thomas Stensitzki" userId="75cafe6b-2f2a-469b-85c4-eec3b9c972ba" providerId="ADAL" clId="{78A7489F-5177-4675-A072-D65159DC1369}" dt="2022-08-09T17:24:49.916" v="1353"/>
          <ac:spMkLst>
            <pc:docMk/>
            <pc:sldMk cId="641717594" sldId="634"/>
            <ac:spMk id="2" creationId="{8887BDC2-3D24-92F5-3433-69A8D465BA49}"/>
          </ac:spMkLst>
        </pc:spChg>
        <pc:picChg chg="add mod">
          <ac:chgData name="Thomas Stensitzki" userId="75cafe6b-2f2a-469b-85c4-eec3b9c972ba" providerId="ADAL" clId="{78A7489F-5177-4675-A072-D65159DC1369}" dt="2022-08-10T10:19:30.987" v="2045" actId="1440"/>
          <ac:picMkLst>
            <pc:docMk/>
            <pc:sldMk cId="641717594" sldId="634"/>
            <ac:picMk id="11266" creationId="{4857E005-630C-AFC7-B610-09E4B6FD92F8}"/>
          </ac:picMkLst>
        </pc:picChg>
      </pc:sldChg>
      <pc:sldChg chg="del">
        <pc:chgData name="Thomas Stensitzki" userId="75cafe6b-2f2a-469b-85c4-eec3b9c972ba" providerId="ADAL" clId="{78A7489F-5177-4675-A072-D65159DC1369}" dt="2022-08-06T13:56:19.231" v="114" actId="47"/>
        <pc:sldMkLst>
          <pc:docMk/>
          <pc:sldMk cId="708263922" sldId="634"/>
        </pc:sldMkLst>
      </pc:sldChg>
      <pc:sldChg chg="addSp delSp modSp new mod">
        <pc:chgData name="Thomas Stensitzki" userId="75cafe6b-2f2a-469b-85c4-eec3b9c972ba" providerId="ADAL" clId="{78A7489F-5177-4675-A072-D65159DC1369}" dt="2022-08-10T10:20:12.625" v="2063" actId="1440"/>
        <pc:sldMkLst>
          <pc:docMk/>
          <pc:sldMk cId="1631157761" sldId="635"/>
        </pc:sldMkLst>
        <pc:spChg chg="mod">
          <ac:chgData name="Thomas Stensitzki" userId="75cafe6b-2f2a-469b-85c4-eec3b9c972ba" providerId="ADAL" clId="{78A7489F-5177-4675-A072-D65159DC1369}" dt="2022-08-09T17:27:26.605" v="1386"/>
          <ac:spMkLst>
            <pc:docMk/>
            <pc:sldMk cId="1631157761" sldId="635"/>
            <ac:spMk id="2" creationId="{7B9CA038-772E-31AF-6878-23EE25451115}"/>
          </ac:spMkLst>
        </pc:spChg>
        <pc:spChg chg="del">
          <ac:chgData name="Thomas Stensitzki" userId="75cafe6b-2f2a-469b-85c4-eec3b9c972ba" providerId="ADAL" clId="{78A7489F-5177-4675-A072-D65159DC1369}" dt="2022-08-09T17:28:03.617" v="1409" actId="478"/>
          <ac:spMkLst>
            <pc:docMk/>
            <pc:sldMk cId="1631157761" sldId="635"/>
            <ac:spMk id="3" creationId="{0607B977-DC86-A5C7-C79C-0B001F476415}"/>
          </ac:spMkLst>
        </pc:spChg>
        <pc:spChg chg="add del">
          <ac:chgData name="Thomas Stensitzki" userId="75cafe6b-2f2a-469b-85c4-eec3b9c972ba" providerId="ADAL" clId="{78A7489F-5177-4675-A072-D65159DC1369}" dt="2022-08-09T17:28:08.310" v="1411" actId="22"/>
          <ac:spMkLst>
            <pc:docMk/>
            <pc:sldMk cId="1631157761" sldId="635"/>
            <ac:spMk id="5" creationId="{ADE0440A-9C1B-8A73-BEF8-C544E84FD685}"/>
          </ac:spMkLst>
        </pc:spChg>
        <pc:picChg chg="add mod">
          <ac:chgData name="Thomas Stensitzki" userId="75cafe6b-2f2a-469b-85c4-eec3b9c972ba" providerId="ADAL" clId="{78A7489F-5177-4675-A072-D65159DC1369}" dt="2022-08-10T10:20:12.625" v="2063" actId="1440"/>
          <ac:picMkLst>
            <pc:docMk/>
            <pc:sldMk cId="1631157761" sldId="635"/>
            <ac:picMk id="6" creationId="{8422AC68-EFD8-AEC7-F85C-C3CFB82369E2}"/>
          </ac:picMkLst>
        </pc:picChg>
      </pc:sldChg>
      <pc:sldChg chg="del">
        <pc:chgData name="Thomas Stensitzki" userId="75cafe6b-2f2a-469b-85c4-eec3b9c972ba" providerId="ADAL" clId="{78A7489F-5177-4675-A072-D65159DC1369}" dt="2022-08-06T13:56:19.231" v="114" actId="47"/>
        <pc:sldMkLst>
          <pc:docMk/>
          <pc:sldMk cId="1915675541" sldId="635"/>
        </pc:sldMkLst>
      </pc:sldChg>
      <pc:sldChg chg="del">
        <pc:chgData name="Thomas Stensitzki" userId="75cafe6b-2f2a-469b-85c4-eec3b9c972ba" providerId="ADAL" clId="{78A7489F-5177-4675-A072-D65159DC1369}" dt="2022-08-06T13:56:41.651" v="119" actId="47"/>
        <pc:sldMkLst>
          <pc:docMk/>
          <pc:sldMk cId="162606529" sldId="636"/>
        </pc:sldMkLst>
      </pc:sldChg>
      <pc:sldChg chg="addSp delSp modSp add mod">
        <pc:chgData name="Thomas Stensitzki" userId="75cafe6b-2f2a-469b-85c4-eec3b9c972ba" providerId="ADAL" clId="{78A7489F-5177-4675-A072-D65159DC1369}" dt="2022-08-10T10:20:14.234" v="2064" actId="1440"/>
        <pc:sldMkLst>
          <pc:docMk/>
          <pc:sldMk cId="2329644470" sldId="636"/>
        </pc:sldMkLst>
        <pc:picChg chg="del">
          <ac:chgData name="Thomas Stensitzki" userId="75cafe6b-2f2a-469b-85c4-eec3b9c972ba" providerId="ADAL" clId="{78A7489F-5177-4675-A072-D65159DC1369}" dt="2022-08-09T17:28:45.691" v="1420" actId="478"/>
          <ac:picMkLst>
            <pc:docMk/>
            <pc:sldMk cId="2329644470" sldId="636"/>
            <ac:picMk id="6" creationId="{8422AC68-EFD8-AEC7-F85C-C3CFB82369E2}"/>
          </ac:picMkLst>
        </pc:picChg>
        <pc:picChg chg="add mod">
          <ac:chgData name="Thomas Stensitzki" userId="75cafe6b-2f2a-469b-85c4-eec3b9c972ba" providerId="ADAL" clId="{78A7489F-5177-4675-A072-D65159DC1369}" dt="2022-08-10T10:20:14.234" v="2064" actId="1440"/>
          <ac:picMkLst>
            <pc:docMk/>
            <pc:sldMk cId="2329644470" sldId="636"/>
            <ac:picMk id="12290" creationId="{5D10AD02-9E97-E148-BCD3-6BDA04AA4614}"/>
          </ac:picMkLst>
        </pc:picChg>
      </pc:sldChg>
      <pc:sldChg chg="del">
        <pc:chgData name="Thomas Stensitzki" userId="75cafe6b-2f2a-469b-85c4-eec3b9c972ba" providerId="ADAL" clId="{78A7489F-5177-4675-A072-D65159DC1369}" dt="2022-08-06T13:56:41.651" v="119" actId="47"/>
        <pc:sldMkLst>
          <pc:docMk/>
          <pc:sldMk cId="2667813829" sldId="637"/>
        </pc:sldMkLst>
      </pc:sldChg>
      <pc:sldChg chg="addSp modSp new mod">
        <pc:chgData name="Thomas Stensitzki" userId="75cafe6b-2f2a-469b-85c4-eec3b9c972ba" providerId="ADAL" clId="{78A7489F-5177-4675-A072-D65159DC1369}" dt="2022-08-10T10:19:32.878" v="2046" actId="1440"/>
        <pc:sldMkLst>
          <pc:docMk/>
          <pc:sldMk cId="3684390708" sldId="637"/>
        </pc:sldMkLst>
        <pc:spChg chg="mod">
          <ac:chgData name="Thomas Stensitzki" userId="75cafe6b-2f2a-469b-85c4-eec3b9c972ba" providerId="ADAL" clId="{78A7489F-5177-4675-A072-D65159DC1369}" dt="2022-08-09T17:30:14.373" v="1425"/>
          <ac:spMkLst>
            <pc:docMk/>
            <pc:sldMk cId="3684390708" sldId="637"/>
            <ac:spMk id="2" creationId="{8AD7FAF3-B495-B12F-51B6-1C732E37932A}"/>
          </ac:spMkLst>
        </pc:spChg>
        <pc:picChg chg="add mod">
          <ac:chgData name="Thomas Stensitzki" userId="75cafe6b-2f2a-469b-85c4-eec3b9c972ba" providerId="ADAL" clId="{78A7489F-5177-4675-A072-D65159DC1369}" dt="2022-08-10T10:19:32.878" v="2046" actId="1440"/>
          <ac:picMkLst>
            <pc:docMk/>
            <pc:sldMk cId="3684390708" sldId="637"/>
            <ac:picMk id="13314" creationId="{28A1B060-07BF-91D6-EC68-A4B5542F3A6F}"/>
          </ac:picMkLst>
        </pc:picChg>
      </pc:sldChg>
      <pc:sldChg chg="addSp modSp new mod modNotesTx">
        <pc:chgData name="Thomas Stensitzki" userId="75cafe6b-2f2a-469b-85c4-eec3b9c972ba" providerId="ADAL" clId="{78A7489F-5177-4675-A072-D65159DC1369}" dt="2022-08-10T10:19:38.183" v="2048" actId="1440"/>
        <pc:sldMkLst>
          <pc:docMk/>
          <pc:sldMk cId="3230378298" sldId="638"/>
        </pc:sldMkLst>
        <pc:spChg chg="mod">
          <ac:chgData name="Thomas Stensitzki" userId="75cafe6b-2f2a-469b-85c4-eec3b9c972ba" providerId="ADAL" clId="{78A7489F-5177-4675-A072-D65159DC1369}" dt="2022-08-09T17:32:48.267" v="1461"/>
          <ac:spMkLst>
            <pc:docMk/>
            <pc:sldMk cId="3230378298" sldId="638"/>
            <ac:spMk id="2" creationId="{C00B30E4-8469-4DD5-DBDF-5EA8E430016C}"/>
          </ac:spMkLst>
        </pc:spChg>
        <pc:picChg chg="add mod modCrop">
          <ac:chgData name="Thomas Stensitzki" userId="75cafe6b-2f2a-469b-85c4-eec3b9c972ba" providerId="ADAL" clId="{78A7489F-5177-4675-A072-D65159DC1369}" dt="2022-08-10T10:19:37.110" v="2047" actId="1440"/>
          <ac:picMkLst>
            <pc:docMk/>
            <pc:sldMk cId="3230378298" sldId="638"/>
            <ac:picMk id="3" creationId="{AED65CD1-5427-A047-8A00-5058552CB070}"/>
          </ac:picMkLst>
        </pc:picChg>
        <pc:picChg chg="add mod">
          <ac:chgData name="Thomas Stensitzki" userId="75cafe6b-2f2a-469b-85c4-eec3b9c972ba" providerId="ADAL" clId="{78A7489F-5177-4675-A072-D65159DC1369}" dt="2022-08-10T10:19:38.183" v="2048" actId="1440"/>
          <ac:picMkLst>
            <pc:docMk/>
            <pc:sldMk cId="3230378298" sldId="638"/>
            <ac:picMk id="14338" creationId="{81D2D748-401A-DD86-FBA5-626021E4115D}"/>
          </ac:picMkLst>
        </pc:picChg>
      </pc:sldChg>
      <pc:sldChg chg="del">
        <pc:chgData name="Thomas Stensitzki" userId="75cafe6b-2f2a-469b-85c4-eec3b9c972ba" providerId="ADAL" clId="{78A7489F-5177-4675-A072-D65159DC1369}" dt="2022-08-06T13:56:41.651" v="119" actId="47"/>
        <pc:sldMkLst>
          <pc:docMk/>
          <pc:sldMk cId="2476629680" sldId="639"/>
        </pc:sldMkLst>
      </pc:sldChg>
      <pc:sldChg chg="modSp add mod ord">
        <pc:chgData name="Thomas Stensitzki" userId="75cafe6b-2f2a-469b-85c4-eec3b9c972ba" providerId="ADAL" clId="{78A7489F-5177-4675-A072-D65159DC1369}" dt="2022-08-10T10:24:28.558" v="2148" actId="14100"/>
        <pc:sldMkLst>
          <pc:docMk/>
          <pc:sldMk cId="3465019233" sldId="639"/>
        </pc:sldMkLst>
        <pc:spChg chg="mod">
          <ac:chgData name="Thomas Stensitzki" userId="75cafe6b-2f2a-469b-85c4-eec3b9c972ba" providerId="ADAL" clId="{78A7489F-5177-4675-A072-D65159DC1369}" dt="2022-08-10T10:24:28.558" v="2148" actId="14100"/>
          <ac:spMkLst>
            <pc:docMk/>
            <pc:sldMk cId="3465019233" sldId="639"/>
            <ac:spMk id="2" creationId="{909DC09D-B9A6-4493-9A72-1CA7ECB1F5CA}"/>
          </ac:spMkLst>
        </pc:spChg>
        <pc:spChg chg="mod">
          <ac:chgData name="Thomas Stensitzki" userId="75cafe6b-2f2a-469b-85c4-eec3b9c972ba" providerId="ADAL" clId="{78A7489F-5177-4675-A072-D65159DC1369}" dt="2022-08-10T10:18:03.482" v="2028" actId="255"/>
          <ac:spMkLst>
            <pc:docMk/>
            <pc:sldMk cId="3465019233" sldId="639"/>
            <ac:spMk id="5" creationId="{C24DACB5-1BEC-4C86-9652-BAFD8DE56FEF}"/>
          </ac:spMkLst>
        </pc:spChg>
      </pc:sldChg>
      <pc:sldChg chg="del">
        <pc:chgData name="Thomas Stensitzki" userId="75cafe6b-2f2a-469b-85c4-eec3b9c972ba" providerId="ADAL" clId="{78A7489F-5177-4675-A072-D65159DC1369}" dt="2022-08-06T13:56:41.651" v="119" actId="47"/>
        <pc:sldMkLst>
          <pc:docMk/>
          <pc:sldMk cId="3213284904" sldId="640"/>
        </pc:sldMkLst>
      </pc:sldChg>
      <pc:sldChg chg="addSp delSp modSp add mod ord">
        <pc:chgData name="Thomas Stensitzki" userId="75cafe6b-2f2a-469b-85c4-eec3b9c972ba" providerId="ADAL" clId="{78A7489F-5177-4675-A072-D65159DC1369}" dt="2022-08-10T10:20:15.699" v="2065" actId="1440"/>
        <pc:sldMkLst>
          <pc:docMk/>
          <pc:sldMk cId="3773795940" sldId="640"/>
        </pc:sldMkLst>
        <pc:spChg chg="mod">
          <ac:chgData name="Thomas Stensitzki" userId="75cafe6b-2f2a-469b-85c4-eec3b9c972ba" providerId="ADAL" clId="{78A7489F-5177-4675-A072-D65159DC1369}" dt="2022-08-09T17:34:51.341" v="1483"/>
          <ac:spMkLst>
            <pc:docMk/>
            <pc:sldMk cId="3773795940" sldId="640"/>
            <ac:spMk id="2" creationId="{7B9CA038-772E-31AF-6878-23EE25451115}"/>
          </ac:spMkLst>
        </pc:spChg>
        <pc:spChg chg="add del">
          <ac:chgData name="Thomas Stensitzki" userId="75cafe6b-2f2a-469b-85c4-eec3b9c972ba" providerId="ADAL" clId="{78A7489F-5177-4675-A072-D65159DC1369}" dt="2022-08-09T17:35:02.053" v="1486" actId="22"/>
          <ac:spMkLst>
            <pc:docMk/>
            <pc:sldMk cId="3773795940" sldId="640"/>
            <ac:spMk id="5" creationId="{20F424EA-FED4-029F-6BE2-EB3E3DD3D576}"/>
          </ac:spMkLst>
        </pc:spChg>
        <pc:picChg chg="del">
          <ac:chgData name="Thomas Stensitzki" userId="75cafe6b-2f2a-469b-85c4-eec3b9c972ba" providerId="ADAL" clId="{78A7489F-5177-4675-A072-D65159DC1369}" dt="2022-08-09T17:34:52.957" v="1484" actId="478"/>
          <ac:picMkLst>
            <pc:docMk/>
            <pc:sldMk cId="3773795940" sldId="640"/>
            <ac:picMk id="12290" creationId="{5D10AD02-9E97-E148-BCD3-6BDA04AA4614}"/>
          </ac:picMkLst>
        </pc:picChg>
        <pc:picChg chg="add mod">
          <ac:chgData name="Thomas Stensitzki" userId="75cafe6b-2f2a-469b-85c4-eec3b9c972ba" providerId="ADAL" clId="{78A7489F-5177-4675-A072-D65159DC1369}" dt="2022-08-10T10:20:15.699" v="2065" actId="1440"/>
          <ac:picMkLst>
            <pc:docMk/>
            <pc:sldMk cId="3773795940" sldId="640"/>
            <ac:picMk id="15362" creationId="{0C73AFF8-3CA6-1F5F-6AF1-FE539605AA1A}"/>
          </ac:picMkLst>
        </pc:picChg>
      </pc:sldChg>
      <pc:sldChg chg="addSp delSp modSp add modNotesTx">
        <pc:chgData name="Thomas Stensitzki" userId="75cafe6b-2f2a-469b-85c4-eec3b9c972ba" providerId="ADAL" clId="{78A7489F-5177-4675-A072-D65159DC1369}" dt="2022-08-10T10:20:17.051" v="2066" actId="1440"/>
        <pc:sldMkLst>
          <pc:docMk/>
          <pc:sldMk cId="2087933606" sldId="641"/>
        </pc:sldMkLst>
        <pc:picChg chg="del">
          <ac:chgData name="Thomas Stensitzki" userId="75cafe6b-2f2a-469b-85c4-eec3b9c972ba" providerId="ADAL" clId="{78A7489F-5177-4675-A072-D65159DC1369}" dt="2022-08-09T17:35:50.846" v="1490" actId="478"/>
          <ac:picMkLst>
            <pc:docMk/>
            <pc:sldMk cId="2087933606" sldId="641"/>
            <ac:picMk id="15362" creationId="{0C73AFF8-3CA6-1F5F-6AF1-FE539605AA1A}"/>
          </ac:picMkLst>
        </pc:picChg>
        <pc:picChg chg="add mod">
          <ac:chgData name="Thomas Stensitzki" userId="75cafe6b-2f2a-469b-85c4-eec3b9c972ba" providerId="ADAL" clId="{78A7489F-5177-4675-A072-D65159DC1369}" dt="2022-08-10T10:20:17.051" v="2066" actId="1440"/>
          <ac:picMkLst>
            <pc:docMk/>
            <pc:sldMk cId="2087933606" sldId="641"/>
            <ac:picMk id="16386" creationId="{107AE30F-4C2B-5E72-C69E-7F0DE23FEC51}"/>
          </ac:picMkLst>
        </pc:picChg>
      </pc:sldChg>
      <pc:sldChg chg="del">
        <pc:chgData name="Thomas Stensitzki" userId="75cafe6b-2f2a-469b-85c4-eec3b9c972ba" providerId="ADAL" clId="{78A7489F-5177-4675-A072-D65159DC1369}" dt="2022-08-06T13:56:41.651" v="119" actId="47"/>
        <pc:sldMkLst>
          <pc:docMk/>
          <pc:sldMk cId="2520872566" sldId="641"/>
        </pc:sldMkLst>
      </pc:sldChg>
      <pc:sldChg chg="del">
        <pc:chgData name="Thomas Stensitzki" userId="75cafe6b-2f2a-469b-85c4-eec3b9c972ba" providerId="ADAL" clId="{78A7489F-5177-4675-A072-D65159DC1369}" dt="2022-08-06T13:56:41.651" v="119" actId="47"/>
        <pc:sldMkLst>
          <pc:docMk/>
          <pc:sldMk cId="1280337819" sldId="642"/>
        </pc:sldMkLst>
      </pc:sldChg>
      <pc:sldChg chg="addSp delSp modSp new mod">
        <pc:chgData name="Thomas Stensitzki" userId="75cafe6b-2f2a-469b-85c4-eec3b9c972ba" providerId="ADAL" clId="{78A7489F-5177-4675-A072-D65159DC1369}" dt="2022-08-10T10:19:41.044" v="2049" actId="1440"/>
        <pc:sldMkLst>
          <pc:docMk/>
          <pc:sldMk cId="1502932586" sldId="642"/>
        </pc:sldMkLst>
        <pc:spChg chg="mod">
          <ac:chgData name="Thomas Stensitzki" userId="75cafe6b-2f2a-469b-85c4-eec3b9c972ba" providerId="ADAL" clId="{78A7489F-5177-4675-A072-D65159DC1369}" dt="2022-08-09T17:38:34.626" v="1523"/>
          <ac:spMkLst>
            <pc:docMk/>
            <pc:sldMk cId="1502932586" sldId="642"/>
            <ac:spMk id="2" creationId="{B30EF01B-F4E2-9138-B17C-E0DDDD1E9BD8}"/>
          </ac:spMkLst>
        </pc:spChg>
        <pc:picChg chg="add del mod">
          <ac:chgData name="Thomas Stensitzki" userId="75cafe6b-2f2a-469b-85c4-eec3b9c972ba" providerId="ADAL" clId="{78A7489F-5177-4675-A072-D65159DC1369}" dt="2022-08-09T17:39:21.595" v="1535"/>
          <ac:picMkLst>
            <pc:docMk/>
            <pc:sldMk cId="1502932586" sldId="642"/>
            <ac:picMk id="17410" creationId="{DB35C899-91CB-0E00-13BF-DE340A62254E}"/>
          </ac:picMkLst>
        </pc:picChg>
        <pc:picChg chg="add mod">
          <ac:chgData name="Thomas Stensitzki" userId="75cafe6b-2f2a-469b-85c4-eec3b9c972ba" providerId="ADAL" clId="{78A7489F-5177-4675-A072-D65159DC1369}" dt="2022-08-10T10:19:41.044" v="2049" actId="1440"/>
          <ac:picMkLst>
            <pc:docMk/>
            <pc:sldMk cId="1502932586" sldId="642"/>
            <ac:picMk id="17412" creationId="{5501A948-1CA2-59B2-FEAB-2DEC0D688656}"/>
          </ac:picMkLst>
        </pc:picChg>
      </pc:sldChg>
      <pc:sldChg chg="del">
        <pc:chgData name="Thomas Stensitzki" userId="75cafe6b-2f2a-469b-85c4-eec3b9c972ba" providerId="ADAL" clId="{78A7489F-5177-4675-A072-D65159DC1369}" dt="2022-08-06T13:56:41.651" v="119" actId="47"/>
        <pc:sldMkLst>
          <pc:docMk/>
          <pc:sldMk cId="2743587653" sldId="643"/>
        </pc:sldMkLst>
      </pc:sldChg>
      <pc:sldChg chg="addSp delSp modSp add mod modAnim">
        <pc:chgData name="Thomas Stensitzki" userId="75cafe6b-2f2a-469b-85c4-eec3b9c972ba" providerId="ADAL" clId="{78A7489F-5177-4675-A072-D65159DC1369}" dt="2022-08-10T10:22:24.175" v="2108"/>
        <pc:sldMkLst>
          <pc:docMk/>
          <pc:sldMk cId="2913103850" sldId="643"/>
        </pc:sldMkLst>
        <pc:spChg chg="mod">
          <ac:chgData name="Thomas Stensitzki" userId="75cafe6b-2f2a-469b-85c4-eec3b9c972ba" providerId="ADAL" clId="{78A7489F-5177-4675-A072-D65159DC1369}" dt="2022-08-09T17:40:36.839" v="1546"/>
          <ac:spMkLst>
            <pc:docMk/>
            <pc:sldMk cId="2913103850" sldId="643"/>
            <ac:spMk id="2" creationId="{B30EF01B-F4E2-9138-B17C-E0DDDD1E9BD8}"/>
          </ac:spMkLst>
        </pc:spChg>
        <pc:picChg chg="del">
          <ac:chgData name="Thomas Stensitzki" userId="75cafe6b-2f2a-469b-85c4-eec3b9c972ba" providerId="ADAL" clId="{78A7489F-5177-4675-A072-D65159DC1369}" dt="2022-08-09T17:40:37.943" v="1547" actId="478"/>
          <ac:picMkLst>
            <pc:docMk/>
            <pc:sldMk cId="2913103850" sldId="643"/>
            <ac:picMk id="17412" creationId="{5501A948-1CA2-59B2-FEAB-2DEC0D688656}"/>
          </ac:picMkLst>
        </pc:picChg>
        <pc:picChg chg="add mod">
          <ac:chgData name="Thomas Stensitzki" userId="75cafe6b-2f2a-469b-85c4-eec3b9c972ba" providerId="ADAL" clId="{78A7489F-5177-4675-A072-D65159DC1369}" dt="2022-08-10T10:19:43.105" v="2050" actId="1440"/>
          <ac:picMkLst>
            <pc:docMk/>
            <pc:sldMk cId="2913103850" sldId="643"/>
            <ac:picMk id="18434" creationId="{58BD7D2C-A90F-A234-9FEF-D1235924C0FA}"/>
          </ac:picMkLst>
        </pc:picChg>
        <pc:picChg chg="add mod">
          <ac:chgData name="Thomas Stensitzki" userId="75cafe6b-2f2a-469b-85c4-eec3b9c972ba" providerId="ADAL" clId="{78A7489F-5177-4675-A072-D65159DC1369}" dt="2022-08-10T10:19:44.172" v="2051" actId="1440"/>
          <ac:picMkLst>
            <pc:docMk/>
            <pc:sldMk cId="2913103850" sldId="643"/>
            <ac:picMk id="18436" creationId="{ADF4A651-1207-C487-BAF2-BD4956731BED}"/>
          </ac:picMkLst>
        </pc:picChg>
      </pc:sldChg>
      <pc:sldChg chg="addSp delSp modSp add">
        <pc:chgData name="Thomas Stensitzki" userId="75cafe6b-2f2a-469b-85c4-eec3b9c972ba" providerId="ADAL" clId="{78A7489F-5177-4675-A072-D65159DC1369}" dt="2022-08-10T10:19:46.572" v="2052" actId="1440"/>
        <pc:sldMkLst>
          <pc:docMk/>
          <pc:sldMk cId="942581030" sldId="644"/>
        </pc:sldMkLst>
        <pc:picChg chg="del">
          <ac:chgData name="Thomas Stensitzki" userId="75cafe6b-2f2a-469b-85c4-eec3b9c972ba" providerId="ADAL" clId="{78A7489F-5177-4675-A072-D65159DC1369}" dt="2022-08-09T17:41:23.118" v="1555" actId="478"/>
          <ac:picMkLst>
            <pc:docMk/>
            <pc:sldMk cId="942581030" sldId="644"/>
            <ac:picMk id="18434" creationId="{58BD7D2C-A90F-A234-9FEF-D1235924C0FA}"/>
          </ac:picMkLst>
        </pc:picChg>
        <pc:picChg chg="del">
          <ac:chgData name="Thomas Stensitzki" userId="75cafe6b-2f2a-469b-85c4-eec3b9c972ba" providerId="ADAL" clId="{78A7489F-5177-4675-A072-D65159DC1369}" dt="2022-08-09T17:41:23.897" v="1556" actId="478"/>
          <ac:picMkLst>
            <pc:docMk/>
            <pc:sldMk cId="942581030" sldId="644"/>
            <ac:picMk id="18436" creationId="{ADF4A651-1207-C487-BAF2-BD4956731BED}"/>
          </ac:picMkLst>
        </pc:picChg>
        <pc:picChg chg="add mod">
          <ac:chgData name="Thomas Stensitzki" userId="75cafe6b-2f2a-469b-85c4-eec3b9c972ba" providerId="ADAL" clId="{78A7489F-5177-4675-A072-D65159DC1369}" dt="2022-08-10T10:19:46.572" v="2052" actId="1440"/>
          <ac:picMkLst>
            <pc:docMk/>
            <pc:sldMk cId="942581030" sldId="644"/>
            <ac:picMk id="19458" creationId="{A27D1A30-4B7E-7A65-688E-FB44556D3BAA}"/>
          </ac:picMkLst>
        </pc:picChg>
      </pc:sldChg>
      <pc:sldChg chg="del">
        <pc:chgData name="Thomas Stensitzki" userId="75cafe6b-2f2a-469b-85c4-eec3b9c972ba" providerId="ADAL" clId="{78A7489F-5177-4675-A072-D65159DC1369}" dt="2022-08-06T13:56:41.651" v="119" actId="47"/>
        <pc:sldMkLst>
          <pc:docMk/>
          <pc:sldMk cId="3061187211" sldId="644"/>
        </pc:sldMkLst>
      </pc:sldChg>
      <pc:sldChg chg="del">
        <pc:chgData name="Thomas Stensitzki" userId="75cafe6b-2f2a-469b-85c4-eec3b9c972ba" providerId="ADAL" clId="{78A7489F-5177-4675-A072-D65159DC1369}" dt="2022-08-06T13:56:41.651" v="119" actId="47"/>
        <pc:sldMkLst>
          <pc:docMk/>
          <pc:sldMk cId="2023922211" sldId="645"/>
        </pc:sldMkLst>
      </pc:sldChg>
      <pc:sldChg chg="addSp delSp modSp add mod modNotesTx">
        <pc:chgData name="Thomas Stensitzki" userId="75cafe6b-2f2a-469b-85c4-eec3b9c972ba" providerId="ADAL" clId="{78A7489F-5177-4675-A072-D65159DC1369}" dt="2022-08-10T10:19:54.107" v="2053" actId="1440"/>
        <pc:sldMkLst>
          <pc:docMk/>
          <pc:sldMk cId="2729172580" sldId="645"/>
        </pc:sldMkLst>
        <pc:spChg chg="mod">
          <ac:chgData name="Thomas Stensitzki" userId="75cafe6b-2f2a-469b-85c4-eec3b9c972ba" providerId="ADAL" clId="{78A7489F-5177-4675-A072-D65159DC1369}" dt="2022-08-09T17:43:39.330" v="1588"/>
          <ac:spMkLst>
            <pc:docMk/>
            <pc:sldMk cId="2729172580" sldId="645"/>
            <ac:spMk id="2" creationId="{B30EF01B-F4E2-9138-B17C-E0DDDD1E9BD8}"/>
          </ac:spMkLst>
        </pc:spChg>
        <pc:picChg chg="del">
          <ac:chgData name="Thomas Stensitzki" userId="75cafe6b-2f2a-469b-85c4-eec3b9c972ba" providerId="ADAL" clId="{78A7489F-5177-4675-A072-D65159DC1369}" dt="2022-08-09T17:43:35.987" v="1587" actId="478"/>
          <ac:picMkLst>
            <pc:docMk/>
            <pc:sldMk cId="2729172580" sldId="645"/>
            <ac:picMk id="19458" creationId="{A27D1A30-4B7E-7A65-688E-FB44556D3BAA}"/>
          </ac:picMkLst>
        </pc:picChg>
        <pc:picChg chg="add mod">
          <ac:chgData name="Thomas Stensitzki" userId="75cafe6b-2f2a-469b-85c4-eec3b9c972ba" providerId="ADAL" clId="{78A7489F-5177-4675-A072-D65159DC1369}" dt="2022-08-10T10:19:54.107" v="2053" actId="1440"/>
          <ac:picMkLst>
            <pc:docMk/>
            <pc:sldMk cId="2729172580" sldId="645"/>
            <ac:picMk id="20482" creationId="{FF375F31-E1A6-A28E-4AC7-0D8F7899DE42}"/>
          </ac:picMkLst>
        </pc:picChg>
      </pc:sldChg>
      <pc:sldChg chg="addSp delSp modSp add">
        <pc:chgData name="Thomas Stensitzki" userId="75cafe6b-2f2a-469b-85c4-eec3b9c972ba" providerId="ADAL" clId="{78A7489F-5177-4675-A072-D65159DC1369}" dt="2022-08-10T10:19:55.794" v="2054" actId="1440"/>
        <pc:sldMkLst>
          <pc:docMk/>
          <pc:sldMk cId="295227728" sldId="646"/>
        </pc:sldMkLst>
        <pc:picChg chg="del">
          <ac:chgData name="Thomas Stensitzki" userId="75cafe6b-2f2a-469b-85c4-eec3b9c972ba" providerId="ADAL" clId="{78A7489F-5177-4675-A072-D65159DC1369}" dt="2022-08-09T17:44:10.840" v="1594" actId="478"/>
          <ac:picMkLst>
            <pc:docMk/>
            <pc:sldMk cId="295227728" sldId="646"/>
            <ac:picMk id="20482" creationId="{FF375F31-E1A6-A28E-4AC7-0D8F7899DE42}"/>
          </ac:picMkLst>
        </pc:picChg>
        <pc:picChg chg="add mod">
          <ac:chgData name="Thomas Stensitzki" userId="75cafe6b-2f2a-469b-85c4-eec3b9c972ba" providerId="ADAL" clId="{78A7489F-5177-4675-A072-D65159DC1369}" dt="2022-08-10T10:19:55.794" v="2054" actId="1440"/>
          <ac:picMkLst>
            <pc:docMk/>
            <pc:sldMk cId="295227728" sldId="646"/>
            <ac:picMk id="21506" creationId="{2E03E48E-6309-9518-DCBC-90D946D68063}"/>
          </ac:picMkLst>
        </pc:picChg>
      </pc:sldChg>
      <pc:sldChg chg="del">
        <pc:chgData name="Thomas Stensitzki" userId="75cafe6b-2f2a-469b-85c4-eec3b9c972ba" providerId="ADAL" clId="{78A7489F-5177-4675-A072-D65159DC1369}" dt="2022-08-06T13:57:09.138" v="123" actId="47"/>
        <pc:sldMkLst>
          <pc:docMk/>
          <pc:sldMk cId="4232995729" sldId="646"/>
        </pc:sldMkLst>
      </pc:sldChg>
      <pc:sldChg chg="addSp delSp modSp new mod modClrScheme chgLayout">
        <pc:chgData name="Thomas Stensitzki" userId="75cafe6b-2f2a-469b-85c4-eec3b9c972ba" providerId="ADAL" clId="{78A7489F-5177-4675-A072-D65159DC1369}" dt="2022-08-10T10:16:42.993" v="2015" actId="20577"/>
        <pc:sldMkLst>
          <pc:docMk/>
          <pc:sldMk cId="3764594880" sldId="647"/>
        </pc:sldMkLst>
        <pc:spChg chg="del mod ord">
          <ac:chgData name="Thomas Stensitzki" userId="75cafe6b-2f2a-469b-85c4-eec3b9c972ba" providerId="ADAL" clId="{78A7489F-5177-4675-A072-D65159DC1369}" dt="2022-08-10T10:16:40.849" v="2011" actId="700"/>
          <ac:spMkLst>
            <pc:docMk/>
            <pc:sldMk cId="3764594880" sldId="647"/>
            <ac:spMk id="2" creationId="{0D36720E-B4D5-3419-0E09-A9A4476198A2}"/>
          </ac:spMkLst>
        </pc:spChg>
        <pc:spChg chg="del mod ord">
          <ac:chgData name="Thomas Stensitzki" userId="75cafe6b-2f2a-469b-85c4-eec3b9c972ba" providerId="ADAL" clId="{78A7489F-5177-4675-A072-D65159DC1369}" dt="2022-08-10T10:16:40.849" v="2011" actId="700"/>
          <ac:spMkLst>
            <pc:docMk/>
            <pc:sldMk cId="3764594880" sldId="647"/>
            <ac:spMk id="3" creationId="{2189C057-EBFE-6073-6593-35C95B066789}"/>
          </ac:spMkLst>
        </pc:spChg>
        <pc:spChg chg="add mod ord">
          <ac:chgData name="Thomas Stensitzki" userId="75cafe6b-2f2a-469b-85c4-eec3b9c972ba" providerId="ADAL" clId="{78A7489F-5177-4675-A072-D65159DC1369}" dt="2022-08-10T10:16:42.993" v="2015" actId="20577"/>
          <ac:spMkLst>
            <pc:docMk/>
            <pc:sldMk cId="3764594880" sldId="647"/>
            <ac:spMk id="4" creationId="{3B6FAC27-3ED8-4466-5AA3-7B53C80EC4B1}"/>
          </ac:spMkLst>
        </pc:spChg>
        <pc:spChg chg="add mod ord">
          <ac:chgData name="Thomas Stensitzki" userId="75cafe6b-2f2a-469b-85c4-eec3b9c972ba" providerId="ADAL" clId="{78A7489F-5177-4675-A072-D65159DC1369}" dt="2022-08-10T10:16:40.849" v="2011" actId="700"/>
          <ac:spMkLst>
            <pc:docMk/>
            <pc:sldMk cId="3764594880" sldId="647"/>
            <ac:spMk id="5" creationId="{46DBDD81-7724-629C-A70D-41D41678B477}"/>
          </ac:spMkLst>
        </pc:spChg>
      </pc:sldChg>
      <pc:sldChg chg="modSp add mod ord">
        <pc:chgData name="Thomas Stensitzki" userId="75cafe6b-2f2a-469b-85c4-eec3b9c972ba" providerId="ADAL" clId="{78A7489F-5177-4675-A072-D65159DC1369}" dt="2022-08-10T10:18:28.859" v="2033" actId="1076"/>
        <pc:sldMkLst>
          <pc:docMk/>
          <pc:sldMk cId="1091040638" sldId="648"/>
        </pc:sldMkLst>
        <pc:spChg chg="mod">
          <ac:chgData name="Thomas Stensitzki" userId="75cafe6b-2f2a-469b-85c4-eec3b9c972ba" providerId="ADAL" clId="{78A7489F-5177-4675-A072-D65159DC1369}" dt="2022-08-10T10:18:28.859" v="2033" actId="1076"/>
          <ac:spMkLst>
            <pc:docMk/>
            <pc:sldMk cId="1091040638" sldId="648"/>
            <ac:spMk id="2" creationId="{909DC09D-B9A6-4493-9A72-1CA7ECB1F5CA}"/>
          </ac:spMkLst>
        </pc:spChg>
      </pc:sldChg>
      <pc:sldChg chg="add del">
        <pc:chgData name="Thomas Stensitzki" userId="75cafe6b-2f2a-469b-85c4-eec3b9c972ba" providerId="ADAL" clId="{78A7489F-5177-4675-A072-D65159DC1369}" dt="2022-08-06T13:57:05.154" v="122" actId="47"/>
        <pc:sldMkLst>
          <pc:docMk/>
          <pc:sldMk cId="1507941917" sldId="648"/>
        </pc:sldMkLst>
      </pc:sldChg>
      <pc:sldChg chg="add del">
        <pc:chgData name="Thomas Stensitzki" userId="75cafe6b-2f2a-469b-85c4-eec3b9c972ba" providerId="ADAL" clId="{78A7489F-5177-4675-A072-D65159DC1369}" dt="2022-08-10T10:16:56.553" v="2017"/>
        <pc:sldMkLst>
          <pc:docMk/>
          <pc:sldMk cId="3284917679" sldId="648"/>
        </pc:sldMkLst>
      </pc:sldChg>
      <pc:sldChg chg="add del">
        <pc:chgData name="Thomas Stensitzki" userId="75cafe6b-2f2a-469b-85c4-eec3b9c972ba" providerId="ADAL" clId="{78A7489F-5177-4675-A072-D65159DC1369}" dt="2022-08-06T13:57:05.154" v="122" actId="47"/>
        <pc:sldMkLst>
          <pc:docMk/>
          <pc:sldMk cId="1632744645" sldId="649"/>
        </pc:sldMkLst>
      </pc:sldChg>
      <pc:sldChg chg="modSp add mod">
        <pc:chgData name="Thomas Stensitzki" userId="75cafe6b-2f2a-469b-85c4-eec3b9c972ba" providerId="ADAL" clId="{78A7489F-5177-4675-A072-D65159DC1369}" dt="2022-08-10T10:18:45.288" v="2036" actId="14100"/>
        <pc:sldMkLst>
          <pc:docMk/>
          <pc:sldMk cId="2369649432" sldId="649"/>
        </pc:sldMkLst>
        <pc:spChg chg="mod">
          <ac:chgData name="Thomas Stensitzki" userId="75cafe6b-2f2a-469b-85c4-eec3b9c972ba" providerId="ADAL" clId="{78A7489F-5177-4675-A072-D65159DC1369}" dt="2022-08-10T10:18:45.288" v="2036" actId="14100"/>
          <ac:spMkLst>
            <pc:docMk/>
            <pc:sldMk cId="2369649432" sldId="649"/>
            <ac:spMk id="2" creationId="{909DC09D-B9A6-4493-9A72-1CA7ECB1F5CA}"/>
          </ac:spMkLst>
        </pc:spChg>
      </pc:sldChg>
      <pc:sldChg chg="add del">
        <pc:chgData name="Thomas Stensitzki" userId="75cafe6b-2f2a-469b-85c4-eec3b9c972ba" providerId="ADAL" clId="{78A7489F-5177-4675-A072-D65159DC1369}" dt="2022-08-06T13:57:05.154" v="122" actId="47"/>
        <pc:sldMkLst>
          <pc:docMk/>
          <pc:sldMk cId="2904891794" sldId="650"/>
        </pc:sldMkLst>
      </pc:sldChg>
      <pc:sldChg chg="modSp add mod">
        <pc:chgData name="Thomas Stensitzki" userId="75cafe6b-2f2a-469b-85c4-eec3b9c972ba" providerId="ADAL" clId="{78A7489F-5177-4675-A072-D65159DC1369}" dt="2022-08-10T10:18:59.003" v="2038" actId="1076"/>
        <pc:sldMkLst>
          <pc:docMk/>
          <pc:sldMk cId="4292684490" sldId="650"/>
        </pc:sldMkLst>
        <pc:spChg chg="mod">
          <ac:chgData name="Thomas Stensitzki" userId="75cafe6b-2f2a-469b-85c4-eec3b9c972ba" providerId="ADAL" clId="{78A7489F-5177-4675-A072-D65159DC1369}" dt="2022-08-10T10:18:59.003" v="2038" actId="1076"/>
          <ac:spMkLst>
            <pc:docMk/>
            <pc:sldMk cId="4292684490" sldId="650"/>
            <ac:spMk id="2" creationId="{909DC09D-B9A6-4493-9A72-1CA7ECB1F5CA}"/>
          </ac:spMkLst>
        </pc:spChg>
      </pc:sldChg>
      <pc:sldChg chg="modSp add mod ord">
        <pc:chgData name="Thomas Stensitzki" userId="75cafe6b-2f2a-469b-85c4-eec3b9c972ba" providerId="ADAL" clId="{78A7489F-5177-4675-A072-D65159DC1369}" dt="2022-08-10T10:20:49.668" v="2077" actId="14100"/>
        <pc:sldMkLst>
          <pc:docMk/>
          <pc:sldMk cId="324892990" sldId="651"/>
        </pc:sldMkLst>
        <pc:spChg chg="mod">
          <ac:chgData name="Thomas Stensitzki" userId="75cafe6b-2f2a-469b-85c4-eec3b9c972ba" providerId="ADAL" clId="{78A7489F-5177-4675-A072-D65159DC1369}" dt="2022-08-10T10:20:49.668" v="2077" actId="14100"/>
          <ac:spMkLst>
            <pc:docMk/>
            <pc:sldMk cId="324892990" sldId="651"/>
            <ac:spMk id="2" creationId="{909DC09D-B9A6-4493-9A72-1CA7ECB1F5CA}"/>
          </ac:spMkLst>
        </pc:spChg>
      </pc:sldChg>
      <pc:sldChg chg="add del">
        <pc:chgData name="Thomas Stensitzki" userId="75cafe6b-2f2a-469b-85c4-eec3b9c972ba" providerId="ADAL" clId="{78A7489F-5177-4675-A072-D65159DC1369}" dt="2022-08-06T13:57:05.154" v="122" actId="47"/>
        <pc:sldMkLst>
          <pc:docMk/>
          <pc:sldMk cId="448268979" sldId="651"/>
        </pc:sldMkLst>
      </pc:sldChg>
      <pc:sldChg chg="modSp add mod ord">
        <pc:chgData name="Thomas Stensitzki" userId="75cafe6b-2f2a-469b-85c4-eec3b9c972ba" providerId="ADAL" clId="{78A7489F-5177-4675-A072-D65159DC1369}" dt="2022-08-10T10:21:29.183" v="2086" actId="1076"/>
        <pc:sldMkLst>
          <pc:docMk/>
          <pc:sldMk cId="2700638492" sldId="652"/>
        </pc:sldMkLst>
        <pc:spChg chg="mod">
          <ac:chgData name="Thomas Stensitzki" userId="75cafe6b-2f2a-469b-85c4-eec3b9c972ba" providerId="ADAL" clId="{78A7489F-5177-4675-A072-D65159DC1369}" dt="2022-08-10T10:21:29.183" v="2086" actId="1076"/>
          <ac:spMkLst>
            <pc:docMk/>
            <pc:sldMk cId="2700638492" sldId="652"/>
            <ac:spMk id="2" creationId="{909DC09D-B9A6-4493-9A72-1CA7ECB1F5CA}"/>
          </ac:spMkLst>
        </pc:spChg>
      </pc:sldChg>
      <pc:sldChg chg="modSp add mod ord">
        <pc:chgData name="Thomas Stensitzki" userId="75cafe6b-2f2a-469b-85c4-eec3b9c972ba" providerId="ADAL" clId="{78A7489F-5177-4675-A072-D65159DC1369}" dt="2022-08-10T10:21:49.889" v="2092" actId="1076"/>
        <pc:sldMkLst>
          <pc:docMk/>
          <pc:sldMk cId="1379297492" sldId="653"/>
        </pc:sldMkLst>
        <pc:spChg chg="mod">
          <ac:chgData name="Thomas Stensitzki" userId="75cafe6b-2f2a-469b-85c4-eec3b9c972ba" providerId="ADAL" clId="{78A7489F-5177-4675-A072-D65159DC1369}" dt="2022-08-10T10:21:49.889" v="2092" actId="1076"/>
          <ac:spMkLst>
            <pc:docMk/>
            <pc:sldMk cId="1379297492" sldId="653"/>
            <ac:spMk id="2" creationId="{909DC09D-B9A6-4493-9A72-1CA7ECB1F5CA}"/>
          </ac:spMkLst>
        </pc:spChg>
      </pc:sldChg>
      <pc:sldChg chg="modSp add mod">
        <pc:chgData name="Thomas Stensitzki" userId="75cafe6b-2f2a-469b-85c4-eec3b9c972ba" providerId="ADAL" clId="{78A7489F-5177-4675-A072-D65159DC1369}" dt="2022-08-10T10:21:44.270" v="2091" actId="1076"/>
        <pc:sldMkLst>
          <pc:docMk/>
          <pc:sldMk cId="20870858" sldId="654"/>
        </pc:sldMkLst>
        <pc:spChg chg="mod">
          <ac:chgData name="Thomas Stensitzki" userId="75cafe6b-2f2a-469b-85c4-eec3b9c972ba" providerId="ADAL" clId="{78A7489F-5177-4675-A072-D65159DC1369}" dt="2022-08-10T10:21:44.270" v="2091" actId="1076"/>
          <ac:spMkLst>
            <pc:docMk/>
            <pc:sldMk cId="20870858" sldId="654"/>
            <ac:spMk id="2" creationId="{909DC09D-B9A6-4493-9A72-1CA7ECB1F5CA}"/>
          </ac:spMkLst>
        </pc:spChg>
      </pc:sldChg>
      <pc:sldChg chg="modSp add mod ord">
        <pc:chgData name="Thomas Stensitzki" userId="75cafe6b-2f2a-469b-85c4-eec3b9c972ba" providerId="ADAL" clId="{78A7489F-5177-4675-A072-D65159DC1369}" dt="2022-08-10T10:21:58.835" v="2096" actId="1076"/>
        <pc:sldMkLst>
          <pc:docMk/>
          <pc:sldMk cId="4081057211" sldId="655"/>
        </pc:sldMkLst>
        <pc:spChg chg="mod">
          <ac:chgData name="Thomas Stensitzki" userId="75cafe6b-2f2a-469b-85c4-eec3b9c972ba" providerId="ADAL" clId="{78A7489F-5177-4675-A072-D65159DC1369}" dt="2022-08-10T10:21:58.835" v="2096" actId="1076"/>
          <ac:spMkLst>
            <pc:docMk/>
            <pc:sldMk cId="4081057211" sldId="655"/>
            <ac:spMk id="2" creationId="{909DC09D-B9A6-4493-9A72-1CA7ECB1F5CA}"/>
          </ac:spMkLst>
        </pc:spChg>
      </pc:sldChg>
      <pc:sldChg chg="modSp add mod ord">
        <pc:chgData name="Thomas Stensitzki" userId="75cafe6b-2f2a-469b-85c4-eec3b9c972ba" providerId="ADAL" clId="{78A7489F-5177-4675-A072-D65159DC1369}" dt="2022-08-10T10:22:06.738" v="2100" actId="1076"/>
        <pc:sldMkLst>
          <pc:docMk/>
          <pc:sldMk cId="2870420379" sldId="656"/>
        </pc:sldMkLst>
        <pc:spChg chg="mod">
          <ac:chgData name="Thomas Stensitzki" userId="75cafe6b-2f2a-469b-85c4-eec3b9c972ba" providerId="ADAL" clId="{78A7489F-5177-4675-A072-D65159DC1369}" dt="2022-08-10T10:22:06.738" v="2100" actId="1076"/>
          <ac:spMkLst>
            <pc:docMk/>
            <pc:sldMk cId="2870420379" sldId="656"/>
            <ac:spMk id="2" creationId="{909DC09D-B9A6-4493-9A72-1CA7ECB1F5CA}"/>
          </ac:spMkLst>
        </pc:spChg>
      </pc:sldChg>
      <pc:sldChg chg="modSp add mod ord">
        <pc:chgData name="Thomas Stensitzki" userId="75cafe6b-2f2a-469b-85c4-eec3b9c972ba" providerId="ADAL" clId="{78A7489F-5177-4675-A072-D65159DC1369}" dt="2022-08-10T10:22:15.464" v="2104" actId="1076"/>
        <pc:sldMkLst>
          <pc:docMk/>
          <pc:sldMk cId="1841510030" sldId="657"/>
        </pc:sldMkLst>
        <pc:spChg chg="mod">
          <ac:chgData name="Thomas Stensitzki" userId="75cafe6b-2f2a-469b-85c4-eec3b9c972ba" providerId="ADAL" clId="{78A7489F-5177-4675-A072-D65159DC1369}" dt="2022-08-10T10:22:15.464" v="2104" actId="1076"/>
          <ac:spMkLst>
            <pc:docMk/>
            <pc:sldMk cId="1841510030" sldId="657"/>
            <ac:spMk id="2" creationId="{909DC09D-B9A6-4493-9A72-1CA7ECB1F5CA}"/>
          </ac:spMkLst>
        </pc:spChg>
      </pc:sldChg>
      <pc:sldChg chg="modSp add mod ord">
        <pc:chgData name="Thomas Stensitzki" userId="75cafe6b-2f2a-469b-85c4-eec3b9c972ba" providerId="ADAL" clId="{78A7489F-5177-4675-A072-D65159DC1369}" dt="2022-08-10T10:22:47.881" v="2109" actId="1076"/>
        <pc:sldMkLst>
          <pc:docMk/>
          <pc:sldMk cId="3337092959" sldId="658"/>
        </pc:sldMkLst>
        <pc:spChg chg="mod">
          <ac:chgData name="Thomas Stensitzki" userId="75cafe6b-2f2a-469b-85c4-eec3b9c972ba" providerId="ADAL" clId="{78A7489F-5177-4675-A072-D65159DC1369}" dt="2022-08-10T10:22:47.881" v="2109" actId="1076"/>
          <ac:spMkLst>
            <pc:docMk/>
            <pc:sldMk cId="3337092959" sldId="658"/>
            <ac:spMk id="2" creationId="{909DC09D-B9A6-4493-9A72-1CA7ECB1F5CA}"/>
          </ac:spMkLst>
        </pc:spChg>
      </pc:sldChg>
      <pc:sldChg chg="modSp add mod ord">
        <pc:chgData name="Thomas Stensitzki" userId="75cafe6b-2f2a-469b-85c4-eec3b9c972ba" providerId="ADAL" clId="{78A7489F-5177-4675-A072-D65159DC1369}" dt="2022-08-10T10:23:17.660" v="2123" actId="20577"/>
        <pc:sldMkLst>
          <pc:docMk/>
          <pc:sldMk cId="1962477249" sldId="659"/>
        </pc:sldMkLst>
        <pc:spChg chg="mod">
          <ac:chgData name="Thomas Stensitzki" userId="75cafe6b-2f2a-469b-85c4-eec3b9c972ba" providerId="ADAL" clId="{78A7489F-5177-4675-A072-D65159DC1369}" dt="2022-08-10T10:23:17.660" v="2123" actId="20577"/>
          <ac:spMkLst>
            <pc:docMk/>
            <pc:sldMk cId="1962477249" sldId="659"/>
            <ac:spMk id="4" creationId="{F3A15CBD-C746-44A3-A4F0-4898CE2F02E6}"/>
          </ac:spMkLst>
        </pc:spChg>
      </pc:sldChg>
      <pc:sldChg chg="modSp add mod ord">
        <pc:chgData name="Thomas Stensitzki" userId="75cafe6b-2f2a-469b-85c4-eec3b9c972ba" providerId="ADAL" clId="{78A7489F-5177-4675-A072-D65159DC1369}" dt="2022-08-10T10:23:38.044" v="2130" actId="14100"/>
        <pc:sldMkLst>
          <pc:docMk/>
          <pc:sldMk cId="1061161082" sldId="660"/>
        </pc:sldMkLst>
        <pc:spChg chg="mod">
          <ac:chgData name="Thomas Stensitzki" userId="75cafe6b-2f2a-469b-85c4-eec3b9c972ba" providerId="ADAL" clId="{78A7489F-5177-4675-A072-D65159DC1369}" dt="2022-08-10T10:23:38.044" v="2130" actId="14100"/>
          <ac:spMkLst>
            <pc:docMk/>
            <pc:sldMk cId="1061161082" sldId="660"/>
            <ac:spMk id="2" creationId="{909DC09D-B9A6-4493-9A72-1CA7ECB1F5CA}"/>
          </ac:spMkLst>
        </pc:spChg>
      </pc:sldChg>
      <pc:sldChg chg="modSp add mod ord">
        <pc:chgData name="Thomas Stensitzki" userId="75cafe6b-2f2a-469b-85c4-eec3b9c972ba" providerId="ADAL" clId="{78A7489F-5177-4675-A072-D65159DC1369}" dt="2022-08-10T10:23:44.308" v="2134" actId="1076"/>
        <pc:sldMkLst>
          <pc:docMk/>
          <pc:sldMk cId="2497496185" sldId="661"/>
        </pc:sldMkLst>
        <pc:spChg chg="mod">
          <ac:chgData name="Thomas Stensitzki" userId="75cafe6b-2f2a-469b-85c4-eec3b9c972ba" providerId="ADAL" clId="{78A7489F-5177-4675-A072-D65159DC1369}" dt="2022-08-10T10:23:44.308" v="2134" actId="1076"/>
          <ac:spMkLst>
            <pc:docMk/>
            <pc:sldMk cId="2497496185" sldId="661"/>
            <ac:spMk id="2" creationId="{909DC09D-B9A6-4493-9A72-1CA7ECB1F5CA}"/>
          </ac:spMkLst>
        </pc:spChg>
      </pc:sldChg>
      <pc:sldChg chg="modSp add mod ord">
        <pc:chgData name="Thomas Stensitzki" userId="75cafe6b-2f2a-469b-85c4-eec3b9c972ba" providerId="ADAL" clId="{78A7489F-5177-4675-A072-D65159DC1369}" dt="2022-08-10T10:23:53.045" v="2138" actId="1076"/>
        <pc:sldMkLst>
          <pc:docMk/>
          <pc:sldMk cId="301037216" sldId="662"/>
        </pc:sldMkLst>
        <pc:spChg chg="mod">
          <ac:chgData name="Thomas Stensitzki" userId="75cafe6b-2f2a-469b-85c4-eec3b9c972ba" providerId="ADAL" clId="{78A7489F-5177-4675-A072-D65159DC1369}" dt="2022-08-10T10:23:53.045" v="2138" actId="1076"/>
          <ac:spMkLst>
            <pc:docMk/>
            <pc:sldMk cId="301037216" sldId="662"/>
            <ac:spMk id="2" creationId="{909DC09D-B9A6-4493-9A72-1CA7ECB1F5CA}"/>
          </ac:spMkLst>
        </pc:spChg>
      </pc:sldChg>
      <pc:sldChg chg="modSp add mod ord">
        <pc:chgData name="Thomas Stensitzki" userId="75cafe6b-2f2a-469b-85c4-eec3b9c972ba" providerId="ADAL" clId="{78A7489F-5177-4675-A072-D65159DC1369}" dt="2022-08-10T10:24:07.245" v="2143" actId="14100"/>
        <pc:sldMkLst>
          <pc:docMk/>
          <pc:sldMk cId="815879234" sldId="663"/>
        </pc:sldMkLst>
        <pc:spChg chg="mod">
          <ac:chgData name="Thomas Stensitzki" userId="75cafe6b-2f2a-469b-85c4-eec3b9c972ba" providerId="ADAL" clId="{78A7489F-5177-4675-A072-D65159DC1369}" dt="2022-08-10T10:24:07.245" v="2143" actId="14100"/>
          <ac:spMkLst>
            <pc:docMk/>
            <pc:sldMk cId="815879234" sldId="663"/>
            <ac:spMk id="2" creationId="{909DC09D-B9A6-4493-9A72-1CA7ECB1F5CA}"/>
          </ac:spMkLst>
        </pc:spChg>
      </pc:sldChg>
      <pc:sldChg chg="modSp add mod ord">
        <pc:chgData name="Thomas Stensitzki" userId="75cafe6b-2f2a-469b-85c4-eec3b9c972ba" providerId="ADAL" clId="{78A7489F-5177-4675-A072-D65159DC1369}" dt="2022-08-10T10:24:18.618" v="2147" actId="1076"/>
        <pc:sldMkLst>
          <pc:docMk/>
          <pc:sldMk cId="3506364790" sldId="664"/>
        </pc:sldMkLst>
        <pc:spChg chg="mod">
          <ac:chgData name="Thomas Stensitzki" userId="75cafe6b-2f2a-469b-85c4-eec3b9c972ba" providerId="ADAL" clId="{78A7489F-5177-4675-A072-D65159DC1369}" dt="2022-08-10T10:24:18.618" v="2147" actId="1076"/>
          <ac:spMkLst>
            <pc:docMk/>
            <pc:sldMk cId="3506364790" sldId="664"/>
            <ac:spMk id="2" creationId="{909DC09D-B9A6-4493-9A72-1CA7ECB1F5CA}"/>
          </ac:spMkLst>
        </pc:spChg>
      </pc:sldChg>
    </pc:docChg>
  </pc:docChgLst>
  <pc:docChgLst>
    <pc:chgData name="Thomas Stensitzki" userId="75cafe6b-2f2a-469b-85c4-eec3b9c972ba" providerId="ADAL" clId="{EF5284BB-E924-47D6-B186-EC378FA380D2}"/>
    <pc:docChg chg="undo redo custSel addSld delSld modSld sldOrd addSection modSection">
      <pc:chgData name="Thomas Stensitzki" userId="75cafe6b-2f2a-469b-85c4-eec3b9c972ba" providerId="ADAL" clId="{EF5284BB-E924-47D6-B186-EC378FA380D2}" dt="2023-05-25T15:52:22.583" v="5170" actId="729"/>
      <pc:docMkLst>
        <pc:docMk/>
      </pc:docMkLst>
      <pc:sldChg chg="addSp modSp mod">
        <pc:chgData name="Thomas Stensitzki" userId="75cafe6b-2f2a-469b-85c4-eec3b9c972ba" providerId="ADAL" clId="{EF5284BB-E924-47D6-B186-EC378FA380D2}" dt="2023-05-25T11:09:09.332" v="4311" actId="1076"/>
        <pc:sldMkLst>
          <pc:docMk/>
          <pc:sldMk cId="671489701" sldId="256"/>
        </pc:sldMkLst>
        <pc:spChg chg="mod">
          <ac:chgData name="Thomas Stensitzki" userId="75cafe6b-2f2a-469b-85c4-eec3b9c972ba" providerId="ADAL" clId="{EF5284BB-E924-47D6-B186-EC378FA380D2}" dt="2023-04-22T12:48:02.069" v="13" actId="20577"/>
          <ac:spMkLst>
            <pc:docMk/>
            <pc:sldMk cId="671489701" sldId="256"/>
            <ac:spMk id="3" creationId="{CBA95633-B02D-4A15-A8B1-A38E0A70FD27}"/>
          </ac:spMkLst>
        </pc:spChg>
        <pc:picChg chg="add mod">
          <ac:chgData name="Thomas Stensitzki" userId="75cafe6b-2f2a-469b-85c4-eec3b9c972ba" providerId="ADAL" clId="{EF5284BB-E924-47D6-B186-EC378FA380D2}" dt="2023-05-25T11:09:09.332" v="4311" actId="1076"/>
          <ac:picMkLst>
            <pc:docMk/>
            <pc:sldMk cId="671489701" sldId="256"/>
            <ac:picMk id="5" creationId="{C13428CA-74A7-C843-3D12-E6FB7CD644DB}"/>
          </ac:picMkLst>
        </pc:picChg>
      </pc:sldChg>
      <pc:sldChg chg="modSp mod">
        <pc:chgData name="Thomas Stensitzki" userId="75cafe6b-2f2a-469b-85c4-eec3b9c972ba" providerId="ADAL" clId="{EF5284BB-E924-47D6-B186-EC378FA380D2}" dt="2023-05-25T11:13:02.937" v="4317" actId="6549"/>
        <pc:sldMkLst>
          <pc:docMk/>
          <pc:sldMk cId="2855324227" sldId="257"/>
        </pc:sldMkLst>
        <pc:graphicFrameChg chg="mod modGraphic">
          <ac:chgData name="Thomas Stensitzki" userId="75cafe6b-2f2a-469b-85c4-eec3b9c972ba" providerId="ADAL" clId="{EF5284BB-E924-47D6-B186-EC378FA380D2}" dt="2023-05-25T11:13:02.937" v="4317" actId="6549"/>
          <ac:graphicFrameMkLst>
            <pc:docMk/>
            <pc:sldMk cId="2855324227" sldId="257"/>
            <ac:graphicFrameMk id="6" creationId="{0F955DCC-462D-431D-BBDE-26F10687D590}"/>
          </ac:graphicFrameMkLst>
        </pc:graphicFrameChg>
      </pc:sldChg>
      <pc:sldChg chg="modSp mod">
        <pc:chgData name="Thomas Stensitzki" userId="75cafe6b-2f2a-469b-85c4-eec3b9c972ba" providerId="ADAL" clId="{EF5284BB-E924-47D6-B186-EC378FA380D2}" dt="2023-04-22T12:49:12.555" v="29" actId="20577"/>
        <pc:sldMkLst>
          <pc:docMk/>
          <pc:sldMk cId="3332792154" sldId="258"/>
        </pc:sldMkLst>
        <pc:spChg chg="mod">
          <ac:chgData name="Thomas Stensitzki" userId="75cafe6b-2f2a-469b-85c4-eec3b9c972ba" providerId="ADAL" clId="{EF5284BB-E924-47D6-B186-EC378FA380D2}" dt="2023-04-22T12:49:12.555" v="29" actId="20577"/>
          <ac:spMkLst>
            <pc:docMk/>
            <pc:sldMk cId="3332792154" sldId="258"/>
            <ac:spMk id="3" creationId="{3A5A44EB-7FB9-473A-8ED3-C49DDD2E65AB}"/>
          </ac:spMkLst>
        </pc:spChg>
      </pc:sldChg>
      <pc:sldChg chg="addSp delSp modSp mod modShow">
        <pc:chgData name="Thomas Stensitzki" userId="75cafe6b-2f2a-469b-85c4-eec3b9c972ba" providerId="ADAL" clId="{EF5284BB-E924-47D6-B186-EC378FA380D2}" dt="2023-05-25T14:36:53.799" v="5042" actId="478"/>
        <pc:sldMkLst>
          <pc:docMk/>
          <pc:sldMk cId="1545829058" sldId="259"/>
        </pc:sldMkLst>
        <pc:spChg chg="del">
          <ac:chgData name="Thomas Stensitzki" userId="75cafe6b-2f2a-469b-85c4-eec3b9c972ba" providerId="ADAL" clId="{EF5284BB-E924-47D6-B186-EC378FA380D2}" dt="2023-05-25T14:36:51.793" v="5041" actId="478"/>
          <ac:spMkLst>
            <pc:docMk/>
            <pc:sldMk cId="1545829058" sldId="259"/>
            <ac:spMk id="2" creationId="{72256567-F024-492F-B46B-D63A1E867178}"/>
          </ac:spMkLst>
        </pc:spChg>
        <pc:spChg chg="add del mod">
          <ac:chgData name="Thomas Stensitzki" userId="75cafe6b-2f2a-469b-85c4-eec3b9c972ba" providerId="ADAL" clId="{EF5284BB-E924-47D6-B186-EC378FA380D2}" dt="2023-05-25T14:36:53.799" v="5042" actId="478"/>
          <ac:spMkLst>
            <pc:docMk/>
            <pc:sldMk cId="1545829058" sldId="259"/>
            <ac:spMk id="5" creationId="{3F167C4A-893C-6682-23DD-52FFDC5B0F3B}"/>
          </ac:spMkLst>
        </pc:spChg>
        <pc:picChg chg="del">
          <ac:chgData name="Thomas Stensitzki" userId="75cafe6b-2f2a-469b-85c4-eec3b9c972ba" providerId="ADAL" clId="{EF5284BB-E924-47D6-B186-EC378FA380D2}" dt="2023-05-05T13:31:00.706" v="32" actId="478"/>
          <ac:picMkLst>
            <pc:docMk/>
            <pc:sldMk cId="1545829058" sldId="259"/>
            <ac:picMk id="4" creationId="{31DC9F61-9044-6FE5-0374-686D575A8A28}"/>
          </ac:picMkLst>
        </pc:picChg>
      </pc:sldChg>
      <pc:sldChg chg="addSp modSp mod">
        <pc:chgData name="Thomas Stensitzki" userId="75cafe6b-2f2a-469b-85c4-eec3b9c972ba" providerId="ADAL" clId="{EF5284BB-E924-47D6-B186-EC378FA380D2}" dt="2023-05-25T11:24:57.393" v="4641" actId="1076"/>
        <pc:sldMkLst>
          <pc:docMk/>
          <pc:sldMk cId="2698998357" sldId="260"/>
        </pc:sldMkLst>
        <pc:spChg chg="mod">
          <ac:chgData name="Thomas Stensitzki" userId="75cafe6b-2f2a-469b-85c4-eec3b9c972ba" providerId="ADAL" clId="{EF5284BB-E924-47D6-B186-EC378FA380D2}" dt="2023-05-05T13:33:43.085" v="165"/>
          <ac:spMkLst>
            <pc:docMk/>
            <pc:sldMk cId="2698998357" sldId="260"/>
            <ac:spMk id="4" creationId="{F3A15CBD-C746-44A3-A4F0-4898CE2F02E6}"/>
          </ac:spMkLst>
        </pc:spChg>
        <pc:spChg chg="mod">
          <ac:chgData name="Thomas Stensitzki" userId="75cafe6b-2f2a-469b-85c4-eec3b9c972ba" providerId="ADAL" clId="{EF5284BB-E924-47D6-B186-EC378FA380D2}" dt="2023-05-05T13:33:50.808" v="183" actId="5793"/>
          <ac:spMkLst>
            <pc:docMk/>
            <pc:sldMk cId="2698998357" sldId="260"/>
            <ac:spMk id="5" creationId="{F3459BE7-1731-4733-A912-12977C68CFD6}"/>
          </ac:spMkLst>
        </pc:spChg>
        <pc:picChg chg="add mod">
          <ac:chgData name="Thomas Stensitzki" userId="75cafe6b-2f2a-469b-85c4-eec3b9c972ba" providerId="ADAL" clId="{EF5284BB-E924-47D6-B186-EC378FA380D2}" dt="2023-05-25T11:24:57.393" v="4641" actId="1076"/>
          <ac:picMkLst>
            <pc:docMk/>
            <pc:sldMk cId="2698998357" sldId="260"/>
            <ac:picMk id="2" creationId="{2D4F20BA-957A-E4A8-5973-4395A784304B}"/>
          </ac:picMkLst>
        </pc:picChg>
      </pc:sldChg>
      <pc:sldChg chg="addSp modSp mod">
        <pc:chgData name="Thomas Stensitzki" userId="75cafe6b-2f2a-469b-85c4-eec3b9c972ba" providerId="ADAL" clId="{EF5284BB-E924-47D6-B186-EC378FA380D2}" dt="2023-05-25T11:25:05.591" v="4642"/>
        <pc:sldMkLst>
          <pc:docMk/>
          <pc:sldMk cId="4007670073" sldId="268"/>
        </pc:sldMkLst>
        <pc:spChg chg="mod">
          <ac:chgData name="Thomas Stensitzki" userId="75cafe6b-2f2a-469b-85c4-eec3b9c972ba" providerId="ADAL" clId="{EF5284BB-E924-47D6-B186-EC378FA380D2}" dt="2023-05-05T13:33:57.816" v="185" actId="6549"/>
          <ac:spMkLst>
            <pc:docMk/>
            <pc:sldMk cId="4007670073" sldId="268"/>
            <ac:spMk id="5" creationId="{F3459BE7-1731-4733-A912-12977C68CFD6}"/>
          </ac:spMkLst>
        </pc:spChg>
        <pc:picChg chg="add mod">
          <ac:chgData name="Thomas Stensitzki" userId="75cafe6b-2f2a-469b-85c4-eec3b9c972ba" providerId="ADAL" clId="{EF5284BB-E924-47D6-B186-EC378FA380D2}" dt="2023-05-25T11:25:05.591" v="4642"/>
          <ac:picMkLst>
            <pc:docMk/>
            <pc:sldMk cId="4007670073" sldId="268"/>
            <ac:picMk id="3" creationId="{9CE283F6-AC42-BB12-8269-56DA34520BEB}"/>
          </ac:picMkLst>
        </pc:picChg>
      </pc:sldChg>
      <pc:sldChg chg="modSp mod modShow">
        <pc:chgData name="Thomas Stensitzki" userId="75cafe6b-2f2a-469b-85c4-eec3b9c972ba" providerId="ADAL" clId="{EF5284BB-E924-47D6-B186-EC378FA380D2}" dt="2023-05-25T15:52:22.583" v="5170" actId="729"/>
        <pc:sldMkLst>
          <pc:docMk/>
          <pc:sldMk cId="2721051844" sldId="269"/>
        </pc:sldMkLst>
        <pc:spChg chg="mod">
          <ac:chgData name="Thomas Stensitzki" userId="75cafe6b-2f2a-469b-85c4-eec3b9c972ba" providerId="ADAL" clId="{EF5284BB-E924-47D6-B186-EC378FA380D2}" dt="2023-04-22T12:48:42.474" v="20" actId="3626"/>
          <ac:spMkLst>
            <pc:docMk/>
            <pc:sldMk cId="2721051844" sldId="269"/>
            <ac:spMk id="5" creationId="{C24DACB5-1BEC-4C86-9652-BAFD8DE56FEF}"/>
          </ac:spMkLst>
        </pc:spChg>
      </pc:sldChg>
      <pc:sldChg chg="modSp mod">
        <pc:chgData name="Thomas Stensitzki" userId="75cafe6b-2f2a-469b-85c4-eec3b9c972ba" providerId="ADAL" clId="{EF5284BB-E924-47D6-B186-EC378FA380D2}" dt="2023-05-16T14:30:56.347" v="2648"/>
        <pc:sldMkLst>
          <pc:docMk/>
          <pc:sldMk cId="2227487991" sldId="378"/>
        </pc:sldMkLst>
        <pc:spChg chg="mod">
          <ac:chgData name="Thomas Stensitzki" userId="75cafe6b-2f2a-469b-85c4-eec3b9c972ba" providerId="ADAL" clId="{EF5284BB-E924-47D6-B186-EC378FA380D2}" dt="2023-05-16T13:54:32.987" v="2420" actId="1035"/>
          <ac:spMkLst>
            <pc:docMk/>
            <pc:sldMk cId="2227487991" sldId="378"/>
            <ac:spMk id="2" creationId="{909DC09D-B9A6-4493-9A72-1CA7ECB1F5CA}"/>
          </ac:spMkLst>
        </pc:spChg>
        <pc:spChg chg="mod">
          <ac:chgData name="Thomas Stensitzki" userId="75cafe6b-2f2a-469b-85c4-eec3b9c972ba" providerId="ADAL" clId="{EF5284BB-E924-47D6-B186-EC378FA380D2}" dt="2023-05-16T14:30:56.347" v="2648"/>
          <ac:spMkLst>
            <pc:docMk/>
            <pc:sldMk cId="2227487991" sldId="378"/>
            <ac:spMk id="5" creationId="{C24DACB5-1BEC-4C86-9652-BAFD8DE56FEF}"/>
          </ac:spMkLst>
        </pc:spChg>
      </pc:sldChg>
      <pc:sldChg chg="modSp mod modNotesTx">
        <pc:chgData name="Thomas Stensitzki" userId="75cafe6b-2f2a-469b-85c4-eec3b9c972ba" providerId="ADAL" clId="{EF5284BB-E924-47D6-B186-EC378FA380D2}" dt="2023-05-25T08:52:29.966" v="3982" actId="6549"/>
        <pc:sldMkLst>
          <pc:docMk/>
          <pc:sldMk cId="3797754622" sldId="515"/>
        </pc:sldMkLst>
        <pc:spChg chg="mod">
          <ac:chgData name="Thomas Stensitzki" userId="75cafe6b-2f2a-469b-85c4-eec3b9c972ba" providerId="ADAL" clId="{EF5284BB-E924-47D6-B186-EC378FA380D2}" dt="2023-05-25T08:49:25.540" v="3940" actId="14100"/>
          <ac:spMkLst>
            <pc:docMk/>
            <pc:sldMk cId="3797754622" sldId="515"/>
            <ac:spMk id="2" creationId="{909DC09D-B9A6-4493-9A72-1CA7ECB1F5CA}"/>
          </ac:spMkLst>
        </pc:spChg>
        <pc:spChg chg="mod">
          <ac:chgData name="Thomas Stensitzki" userId="75cafe6b-2f2a-469b-85c4-eec3b9c972ba" providerId="ADAL" clId="{EF5284BB-E924-47D6-B186-EC378FA380D2}" dt="2023-05-25T08:49:15.100" v="3936" actId="255"/>
          <ac:spMkLst>
            <pc:docMk/>
            <pc:sldMk cId="3797754622" sldId="515"/>
            <ac:spMk id="5" creationId="{C24DACB5-1BEC-4C86-9652-BAFD8DE56FEF}"/>
          </ac:spMkLst>
        </pc:spChg>
      </pc:sldChg>
      <pc:sldChg chg="addSp modSp mod">
        <pc:chgData name="Thomas Stensitzki" userId="75cafe6b-2f2a-469b-85c4-eec3b9c972ba" providerId="ADAL" clId="{EF5284BB-E924-47D6-B186-EC378FA380D2}" dt="2023-05-25T11:09:52.973" v="4316" actId="1076"/>
        <pc:sldMkLst>
          <pc:docMk/>
          <pc:sldMk cId="2791634409" sldId="560"/>
        </pc:sldMkLst>
        <pc:picChg chg="add mod">
          <ac:chgData name="Thomas Stensitzki" userId="75cafe6b-2f2a-469b-85c4-eec3b9c972ba" providerId="ADAL" clId="{EF5284BB-E924-47D6-B186-EC378FA380D2}" dt="2023-05-25T11:09:52.973" v="4316" actId="1076"/>
          <ac:picMkLst>
            <pc:docMk/>
            <pc:sldMk cId="2791634409" sldId="560"/>
            <ac:picMk id="3" creationId="{1D717E81-E6CC-BDE9-9A9C-D2158447BB7A}"/>
          </ac:picMkLst>
        </pc:picChg>
      </pc:sldChg>
      <pc:sldChg chg="del">
        <pc:chgData name="Thomas Stensitzki" userId="75cafe6b-2f2a-469b-85c4-eec3b9c972ba" providerId="ADAL" clId="{EF5284BB-E924-47D6-B186-EC378FA380D2}" dt="2023-04-22T12:48:47.770" v="21" actId="2696"/>
        <pc:sldMkLst>
          <pc:docMk/>
          <pc:sldMk cId="1728515471" sldId="561"/>
        </pc:sldMkLst>
      </pc:sldChg>
      <pc:sldChg chg="addSp modSp mod">
        <pc:chgData name="Thomas Stensitzki" userId="75cafe6b-2f2a-469b-85c4-eec3b9c972ba" providerId="ADAL" clId="{EF5284BB-E924-47D6-B186-EC378FA380D2}" dt="2023-05-25T11:25:12.398" v="4643"/>
        <pc:sldMkLst>
          <pc:docMk/>
          <pc:sldMk cId="1962477249" sldId="659"/>
        </pc:sldMkLst>
        <pc:spChg chg="mod">
          <ac:chgData name="Thomas Stensitzki" userId="75cafe6b-2f2a-469b-85c4-eec3b9c972ba" providerId="ADAL" clId="{EF5284BB-E924-47D6-B186-EC378FA380D2}" dt="2023-05-05T13:34:05.865" v="187" actId="6549"/>
          <ac:spMkLst>
            <pc:docMk/>
            <pc:sldMk cId="1962477249" sldId="659"/>
            <ac:spMk id="5" creationId="{F3459BE7-1731-4733-A912-12977C68CFD6}"/>
          </ac:spMkLst>
        </pc:spChg>
        <pc:picChg chg="add mod">
          <ac:chgData name="Thomas Stensitzki" userId="75cafe6b-2f2a-469b-85c4-eec3b9c972ba" providerId="ADAL" clId="{EF5284BB-E924-47D6-B186-EC378FA380D2}" dt="2023-05-25T11:25:12.398" v="4643"/>
          <ac:picMkLst>
            <pc:docMk/>
            <pc:sldMk cId="1962477249" sldId="659"/>
            <ac:picMk id="3" creationId="{C61DC060-45E2-C7DD-1E04-4E20BAFB2FFA}"/>
          </ac:picMkLst>
        </pc:picChg>
      </pc:sldChg>
      <pc:sldChg chg="del">
        <pc:chgData name="Thomas Stensitzki" userId="75cafe6b-2f2a-469b-85c4-eec3b9c972ba" providerId="ADAL" clId="{EF5284BB-E924-47D6-B186-EC378FA380D2}" dt="2023-04-22T12:48:27.349" v="16" actId="47"/>
        <pc:sldMkLst>
          <pc:docMk/>
          <pc:sldMk cId="1307406210" sldId="660"/>
        </pc:sldMkLst>
      </pc:sldChg>
      <pc:sldChg chg="add mod modShow">
        <pc:chgData name="Thomas Stensitzki" userId="75cafe6b-2f2a-469b-85c4-eec3b9c972ba" providerId="ADAL" clId="{EF5284BB-E924-47D6-B186-EC378FA380D2}" dt="2023-05-05T13:31:07.386" v="33" actId="729"/>
        <pc:sldMkLst>
          <pc:docMk/>
          <pc:sldMk cId="2553020497" sldId="660"/>
        </pc:sldMkLst>
      </pc:sldChg>
      <pc:sldChg chg="del">
        <pc:chgData name="Thomas Stensitzki" userId="75cafe6b-2f2a-469b-85c4-eec3b9c972ba" providerId="ADAL" clId="{EF5284BB-E924-47D6-B186-EC378FA380D2}" dt="2023-04-22T12:48:27.349" v="16" actId="47"/>
        <pc:sldMkLst>
          <pc:docMk/>
          <pc:sldMk cId="3311861693" sldId="661"/>
        </pc:sldMkLst>
      </pc:sldChg>
      <pc:sldChg chg="addSp modSp add mod ord">
        <pc:chgData name="Thomas Stensitzki" userId="75cafe6b-2f2a-469b-85c4-eec3b9c972ba" providerId="ADAL" clId="{EF5284BB-E924-47D6-B186-EC378FA380D2}" dt="2023-05-25T11:25:18.142" v="4644"/>
        <pc:sldMkLst>
          <pc:docMk/>
          <pc:sldMk cId="4212332529" sldId="661"/>
        </pc:sldMkLst>
        <pc:spChg chg="mod">
          <ac:chgData name="Thomas Stensitzki" userId="75cafe6b-2f2a-469b-85c4-eec3b9c972ba" providerId="ADAL" clId="{EF5284BB-E924-47D6-B186-EC378FA380D2}" dt="2023-05-05T13:34:58.783" v="226" actId="20577"/>
          <ac:spMkLst>
            <pc:docMk/>
            <pc:sldMk cId="4212332529" sldId="661"/>
            <ac:spMk id="4" creationId="{F3A15CBD-C746-44A3-A4F0-4898CE2F02E6}"/>
          </ac:spMkLst>
        </pc:spChg>
        <pc:spChg chg="mod">
          <ac:chgData name="Thomas Stensitzki" userId="75cafe6b-2f2a-469b-85c4-eec3b9c972ba" providerId="ADAL" clId="{EF5284BB-E924-47D6-B186-EC378FA380D2}" dt="2023-05-05T13:35:15.856" v="295" actId="6549"/>
          <ac:spMkLst>
            <pc:docMk/>
            <pc:sldMk cId="4212332529" sldId="661"/>
            <ac:spMk id="5" creationId="{F3459BE7-1731-4733-A912-12977C68CFD6}"/>
          </ac:spMkLst>
        </pc:spChg>
        <pc:picChg chg="add mod">
          <ac:chgData name="Thomas Stensitzki" userId="75cafe6b-2f2a-469b-85c4-eec3b9c972ba" providerId="ADAL" clId="{EF5284BB-E924-47D6-B186-EC378FA380D2}" dt="2023-05-25T11:25:18.142" v="4644"/>
          <ac:picMkLst>
            <pc:docMk/>
            <pc:sldMk cId="4212332529" sldId="661"/>
            <ac:picMk id="2" creationId="{8ABE994D-B550-9FCC-E7C1-ECE0C1DCC1FF}"/>
          </ac:picMkLst>
        </pc:picChg>
      </pc:sldChg>
      <pc:sldChg chg="del">
        <pc:chgData name="Thomas Stensitzki" userId="75cafe6b-2f2a-469b-85c4-eec3b9c972ba" providerId="ADAL" clId="{EF5284BB-E924-47D6-B186-EC378FA380D2}" dt="2023-04-22T12:48:08.972" v="14" actId="47"/>
        <pc:sldMkLst>
          <pc:docMk/>
          <pc:sldMk cId="561974499" sldId="662"/>
        </pc:sldMkLst>
      </pc:sldChg>
      <pc:sldChg chg="addSp delSp modSp new mod modClrScheme chgLayout">
        <pc:chgData name="Thomas Stensitzki" userId="75cafe6b-2f2a-469b-85c4-eec3b9c972ba" providerId="ADAL" clId="{EF5284BB-E924-47D6-B186-EC378FA380D2}" dt="2023-05-14T13:10:12.331" v="910" actId="20577"/>
        <pc:sldMkLst>
          <pc:docMk/>
          <pc:sldMk cId="3400462124" sldId="662"/>
        </pc:sldMkLst>
        <pc:spChg chg="del mod ord">
          <ac:chgData name="Thomas Stensitzki" userId="75cafe6b-2f2a-469b-85c4-eec3b9c972ba" providerId="ADAL" clId="{EF5284BB-E924-47D6-B186-EC378FA380D2}" dt="2023-05-05T13:36:54.987" v="297" actId="700"/>
          <ac:spMkLst>
            <pc:docMk/>
            <pc:sldMk cId="3400462124" sldId="662"/>
            <ac:spMk id="2" creationId="{CEA95662-794B-C67A-0630-883E901167BB}"/>
          </ac:spMkLst>
        </pc:spChg>
        <pc:spChg chg="del mod ord">
          <ac:chgData name="Thomas Stensitzki" userId="75cafe6b-2f2a-469b-85c4-eec3b9c972ba" providerId="ADAL" clId="{EF5284BB-E924-47D6-B186-EC378FA380D2}" dt="2023-05-05T13:36:54.987" v="297" actId="700"/>
          <ac:spMkLst>
            <pc:docMk/>
            <pc:sldMk cId="3400462124" sldId="662"/>
            <ac:spMk id="3" creationId="{80C27109-BE45-08B8-E05B-ADE006E84604}"/>
          </ac:spMkLst>
        </pc:spChg>
        <pc:spChg chg="add mod ord">
          <ac:chgData name="Thomas Stensitzki" userId="75cafe6b-2f2a-469b-85c4-eec3b9c972ba" providerId="ADAL" clId="{EF5284BB-E924-47D6-B186-EC378FA380D2}" dt="2023-05-05T13:37:00.372" v="317" actId="20577"/>
          <ac:spMkLst>
            <pc:docMk/>
            <pc:sldMk cId="3400462124" sldId="662"/>
            <ac:spMk id="4" creationId="{A1DC0E2E-74E0-3BC5-72ED-E30800A4AA48}"/>
          </ac:spMkLst>
        </pc:spChg>
        <pc:spChg chg="add mod ord">
          <ac:chgData name="Thomas Stensitzki" userId="75cafe6b-2f2a-469b-85c4-eec3b9c972ba" providerId="ADAL" clId="{EF5284BB-E924-47D6-B186-EC378FA380D2}" dt="2023-05-14T13:10:12.331" v="910" actId="20577"/>
          <ac:spMkLst>
            <pc:docMk/>
            <pc:sldMk cId="3400462124" sldId="662"/>
            <ac:spMk id="5" creationId="{E7E44277-3BFB-F197-AA87-8A0AE4DCEB5D}"/>
          </ac:spMkLst>
        </pc:spChg>
      </pc:sldChg>
      <pc:sldChg chg="del">
        <pc:chgData name="Thomas Stensitzki" userId="75cafe6b-2f2a-469b-85c4-eec3b9c972ba" providerId="ADAL" clId="{EF5284BB-E924-47D6-B186-EC378FA380D2}" dt="2023-04-22T12:48:08.972" v="14" actId="47"/>
        <pc:sldMkLst>
          <pc:docMk/>
          <pc:sldMk cId="102271189" sldId="663"/>
        </pc:sldMkLst>
      </pc:sldChg>
      <pc:sldChg chg="addSp delSp modSp new mod modClrScheme modAnim chgLayout">
        <pc:chgData name="Thomas Stensitzki" userId="75cafe6b-2f2a-469b-85c4-eec3b9c972ba" providerId="ADAL" clId="{EF5284BB-E924-47D6-B186-EC378FA380D2}" dt="2023-05-25T09:03:04.546" v="4012"/>
        <pc:sldMkLst>
          <pc:docMk/>
          <pc:sldMk cId="3908660988" sldId="663"/>
        </pc:sldMkLst>
        <pc:spChg chg="del mod ord">
          <ac:chgData name="Thomas Stensitzki" userId="75cafe6b-2f2a-469b-85c4-eec3b9c972ba" providerId="ADAL" clId="{EF5284BB-E924-47D6-B186-EC378FA380D2}" dt="2023-05-05T13:37:12.891" v="319" actId="700"/>
          <ac:spMkLst>
            <pc:docMk/>
            <pc:sldMk cId="3908660988" sldId="663"/>
            <ac:spMk id="2" creationId="{2636A305-A3A2-D4FA-B776-9B637C29CE35}"/>
          </ac:spMkLst>
        </pc:spChg>
        <pc:spChg chg="del mod ord">
          <ac:chgData name="Thomas Stensitzki" userId="75cafe6b-2f2a-469b-85c4-eec3b9c972ba" providerId="ADAL" clId="{EF5284BB-E924-47D6-B186-EC378FA380D2}" dt="2023-05-05T13:37:12.891" v="319" actId="700"/>
          <ac:spMkLst>
            <pc:docMk/>
            <pc:sldMk cId="3908660988" sldId="663"/>
            <ac:spMk id="3" creationId="{052E4D58-0EA2-F0A8-ACAB-CA2348254226}"/>
          </ac:spMkLst>
        </pc:spChg>
        <pc:spChg chg="add mod ord">
          <ac:chgData name="Thomas Stensitzki" userId="75cafe6b-2f2a-469b-85c4-eec3b9c972ba" providerId="ADAL" clId="{EF5284BB-E924-47D6-B186-EC378FA380D2}" dt="2023-05-05T13:37:21.576" v="341" actId="20577"/>
          <ac:spMkLst>
            <pc:docMk/>
            <pc:sldMk cId="3908660988" sldId="663"/>
            <ac:spMk id="4" creationId="{8B57E8B7-21F9-9C4A-F688-BE94D27A5606}"/>
          </ac:spMkLst>
        </pc:spChg>
        <pc:spChg chg="add mod ord">
          <ac:chgData name="Thomas Stensitzki" userId="75cafe6b-2f2a-469b-85c4-eec3b9c972ba" providerId="ADAL" clId="{EF5284BB-E924-47D6-B186-EC378FA380D2}" dt="2023-05-22T14:48:03.790" v="3076" actId="20577"/>
          <ac:spMkLst>
            <pc:docMk/>
            <pc:sldMk cId="3908660988" sldId="663"/>
            <ac:spMk id="5" creationId="{625FA0D5-DCEE-2BAB-6DA2-F7B27428066F}"/>
          </ac:spMkLst>
        </pc:spChg>
      </pc:sldChg>
      <pc:sldChg chg="del">
        <pc:chgData name="Thomas Stensitzki" userId="75cafe6b-2f2a-469b-85c4-eec3b9c972ba" providerId="ADAL" clId="{EF5284BB-E924-47D6-B186-EC378FA380D2}" dt="2023-04-22T12:48:08.972" v="14" actId="47"/>
        <pc:sldMkLst>
          <pc:docMk/>
          <pc:sldMk cId="754705698" sldId="664"/>
        </pc:sldMkLst>
      </pc:sldChg>
      <pc:sldChg chg="addSp delSp modSp new mod modClrScheme chgLayout">
        <pc:chgData name="Thomas Stensitzki" userId="75cafe6b-2f2a-469b-85c4-eec3b9c972ba" providerId="ADAL" clId="{EF5284BB-E924-47D6-B186-EC378FA380D2}" dt="2023-05-25T14:47:02.428" v="5067" actId="1076"/>
        <pc:sldMkLst>
          <pc:docMk/>
          <pc:sldMk cId="1830824739" sldId="664"/>
        </pc:sldMkLst>
        <pc:spChg chg="del mod ord">
          <ac:chgData name="Thomas Stensitzki" userId="75cafe6b-2f2a-469b-85c4-eec3b9c972ba" providerId="ADAL" clId="{EF5284BB-E924-47D6-B186-EC378FA380D2}" dt="2023-05-05T13:37:32.166" v="343" actId="700"/>
          <ac:spMkLst>
            <pc:docMk/>
            <pc:sldMk cId="1830824739" sldId="664"/>
            <ac:spMk id="2" creationId="{CF713D5A-58F3-D04A-4F3A-7639578A1345}"/>
          </ac:spMkLst>
        </pc:spChg>
        <pc:spChg chg="del mod ord">
          <ac:chgData name="Thomas Stensitzki" userId="75cafe6b-2f2a-469b-85c4-eec3b9c972ba" providerId="ADAL" clId="{EF5284BB-E924-47D6-B186-EC378FA380D2}" dt="2023-05-05T13:37:32.166" v="343" actId="700"/>
          <ac:spMkLst>
            <pc:docMk/>
            <pc:sldMk cId="1830824739" sldId="664"/>
            <ac:spMk id="3" creationId="{7EDABC3B-EC74-5617-7C84-63A99711CBDF}"/>
          </ac:spMkLst>
        </pc:spChg>
        <pc:spChg chg="add mod ord">
          <ac:chgData name="Thomas Stensitzki" userId="75cafe6b-2f2a-469b-85c4-eec3b9c972ba" providerId="ADAL" clId="{EF5284BB-E924-47D6-B186-EC378FA380D2}" dt="2023-05-05T13:37:34.938" v="347" actId="20577"/>
          <ac:spMkLst>
            <pc:docMk/>
            <pc:sldMk cId="1830824739" sldId="664"/>
            <ac:spMk id="4" creationId="{18422859-2D8A-5BA0-AA13-599BA873DB50}"/>
          </ac:spMkLst>
        </pc:spChg>
        <pc:spChg chg="add mod ord">
          <ac:chgData name="Thomas Stensitzki" userId="75cafe6b-2f2a-469b-85c4-eec3b9c972ba" providerId="ADAL" clId="{EF5284BB-E924-47D6-B186-EC378FA380D2}" dt="2023-05-05T13:37:41.380" v="364" actId="20577"/>
          <ac:spMkLst>
            <pc:docMk/>
            <pc:sldMk cId="1830824739" sldId="664"/>
            <ac:spMk id="5" creationId="{1E1DE4E1-A74E-A899-8E71-F5CA4B44F1A5}"/>
          </ac:spMkLst>
        </pc:spChg>
        <pc:picChg chg="add mod">
          <ac:chgData name="Thomas Stensitzki" userId="75cafe6b-2f2a-469b-85c4-eec3b9c972ba" providerId="ADAL" clId="{EF5284BB-E924-47D6-B186-EC378FA380D2}" dt="2023-05-25T14:47:02.428" v="5067" actId="1076"/>
          <ac:picMkLst>
            <pc:docMk/>
            <pc:sldMk cId="1830824739" sldId="664"/>
            <ac:picMk id="3" creationId="{9978F4A4-5D9A-3568-EE56-A5217624703F}"/>
          </ac:picMkLst>
        </pc:picChg>
      </pc:sldChg>
      <pc:sldChg chg="modSp add mod modAnim">
        <pc:chgData name="Thomas Stensitzki" userId="75cafe6b-2f2a-469b-85c4-eec3b9c972ba" providerId="ADAL" clId="{EF5284BB-E924-47D6-B186-EC378FA380D2}" dt="2023-05-25T15:44:38.233" v="5122" actId="6549"/>
        <pc:sldMkLst>
          <pc:docMk/>
          <pc:sldMk cId="923570546" sldId="665"/>
        </pc:sldMkLst>
        <pc:spChg chg="mod">
          <ac:chgData name="Thomas Stensitzki" userId="75cafe6b-2f2a-469b-85c4-eec3b9c972ba" providerId="ADAL" clId="{EF5284BB-E924-47D6-B186-EC378FA380D2}" dt="2023-05-14T13:14:38.215" v="1248" actId="20577"/>
          <ac:spMkLst>
            <pc:docMk/>
            <pc:sldMk cId="923570546" sldId="665"/>
            <ac:spMk id="4" creationId="{8B57E8B7-21F9-9C4A-F688-BE94D27A5606}"/>
          </ac:spMkLst>
        </pc:spChg>
        <pc:spChg chg="mod">
          <ac:chgData name="Thomas Stensitzki" userId="75cafe6b-2f2a-469b-85c4-eec3b9c972ba" providerId="ADAL" clId="{EF5284BB-E924-47D6-B186-EC378FA380D2}" dt="2023-05-25T15:44:38.233" v="5122" actId="6549"/>
          <ac:spMkLst>
            <pc:docMk/>
            <pc:sldMk cId="923570546" sldId="665"/>
            <ac:spMk id="5" creationId="{625FA0D5-DCEE-2BAB-6DA2-F7B27428066F}"/>
          </ac:spMkLst>
        </pc:spChg>
      </pc:sldChg>
      <pc:sldChg chg="del">
        <pc:chgData name="Thomas Stensitzki" userId="75cafe6b-2f2a-469b-85c4-eec3b9c972ba" providerId="ADAL" clId="{EF5284BB-E924-47D6-B186-EC378FA380D2}" dt="2023-04-22T12:48:15.704" v="15" actId="47"/>
        <pc:sldMkLst>
          <pc:docMk/>
          <pc:sldMk cId="3467690866" sldId="665"/>
        </pc:sldMkLst>
      </pc:sldChg>
      <pc:sldChg chg="del">
        <pc:chgData name="Thomas Stensitzki" userId="75cafe6b-2f2a-469b-85c4-eec3b9c972ba" providerId="ADAL" clId="{EF5284BB-E924-47D6-B186-EC378FA380D2}" dt="2023-04-22T12:48:27.349" v="16" actId="47"/>
        <pc:sldMkLst>
          <pc:docMk/>
          <pc:sldMk cId="1478336555" sldId="666"/>
        </pc:sldMkLst>
      </pc:sldChg>
      <pc:sldChg chg="addSp delSp modSp new mod modClrScheme chgLayout modNotesTx">
        <pc:chgData name="Thomas Stensitzki" userId="75cafe6b-2f2a-469b-85c4-eec3b9c972ba" providerId="ADAL" clId="{EF5284BB-E924-47D6-B186-EC378FA380D2}" dt="2023-05-25T10:53:23.995" v="4269" actId="6549"/>
        <pc:sldMkLst>
          <pc:docMk/>
          <pc:sldMk cId="2929133666" sldId="666"/>
        </pc:sldMkLst>
        <pc:spChg chg="add mod">
          <ac:chgData name="Thomas Stensitzki" userId="75cafe6b-2f2a-469b-85c4-eec3b9c972ba" providerId="ADAL" clId="{EF5284BB-E924-47D6-B186-EC378FA380D2}" dt="2023-05-25T09:09:27.525" v="4081" actId="20577"/>
          <ac:spMkLst>
            <pc:docMk/>
            <pc:sldMk cId="2929133666" sldId="666"/>
            <ac:spMk id="2" creationId="{169B400C-33DC-82BA-98A2-3BA12ED9FA28}"/>
          </ac:spMkLst>
        </pc:spChg>
        <pc:spChg chg="del mod ord">
          <ac:chgData name="Thomas Stensitzki" userId="75cafe6b-2f2a-469b-85c4-eec3b9c972ba" providerId="ADAL" clId="{EF5284BB-E924-47D6-B186-EC378FA380D2}" dt="2023-05-05T13:42:06.958" v="484" actId="700"/>
          <ac:spMkLst>
            <pc:docMk/>
            <pc:sldMk cId="2929133666" sldId="666"/>
            <ac:spMk id="2" creationId="{1977D1D6-BFA9-856C-DA62-DB1A639AD46C}"/>
          </ac:spMkLst>
        </pc:spChg>
        <pc:spChg chg="del mod ord">
          <ac:chgData name="Thomas Stensitzki" userId="75cafe6b-2f2a-469b-85c4-eec3b9c972ba" providerId="ADAL" clId="{EF5284BB-E924-47D6-B186-EC378FA380D2}" dt="2023-05-05T13:42:06.958" v="484" actId="700"/>
          <ac:spMkLst>
            <pc:docMk/>
            <pc:sldMk cId="2929133666" sldId="666"/>
            <ac:spMk id="3" creationId="{026BAD66-5FC6-5EA8-42C3-10A56C0A80F9}"/>
          </ac:spMkLst>
        </pc:spChg>
        <pc:spChg chg="add mod ord">
          <ac:chgData name="Thomas Stensitzki" userId="75cafe6b-2f2a-469b-85c4-eec3b9c972ba" providerId="ADAL" clId="{EF5284BB-E924-47D6-B186-EC378FA380D2}" dt="2023-05-05T13:42:12.553" v="494" actId="20577"/>
          <ac:spMkLst>
            <pc:docMk/>
            <pc:sldMk cId="2929133666" sldId="666"/>
            <ac:spMk id="4" creationId="{9D4128E2-FBA7-900F-7B66-CEEBB9C7063C}"/>
          </ac:spMkLst>
        </pc:spChg>
        <pc:spChg chg="add mod ord">
          <ac:chgData name="Thomas Stensitzki" userId="75cafe6b-2f2a-469b-85c4-eec3b9c972ba" providerId="ADAL" clId="{EF5284BB-E924-47D6-B186-EC378FA380D2}" dt="2023-05-14T13:37:37.113" v="2112" actId="20577"/>
          <ac:spMkLst>
            <pc:docMk/>
            <pc:sldMk cId="2929133666" sldId="666"/>
            <ac:spMk id="5" creationId="{0C5A623D-94AE-2D59-FFE6-1DB4A44070C0}"/>
          </ac:spMkLst>
        </pc:spChg>
        <pc:picChg chg="mod">
          <ac:chgData name="Thomas Stensitzki" userId="75cafe6b-2f2a-469b-85c4-eec3b9c972ba" providerId="ADAL" clId="{EF5284BB-E924-47D6-B186-EC378FA380D2}" dt="2023-05-25T09:05:17.278" v="4048" actId="1035"/>
          <ac:picMkLst>
            <pc:docMk/>
            <pc:sldMk cId="2929133666" sldId="666"/>
            <ac:picMk id="6" creationId="{C8D4B2FE-EDD8-50E5-8B16-7E008C16F86F}"/>
          </ac:picMkLst>
        </pc:picChg>
      </pc:sldChg>
      <pc:sldChg chg="addSp delSp modSp new mod">
        <pc:chgData name="Thomas Stensitzki" userId="75cafe6b-2f2a-469b-85c4-eec3b9c972ba" providerId="ADAL" clId="{EF5284BB-E924-47D6-B186-EC378FA380D2}" dt="2023-05-14T13:16:14.120" v="1270"/>
        <pc:sldMkLst>
          <pc:docMk/>
          <pc:sldMk cId="3802477703" sldId="667"/>
        </pc:sldMkLst>
        <pc:spChg chg="mod">
          <ac:chgData name="Thomas Stensitzki" userId="75cafe6b-2f2a-469b-85c4-eec3b9c972ba" providerId="ADAL" clId="{EF5284BB-E924-47D6-B186-EC378FA380D2}" dt="2023-05-14T13:16:14.120" v="1270"/>
          <ac:spMkLst>
            <pc:docMk/>
            <pc:sldMk cId="3802477703" sldId="667"/>
            <ac:spMk id="2" creationId="{943B72FB-CB54-134D-1ABF-BCBFE774C15F}"/>
          </ac:spMkLst>
        </pc:spChg>
        <pc:spChg chg="del">
          <ac:chgData name="Thomas Stensitzki" userId="75cafe6b-2f2a-469b-85c4-eec3b9c972ba" providerId="ADAL" clId="{EF5284BB-E924-47D6-B186-EC378FA380D2}" dt="2023-05-05T13:49:41.352" v="807" actId="478"/>
          <ac:spMkLst>
            <pc:docMk/>
            <pc:sldMk cId="3802477703" sldId="667"/>
            <ac:spMk id="3" creationId="{591A6973-6760-BA6D-4064-29955362EF3A}"/>
          </ac:spMkLst>
        </pc:spChg>
        <pc:picChg chg="add mod">
          <ac:chgData name="Thomas Stensitzki" userId="75cafe6b-2f2a-469b-85c4-eec3b9c972ba" providerId="ADAL" clId="{EF5284BB-E924-47D6-B186-EC378FA380D2}" dt="2023-05-05T13:50:00.782" v="811" actId="1440"/>
          <ac:picMkLst>
            <pc:docMk/>
            <pc:sldMk cId="3802477703" sldId="667"/>
            <ac:picMk id="5" creationId="{59007772-8755-0B09-0B61-A2C5D858E370}"/>
          </ac:picMkLst>
        </pc:picChg>
      </pc:sldChg>
      <pc:sldChg chg="del">
        <pc:chgData name="Thomas Stensitzki" userId="75cafe6b-2f2a-469b-85c4-eec3b9c972ba" providerId="ADAL" clId="{EF5284BB-E924-47D6-B186-EC378FA380D2}" dt="2023-04-22T12:48:27.349" v="16" actId="47"/>
        <pc:sldMkLst>
          <pc:docMk/>
          <pc:sldMk cId="4080389735" sldId="667"/>
        </pc:sldMkLst>
      </pc:sldChg>
      <pc:sldChg chg="addSp delSp modSp add mod modAnim">
        <pc:chgData name="Thomas Stensitzki" userId="75cafe6b-2f2a-469b-85c4-eec3b9c972ba" providerId="ADAL" clId="{EF5284BB-E924-47D6-B186-EC378FA380D2}" dt="2023-05-25T09:03:49.146" v="4018" actId="1076"/>
        <pc:sldMkLst>
          <pc:docMk/>
          <pc:sldMk cId="1650060701" sldId="668"/>
        </pc:sldMkLst>
        <pc:spChg chg="mod">
          <ac:chgData name="Thomas Stensitzki" userId="75cafe6b-2f2a-469b-85c4-eec3b9c972ba" providerId="ADAL" clId="{EF5284BB-E924-47D6-B186-EC378FA380D2}" dt="2023-05-14T13:16:28.294" v="1271"/>
          <ac:spMkLst>
            <pc:docMk/>
            <pc:sldMk cId="1650060701" sldId="668"/>
            <ac:spMk id="2" creationId="{943B72FB-CB54-134D-1ABF-BCBFE774C15F}"/>
          </ac:spMkLst>
        </pc:spChg>
        <pc:spChg chg="add mod">
          <ac:chgData name="Thomas Stensitzki" userId="75cafe6b-2f2a-469b-85c4-eec3b9c972ba" providerId="ADAL" clId="{EF5284BB-E924-47D6-B186-EC378FA380D2}" dt="2023-05-25T09:03:49.146" v="4018" actId="1076"/>
          <ac:spMkLst>
            <pc:docMk/>
            <pc:sldMk cId="1650060701" sldId="668"/>
            <ac:spMk id="3" creationId="{25559C36-B7D6-A286-B2B5-CAD6A08041FD}"/>
          </ac:spMkLst>
        </pc:spChg>
        <pc:picChg chg="add del mod">
          <ac:chgData name="Thomas Stensitzki" userId="75cafe6b-2f2a-469b-85c4-eec3b9c972ba" providerId="ADAL" clId="{EF5284BB-E924-47D6-B186-EC378FA380D2}" dt="2023-05-14T13:19:57.028" v="1275" actId="478"/>
          <ac:picMkLst>
            <pc:docMk/>
            <pc:sldMk cId="1650060701" sldId="668"/>
            <ac:picMk id="4" creationId="{F9C9689B-8368-17C5-8AA3-DB0A0CA49F63}"/>
          </ac:picMkLst>
        </pc:picChg>
        <pc:picChg chg="del">
          <ac:chgData name="Thomas Stensitzki" userId="75cafe6b-2f2a-469b-85c4-eec3b9c972ba" providerId="ADAL" clId="{EF5284BB-E924-47D6-B186-EC378FA380D2}" dt="2023-05-14T13:15:45.494" v="1267" actId="478"/>
          <ac:picMkLst>
            <pc:docMk/>
            <pc:sldMk cId="1650060701" sldId="668"/>
            <ac:picMk id="5" creationId="{59007772-8755-0B09-0B61-A2C5D858E370}"/>
          </ac:picMkLst>
        </pc:picChg>
        <pc:picChg chg="add mod">
          <ac:chgData name="Thomas Stensitzki" userId="75cafe6b-2f2a-469b-85c4-eec3b9c972ba" providerId="ADAL" clId="{EF5284BB-E924-47D6-B186-EC378FA380D2}" dt="2023-05-14T13:20:07.026" v="1279" actId="1440"/>
          <ac:picMkLst>
            <pc:docMk/>
            <pc:sldMk cId="1650060701" sldId="668"/>
            <ac:picMk id="7" creationId="{553BAC5F-649A-BB54-81D4-FBA475E14471}"/>
          </ac:picMkLst>
        </pc:picChg>
      </pc:sldChg>
      <pc:sldChg chg="del">
        <pc:chgData name="Thomas Stensitzki" userId="75cafe6b-2f2a-469b-85c4-eec3b9c972ba" providerId="ADAL" clId="{EF5284BB-E924-47D6-B186-EC378FA380D2}" dt="2023-04-22T12:48:27.349" v="16" actId="47"/>
        <pc:sldMkLst>
          <pc:docMk/>
          <pc:sldMk cId="3202947217" sldId="668"/>
        </pc:sldMkLst>
      </pc:sldChg>
      <pc:sldChg chg="add del">
        <pc:chgData name="Thomas Stensitzki" userId="75cafe6b-2f2a-469b-85c4-eec3b9c972ba" providerId="ADAL" clId="{EF5284BB-E924-47D6-B186-EC378FA380D2}" dt="2023-05-14T13:20:34.373" v="1283" actId="47"/>
        <pc:sldMkLst>
          <pc:docMk/>
          <pc:sldMk cId="759036446" sldId="669"/>
        </pc:sldMkLst>
      </pc:sldChg>
      <pc:sldChg chg="del">
        <pc:chgData name="Thomas Stensitzki" userId="75cafe6b-2f2a-469b-85c4-eec3b9c972ba" providerId="ADAL" clId="{EF5284BB-E924-47D6-B186-EC378FA380D2}" dt="2023-04-22T12:48:27.349" v="16" actId="47"/>
        <pc:sldMkLst>
          <pc:docMk/>
          <pc:sldMk cId="2193982032" sldId="669"/>
        </pc:sldMkLst>
      </pc:sldChg>
      <pc:sldChg chg="del">
        <pc:chgData name="Thomas Stensitzki" userId="75cafe6b-2f2a-469b-85c4-eec3b9c972ba" providerId="ADAL" clId="{EF5284BB-E924-47D6-B186-EC378FA380D2}" dt="2023-04-22T12:48:15.704" v="15" actId="47"/>
        <pc:sldMkLst>
          <pc:docMk/>
          <pc:sldMk cId="122818087" sldId="670"/>
        </pc:sldMkLst>
      </pc:sldChg>
      <pc:sldChg chg="addSp modSp add mod modAnim">
        <pc:chgData name="Thomas Stensitzki" userId="75cafe6b-2f2a-469b-85c4-eec3b9c972ba" providerId="ADAL" clId="{EF5284BB-E924-47D6-B186-EC378FA380D2}" dt="2023-05-25T09:04:43.336" v="4027" actId="1076"/>
        <pc:sldMkLst>
          <pc:docMk/>
          <pc:sldMk cId="3682317345" sldId="670"/>
        </pc:sldMkLst>
        <pc:spChg chg="add mod">
          <ac:chgData name="Thomas Stensitzki" userId="75cafe6b-2f2a-469b-85c4-eec3b9c972ba" providerId="ADAL" clId="{EF5284BB-E924-47D6-B186-EC378FA380D2}" dt="2023-05-25T09:04:43.336" v="4027" actId="1076"/>
          <ac:spMkLst>
            <pc:docMk/>
            <pc:sldMk cId="3682317345" sldId="670"/>
            <ac:spMk id="6" creationId="{13A3C0CF-8A50-E43F-A1A2-D7B5CA420DDA}"/>
          </ac:spMkLst>
        </pc:spChg>
        <pc:spChg chg="add mod">
          <ac:chgData name="Thomas Stensitzki" userId="75cafe6b-2f2a-469b-85c4-eec3b9c972ba" providerId="ADAL" clId="{EF5284BB-E924-47D6-B186-EC378FA380D2}" dt="2023-05-25T09:04:06.577" v="4023" actId="1076"/>
          <ac:spMkLst>
            <pc:docMk/>
            <pc:sldMk cId="3682317345" sldId="670"/>
            <ac:spMk id="8" creationId="{B9541FF4-1E1F-33CC-18CC-1FB0E018F7D2}"/>
          </ac:spMkLst>
        </pc:spChg>
        <pc:picChg chg="add mod">
          <ac:chgData name="Thomas Stensitzki" userId="75cafe6b-2f2a-469b-85c4-eec3b9c972ba" providerId="ADAL" clId="{EF5284BB-E924-47D6-B186-EC378FA380D2}" dt="2023-05-25T09:04:39.910" v="4026" actId="1076"/>
          <ac:picMkLst>
            <pc:docMk/>
            <pc:sldMk cId="3682317345" sldId="670"/>
            <ac:picMk id="3" creationId="{81874EEF-EFDE-0FC8-6A52-AA7BDF521F73}"/>
          </ac:picMkLst>
        </pc:picChg>
        <pc:picChg chg="add mod">
          <ac:chgData name="Thomas Stensitzki" userId="75cafe6b-2f2a-469b-85c4-eec3b9c972ba" providerId="ADAL" clId="{EF5284BB-E924-47D6-B186-EC378FA380D2}" dt="2023-05-25T06:51:16.571" v="3149" actId="1076"/>
          <ac:picMkLst>
            <pc:docMk/>
            <pc:sldMk cId="3682317345" sldId="670"/>
            <ac:picMk id="5" creationId="{13A9BA71-8A61-6A65-BC74-6152C078D11E}"/>
          </ac:picMkLst>
        </pc:picChg>
      </pc:sldChg>
      <pc:sldChg chg="modSp add mod modAnim">
        <pc:chgData name="Thomas Stensitzki" userId="75cafe6b-2f2a-469b-85c4-eec3b9c972ba" providerId="ADAL" clId="{EF5284BB-E924-47D6-B186-EC378FA380D2}" dt="2023-05-25T15:46:52.546" v="5169" actId="20577"/>
        <pc:sldMkLst>
          <pc:docMk/>
          <pc:sldMk cId="2047617742" sldId="671"/>
        </pc:sldMkLst>
        <pc:spChg chg="mod">
          <ac:chgData name="Thomas Stensitzki" userId="75cafe6b-2f2a-469b-85c4-eec3b9c972ba" providerId="ADAL" clId="{EF5284BB-E924-47D6-B186-EC378FA380D2}" dt="2023-05-25T15:46:52.546" v="5169" actId="20577"/>
          <ac:spMkLst>
            <pc:docMk/>
            <pc:sldMk cId="2047617742" sldId="671"/>
            <ac:spMk id="5" creationId="{625FA0D5-DCEE-2BAB-6DA2-F7B27428066F}"/>
          </ac:spMkLst>
        </pc:spChg>
      </pc:sldChg>
      <pc:sldChg chg="del">
        <pc:chgData name="Thomas Stensitzki" userId="75cafe6b-2f2a-469b-85c4-eec3b9c972ba" providerId="ADAL" clId="{EF5284BB-E924-47D6-B186-EC378FA380D2}" dt="2023-04-22T12:48:27.349" v="16" actId="47"/>
        <pc:sldMkLst>
          <pc:docMk/>
          <pc:sldMk cId="2909463456" sldId="671"/>
        </pc:sldMkLst>
      </pc:sldChg>
      <pc:sldChg chg="del">
        <pc:chgData name="Thomas Stensitzki" userId="75cafe6b-2f2a-469b-85c4-eec3b9c972ba" providerId="ADAL" clId="{EF5284BB-E924-47D6-B186-EC378FA380D2}" dt="2023-04-22T12:48:27.349" v="16" actId="47"/>
        <pc:sldMkLst>
          <pc:docMk/>
          <pc:sldMk cId="1253155529" sldId="672"/>
        </pc:sldMkLst>
      </pc:sldChg>
      <pc:sldChg chg="modSp new mod ord">
        <pc:chgData name="Thomas Stensitzki" userId="75cafe6b-2f2a-469b-85c4-eec3b9c972ba" providerId="ADAL" clId="{EF5284BB-E924-47D6-B186-EC378FA380D2}" dt="2023-05-16T13:51:07.105" v="2387"/>
        <pc:sldMkLst>
          <pc:docMk/>
          <pc:sldMk cId="3858958038" sldId="672"/>
        </pc:sldMkLst>
        <pc:spChg chg="mod">
          <ac:chgData name="Thomas Stensitzki" userId="75cafe6b-2f2a-469b-85c4-eec3b9c972ba" providerId="ADAL" clId="{EF5284BB-E924-47D6-B186-EC378FA380D2}" dt="2023-05-16T13:48:29.307" v="2218"/>
          <ac:spMkLst>
            <pc:docMk/>
            <pc:sldMk cId="3858958038" sldId="672"/>
            <ac:spMk id="2" creationId="{CC2FA1F0-C051-0A08-64B3-9DF1B3898580}"/>
          </ac:spMkLst>
        </pc:spChg>
        <pc:spChg chg="mod">
          <ac:chgData name="Thomas Stensitzki" userId="75cafe6b-2f2a-469b-85c4-eec3b9c972ba" providerId="ADAL" clId="{EF5284BB-E924-47D6-B186-EC378FA380D2}" dt="2023-05-16T13:50:50.089" v="2383" actId="6549"/>
          <ac:spMkLst>
            <pc:docMk/>
            <pc:sldMk cId="3858958038" sldId="672"/>
            <ac:spMk id="3" creationId="{BCF3249D-EC3E-1C3C-4550-845B3E3A0527}"/>
          </ac:spMkLst>
        </pc:spChg>
      </pc:sldChg>
      <pc:sldChg chg="del">
        <pc:chgData name="Thomas Stensitzki" userId="75cafe6b-2f2a-469b-85c4-eec3b9c972ba" providerId="ADAL" clId="{EF5284BB-E924-47D6-B186-EC378FA380D2}" dt="2023-04-22T12:48:27.349" v="16" actId="47"/>
        <pc:sldMkLst>
          <pc:docMk/>
          <pc:sldMk cId="3265622204" sldId="673"/>
        </pc:sldMkLst>
      </pc:sldChg>
      <pc:sldChg chg="addSp delSp modSp new mod">
        <pc:chgData name="Thomas Stensitzki" userId="75cafe6b-2f2a-469b-85c4-eec3b9c972ba" providerId="ADAL" clId="{EF5284BB-E924-47D6-B186-EC378FA380D2}" dt="2023-05-25T11:22:51.146" v="4634" actId="1440"/>
        <pc:sldMkLst>
          <pc:docMk/>
          <pc:sldMk cId="3468202035" sldId="673"/>
        </pc:sldMkLst>
        <pc:spChg chg="mod">
          <ac:chgData name="Thomas Stensitzki" userId="75cafe6b-2f2a-469b-85c4-eec3b9c972ba" providerId="ADAL" clId="{EF5284BB-E924-47D6-B186-EC378FA380D2}" dt="2023-05-16T13:51:52.685" v="2396"/>
          <ac:spMkLst>
            <pc:docMk/>
            <pc:sldMk cId="3468202035" sldId="673"/>
            <ac:spMk id="2" creationId="{2267CE1F-D14D-08BA-6A1B-E8294D7B635F}"/>
          </ac:spMkLst>
        </pc:spChg>
        <pc:spChg chg="del">
          <ac:chgData name="Thomas Stensitzki" userId="75cafe6b-2f2a-469b-85c4-eec3b9c972ba" providerId="ADAL" clId="{EF5284BB-E924-47D6-B186-EC378FA380D2}" dt="2023-05-16T13:52:04.972" v="2397" actId="478"/>
          <ac:spMkLst>
            <pc:docMk/>
            <pc:sldMk cId="3468202035" sldId="673"/>
            <ac:spMk id="3" creationId="{C7AB64E4-7E90-2996-9870-3A318592F118}"/>
          </ac:spMkLst>
        </pc:spChg>
        <pc:picChg chg="add mod">
          <ac:chgData name="Thomas Stensitzki" userId="75cafe6b-2f2a-469b-85c4-eec3b9c972ba" providerId="ADAL" clId="{EF5284BB-E924-47D6-B186-EC378FA380D2}" dt="2023-05-25T11:22:51.146" v="4634" actId="1440"/>
          <ac:picMkLst>
            <pc:docMk/>
            <pc:sldMk cId="3468202035" sldId="673"/>
            <ac:picMk id="1026" creationId="{E60B728A-8511-B50B-FBEB-78DF08D2B4EF}"/>
          </ac:picMkLst>
        </pc:picChg>
      </pc:sldChg>
      <pc:sldChg chg="del">
        <pc:chgData name="Thomas Stensitzki" userId="75cafe6b-2f2a-469b-85c4-eec3b9c972ba" providerId="ADAL" clId="{EF5284BB-E924-47D6-B186-EC378FA380D2}" dt="2023-04-22T12:48:27.349" v="16" actId="47"/>
        <pc:sldMkLst>
          <pc:docMk/>
          <pc:sldMk cId="549057824" sldId="674"/>
        </pc:sldMkLst>
      </pc:sldChg>
      <pc:sldChg chg="addSp delSp modSp add">
        <pc:chgData name="Thomas Stensitzki" userId="75cafe6b-2f2a-469b-85c4-eec3b9c972ba" providerId="ADAL" clId="{EF5284BB-E924-47D6-B186-EC378FA380D2}" dt="2023-05-25T11:22:49.354" v="4633" actId="1440"/>
        <pc:sldMkLst>
          <pc:docMk/>
          <pc:sldMk cId="2327618361" sldId="674"/>
        </pc:sldMkLst>
        <pc:picChg chg="del">
          <ac:chgData name="Thomas Stensitzki" userId="75cafe6b-2f2a-469b-85c4-eec3b9c972ba" providerId="ADAL" clId="{EF5284BB-E924-47D6-B186-EC378FA380D2}" dt="2023-05-16T13:52:43.196" v="2408" actId="478"/>
          <ac:picMkLst>
            <pc:docMk/>
            <pc:sldMk cId="2327618361" sldId="674"/>
            <ac:picMk id="1026" creationId="{E60B728A-8511-B50B-FBEB-78DF08D2B4EF}"/>
          </ac:picMkLst>
        </pc:picChg>
        <pc:picChg chg="add mod">
          <ac:chgData name="Thomas Stensitzki" userId="75cafe6b-2f2a-469b-85c4-eec3b9c972ba" providerId="ADAL" clId="{EF5284BB-E924-47D6-B186-EC378FA380D2}" dt="2023-05-25T11:22:49.354" v="4633" actId="1440"/>
          <ac:picMkLst>
            <pc:docMk/>
            <pc:sldMk cId="2327618361" sldId="674"/>
            <ac:picMk id="2050" creationId="{D878693E-8782-6400-B4F0-A098857E2D76}"/>
          </ac:picMkLst>
        </pc:picChg>
      </pc:sldChg>
      <pc:sldChg chg="del">
        <pc:chgData name="Thomas Stensitzki" userId="75cafe6b-2f2a-469b-85c4-eec3b9c972ba" providerId="ADAL" clId="{EF5284BB-E924-47D6-B186-EC378FA380D2}" dt="2023-04-22T12:48:15.704" v="15" actId="47"/>
        <pc:sldMkLst>
          <pc:docMk/>
          <pc:sldMk cId="1757766559" sldId="675"/>
        </pc:sldMkLst>
      </pc:sldChg>
      <pc:sldChg chg="addSp delSp modSp add mod">
        <pc:chgData name="Thomas Stensitzki" userId="75cafe6b-2f2a-469b-85c4-eec3b9c972ba" providerId="ADAL" clId="{EF5284BB-E924-47D6-B186-EC378FA380D2}" dt="2023-05-25T11:22:47.840" v="4632" actId="1440"/>
        <pc:sldMkLst>
          <pc:docMk/>
          <pc:sldMk cId="1759168096" sldId="675"/>
        </pc:sldMkLst>
        <pc:spChg chg="add del">
          <ac:chgData name="Thomas Stensitzki" userId="75cafe6b-2f2a-469b-85c4-eec3b9c972ba" providerId="ADAL" clId="{EF5284BB-E924-47D6-B186-EC378FA380D2}" dt="2023-05-16T13:53:28.937" v="2411" actId="22"/>
          <ac:spMkLst>
            <pc:docMk/>
            <pc:sldMk cId="1759168096" sldId="675"/>
            <ac:spMk id="4" creationId="{A88B8F9B-1B6C-D974-4A5C-5D796EE9C1E8}"/>
          </ac:spMkLst>
        </pc:spChg>
        <pc:picChg chg="mod">
          <ac:chgData name="Thomas Stensitzki" userId="75cafe6b-2f2a-469b-85c4-eec3b9c972ba" providerId="ADAL" clId="{EF5284BB-E924-47D6-B186-EC378FA380D2}" dt="2023-05-25T11:22:47.840" v="4632" actId="1440"/>
          <ac:picMkLst>
            <pc:docMk/>
            <pc:sldMk cId="1759168096" sldId="675"/>
            <ac:picMk id="2050" creationId="{D878693E-8782-6400-B4F0-A098857E2D76}"/>
          </ac:picMkLst>
        </pc:picChg>
      </pc:sldChg>
      <pc:sldChg chg="modSp add">
        <pc:chgData name="Thomas Stensitzki" userId="75cafe6b-2f2a-469b-85c4-eec3b9c972ba" providerId="ADAL" clId="{EF5284BB-E924-47D6-B186-EC378FA380D2}" dt="2023-05-25T11:22:43.129" v="4631" actId="1440"/>
        <pc:sldMkLst>
          <pc:docMk/>
          <pc:sldMk cId="1298798883" sldId="676"/>
        </pc:sldMkLst>
        <pc:picChg chg="mod">
          <ac:chgData name="Thomas Stensitzki" userId="75cafe6b-2f2a-469b-85c4-eec3b9c972ba" providerId="ADAL" clId="{EF5284BB-E924-47D6-B186-EC378FA380D2}" dt="2023-05-25T11:22:43.129" v="4631" actId="1440"/>
          <ac:picMkLst>
            <pc:docMk/>
            <pc:sldMk cId="1298798883" sldId="676"/>
            <ac:picMk id="2050" creationId="{D878693E-8782-6400-B4F0-A098857E2D76}"/>
          </ac:picMkLst>
        </pc:picChg>
      </pc:sldChg>
      <pc:sldChg chg="del">
        <pc:chgData name="Thomas Stensitzki" userId="75cafe6b-2f2a-469b-85c4-eec3b9c972ba" providerId="ADAL" clId="{EF5284BB-E924-47D6-B186-EC378FA380D2}" dt="2023-04-22T12:48:27.349" v="16" actId="47"/>
        <pc:sldMkLst>
          <pc:docMk/>
          <pc:sldMk cId="2309531245" sldId="676"/>
        </pc:sldMkLst>
      </pc:sldChg>
      <pc:sldChg chg="modSp add del">
        <pc:chgData name="Thomas Stensitzki" userId="75cafe6b-2f2a-469b-85c4-eec3b9c972ba" providerId="ADAL" clId="{EF5284BB-E924-47D6-B186-EC378FA380D2}" dt="2023-05-25T11:14:59.485" v="4320" actId="2696"/>
        <pc:sldMkLst>
          <pc:docMk/>
          <pc:sldMk cId="548932751" sldId="677"/>
        </pc:sldMkLst>
        <pc:picChg chg="mod">
          <ac:chgData name="Thomas Stensitzki" userId="75cafe6b-2f2a-469b-85c4-eec3b9c972ba" providerId="ADAL" clId="{EF5284BB-E924-47D6-B186-EC378FA380D2}" dt="2023-05-25T11:14:38.554" v="4319" actId="1076"/>
          <ac:picMkLst>
            <pc:docMk/>
            <pc:sldMk cId="548932751" sldId="677"/>
            <ac:picMk id="2050" creationId="{D878693E-8782-6400-B4F0-A098857E2D76}"/>
          </ac:picMkLst>
        </pc:picChg>
      </pc:sldChg>
      <pc:sldChg chg="del">
        <pc:chgData name="Thomas Stensitzki" userId="75cafe6b-2f2a-469b-85c4-eec3b9c972ba" providerId="ADAL" clId="{EF5284BB-E924-47D6-B186-EC378FA380D2}" dt="2023-04-22T12:48:27.349" v="16" actId="47"/>
        <pc:sldMkLst>
          <pc:docMk/>
          <pc:sldMk cId="857527238" sldId="677"/>
        </pc:sldMkLst>
      </pc:sldChg>
      <pc:sldChg chg="del">
        <pc:chgData name="Thomas Stensitzki" userId="75cafe6b-2f2a-469b-85c4-eec3b9c972ba" providerId="ADAL" clId="{EF5284BB-E924-47D6-B186-EC378FA380D2}" dt="2023-04-22T12:48:27.349" v="16" actId="47"/>
        <pc:sldMkLst>
          <pc:docMk/>
          <pc:sldMk cId="2554844056" sldId="678"/>
        </pc:sldMkLst>
      </pc:sldChg>
      <pc:sldChg chg="addSp delSp modSp add mod modAnim">
        <pc:chgData name="Thomas Stensitzki" userId="75cafe6b-2f2a-469b-85c4-eec3b9c972ba" providerId="ADAL" clId="{EF5284BB-E924-47D6-B186-EC378FA380D2}" dt="2023-05-25T11:22:41.226" v="4630" actId="1440"/>
        <pc:sldMkLst>
          <pc:docMk/>
          <pc:sldMk cId="3589806354" sldId="678"/>
        </pc:sldMkLst>
        <pc:spChg chg="mod">
          <ac:chgData name="Thomas Stensitzki" userId="75cafe6b-2f2a-469b-85c4-eec3b9c972ba" providerId="ADAL" clId="{EF5284BB-E924-47D6-B186-EC378FA380D2}" dt="2023-05-16T13:56:20.151" v="2450" actId="20577"/>
          <ac:spMkLst>
            <pc:docMk/>
            <pc:sldMk cId="3589806354" sldId="678"/>
            <ac:spMk id="2" creationId="{2267CE1F-D14D-08BA-6A1B-E8294D7B635F}"/>
          </ac:spMkLst>
        </pc:spChg>
        <pc:spChg chg="add mod">
          <ac:chgData name="Thomas Stensitzki" userId="75cafe6b-2f2a-469b-85c4-eec3b9c972ba" providerId="ADAL" clId="{EF5284BB-E924-47D6-B186-EC378FA380D2}" dt="2023-05-25T11:16:21.181" v="4322" actId="1076"/>
          <ac:spMkLst>
            <pc:docMk/>
            <pc:sldMk cId="3589806354" sldId="678"/>
            <ac:spMk id="3" creationId="{A1A10B9C-8657-38A4-B4A0-CFFE82772F41}"/>
          </ac:spMkLst>
        </pc:spChg>
        <pc:spChg chg="add mod">
          <ac:chgData name="Thomas Stensitzki" userId="75cafe6b-2f2a-469b-85c4-eec3b9c972ba" providerId="ADAL" clId="{EF5284BB-E924-47D6-B186-EC378FA380D2}" dt="2023-05-25T11:16:29.285" v="4326" actId="1076"/>
          <ac:spMkLst>
            <pc:docMk/>
            <pc:sldMk cId="3589806354" sldId="678"/>
            <ac:spMk id="4" creationId="{9525AB6D-D787-A74B-8999-F8B743464E3F}"/>
          </ac:spMkLst>
        </pc:spChg>
        <pc:picChg chg="del">
          <ac:chgData name="Thomas Stensitzki" userId="75cafe6b-2f2a-469b-85c4-eec3b9c972ba" providerId="ADAL" clId="{EF5284BB-E924-47D6-B186-EC378FA380D2}" dt="2023-05-16T13:54:53.148" v="2424" actId="478"/>
          <ac:picMkLst>
            <pc:docMk/>
            <pc:sldMk cId="3589806354" sldId="678"/>
            <ac:picMk id="2050" creationId="{D878693E-8782-6400-B4F0-A098857E2D76}"/>
          </ac:picMkLst>
        </pc:picChg>
        <pc:picChg chg="add mod">
          <ac:chgData name="Thomas Stensitzki" userId="75cafe6b-2f2a-469b-85c4-eec3b9c972ba" providerId="ADAL" clId="{EF5284BB-E924-47D6-B186-EC378FA380D2}" dt="2023-05-25T11:22:41.226" v="4630" actId="1440"/>
          <ac:picMkLst>
            <pc:docMk/>
            <pc:sldMk cId="3589806354" sldId="678"/>
            <ac:picMk id="3074" creationId="{2130B75C-9C3B-00FC-6C5B-6BD75C6EC32A}"/>
          </ac:picMkLst>
        </pc:picChg>
      </pc:sldChg>
      <pc:sldChg chg="modSp add">
        <pc:chgData name="Thomas Stensitzki" userId="75cafe6b-2f2a-469b-85c4-eec3b9c972ba" providerId="ADAL" clId="{EF5284BB-E924-47D6-B186-EC378FA380D2}" dt="2023-05-25T11:22:38.533" v="4629" actId="1440"/>
        <pc:sldMkLst>
          <pc:docMk/>
          <pc:sldMk cId="3797094460" sldId="679"/>
        </pc:sldMkLst>
        <pc:picChg chg="mod">
          <ac:chgData name="Thomas Stensitzki" userId="75cafe6b-2f2a-469b-85c4-eec3b9c972ba" providerId="ADAL" clId="{EF5284BB-E924-47D6-B186-EC378FA380D2}" dt="2023-05-25T11:22:38.533" v="4629" actId="1440"/>
          <ac:picMkLst>
            <pc:docMk/>
            <pc:sldMk cId="3797094460" sldId="679"/>
            <ac:picMk id="3074" creationId="{2130B75C-9C3B-00FC-6C5B-6BD75C6EC32A}"/>
          </ac:picMkLst>
        </pc:picChg>
      </pc:sldChg>
      <pc:sldChg chg="del">
        <pc:chgData name="Thomas Stensitzki" userId="75cafe6b-2f2a-469b-85c4-eec3b9c972ba" providerId="ADAL" clId="{EF5284BB-E924-47D6-B186-EC378FA380D2}" dt="2023-04-22T12:48:27.349" v="16" actId="47"/>
        <pc:sldMkLst>
          <pc:docMk/>
          <pc:sldMk cId="3925627864" sldId="679"/>
        </pc:sldMkLst>
      </pc:sldChg>
      <pc:sldChg chg="addSp delSp modSp add mod modAnim modNotesTx">
        <pc:chgData name="Thomas Stensitzki" userId="75cafe6b-2f2a-469b-85c4-eec3b9c972ba" providerId="ADAL" clId="{EF5284BB-E924-47D6-B186-EC378FA380D2}" dt="2023-05-25T11:22:35.139" v="4628" actId="1440"/>
        <pc:sldMkLst>
          <pc:docMk/>
          <pc:sldMk cId="3004964480" sldId="680"/>
        </pc:sldMkLst>
        <pc:spChg chg="mod">
          <ac:chgData name="Thomas Stensitzki" userId="75cafe6b-2f2a-469b-85c4-eec3b9c972ba" providerId="ADAL" clId="{EF5284BB-E924-47D6-B186-EC378FA380D2}" dt="2023-05-16T13:57:42.940" v="2471"/>
          <ac:spMkLst>
            <pc:docMk/>
            <pc:sldMk cId="3004964480" sldId="680"/>
            <ac:spMk id="2" creationId="{2267CE1F-D14D-08BA-6A1B-E8294D7B635F}"/>
          </ac:spMkLst>
        </pc:spChg>
        <pc:spChg chg="add mod">
          <ac:chgData name="Thomas Stensitzki" userId="75cafe6b-2f2a-469b-85c4-eec3b9c972ba" providerId="ADAL" clId="{EF5284BB-E924-47D6-B186-EC378FA380D2}" dt="2023-05-25T11:17:06.243" v="4328" actId="1076"/>
          <ac:spMkLst>
            <pc:docMk/>
            <pc:sldMk cId="3004964480" sldId="680"/>
            <ac:spMk id="3" creationId="{203E6687-3CB7-4137-EE4B-726F3A601D6A}"/>
          </ac:spMkLst>
        </pc:spChg>
        <pc:spChg chg="add mod">
          <ac:chgData name="Thomas Stensitzki" userId="75cafe6b-2f2a-469b-85c4-eec3b9c972ba" providerId="ADAL" clId="{EF5284BB-E924-47D6-B186-EC378FA380D2}" dt="2023-05-25T11:17:28.379" v="4331" actId="1076"/>
          <ac:spMkLst>
            <pc:docMk/>
            <pc:sldMk cId="3004964480" sldId="680"/>
            <ac:spMk id="4" creationId="{794DA02E-B868-A144-6DD1-870D371D10D1}"/>
          </ac:spMkLst>
        </pc:spChg>
        <pc:picChg chg="del">
          <ac:chgData name="Thomas Stensitzki" userId="75cafe6b-2f2a-469b-85c4-eec3b9c972ba" providerId="ADAL" clId="{EF5284BB-E924-47D6-B186-EC378FA380D2}" dt="2023-05-16T13:57:44.624" v="2472" actId="478"/>
          <ac:picMkLst>
            <pc:docMk/>
            <pc:sldMk cId="3004964480" sldId="680"/>
            <ac:picMk id="3074" creationId="{2130B75C-9C3B-00FC-6C5B-6BD75C6EC32A}"/>
          </ac:picMkLst>
        </pc:picChg>
        <pc:picChg chg="add mod">
          <ac:chgData name="Thomas Stensitzki" userId="75cafe6b-2f2a-469b-85c4-eec3b9c972ba" providerId="ADAL" clId="{EF5284BB-E924-47D6-B186-EC378FA380D2}" dt="2023-05-25T11:22:35.139" v="4628" actId="1440"/>
          <ac:picMkLst>
            <pc:docMk/>
            <pc:sldMk cId="3004964480" sldId="680"/>
            <ac:picMk id="4098" creationId="{FB99E55D-5EB5-FEF5-8E50-DD55BE06C448}"/>
          </ac:picMkLst>
        </pc:picChg>
      </pc:sldChg>
      <pc:sldChg chg="del">
        <pc:chgData name="Thomas Stensitzki" userId="75cafe6b-2f2a-469b-85c4-eec3b9c972ba" providerId="ADAL" clId="{EF5284BB-E924-47D6-B186-EC378FA380D2}" dt="2023-04-22T12:48:27.349" v="16" actId="47"/>
        <pc:sldMkLst>
          <pc:docMk/>
          <pc:sldMk cId="3798798789" sldId="680"/>
        </pc:sldMkLst>
      </pc:sldChg>
      <pc:sldChg chg="addSp delSp modSp add mod modNotesTx">
        <pc:chgData name="Thomas Stensitzki" userId="75cafe6b-2f2a-469b-85c4-eec3b9c972ba" providerId="ADAL" clId="{EF5284BB-E924-47D6-B186-EC378FA380D2}" dt="2023-05-16T14:01:55.485" v="2501" actId="1076"/>
        <pc:sldMkLst>
          <pc:docMk/>
          <pc:sldMk cId="2318316286" sldId="681"/>
        </pc:sldMkLst>
        <pc:spChg chg="mod">
          <ac:chgData name="Thomas Stensitzki" userId="75cafe6b-2f2a-469b-85c4-eec3b9c972ba" providerId="ADAL" clId="{EF5284BB-E924-47D6-B186-EC378FA380D2}" dt="2023-05-16T14:00:40.544" v="2486"/>
          <ac:spMkLst>
            <pc:docMk/>
            <pc:sldMk cId="2318316286" sldId="681"/>
            <ac:spMk id="2" creationId="{2267CE1F-D14D-08BA-6A1B-E8294D7B635F}"/>
          </ac:spMkLst>
        </pc:spChg>
        <pc:picChg chg="del">
          <ac:chgData name="Thomas Stensitzki" userId="75cafe6b-2f2a-469b-85c4-eec3b9c972ba" providerId="ADAL" clId="{EF5284BB-E924-47D6-B186-EC378FA380D2}" dt="2023-05-16T14:00:41.915" v="2487" actId="478"/>
          <ac:picMkLst>
            <pc:docMk/>
            <pc:sldMk cId="2318316286" sldId="681"/>
            <ac:picMk id="4098" creationId="{FB99E55D-5EB5-FEF5-8E50-DD55BE06C448}"/>
          </ac:picMkLst>
        </pc:picChg>
        <pc:picChg chg="add mod">
          <ac:chgData name="Thomas Stensitzki" userId="75cafe6b-2f2a-469b-85c4-eec3b9c972ba" providerId="ADAL" clId="{EF5284BB-E924-47D6-B186-EC378FA380D2}" dt="2023-05-16T14:00:52.258" v="2490" actId="1076"/>
          <ac:picMkLst>
            <pc:docMk/>
            <pc:sldMk cId="2318316286" sldId="681"/>
            <ac:picMk id="5122" creationId="{C023A9B9-0201-06B5-75AC-B6EBA8EBCFCA}"/>
          </ac:picMkLst>
        </pc:picChg>
        <pc:picChg chg="add mod">
          <ac:chgData name="Thomas Stensitzki" userId="75cafe6b-2f2a-469b-85c4-eec3b9c972ba" providerId="ADAL" clId="{EF5284BB-E924-47D6-B186-EC378FA380D2}" dt="2023-05-16T14:01:55.485" v="2501" actId="1076"/>
          <ac:picMkLst>
            <pc:docMk/>
            <pc:sldMk cId="2318316286" sldId="681"/>
            <ac:picMk id="5124" creationId="{32F410A2-3C1E-5D63-7114-0A4C8EE34210}"/>
          </ac:picMkLst>
        </pc:picChg>
      </pc:sldChg>
      <pc:sldChg chg="del">
        <pc:chgData name="Thomas Stensitzki" userId="75cafe6b-2f2a-469b-85c4-eec3b9c972ba" providerId="ADAL" clId="{EF5284BB-E924-47D6-B186-EC378FA380D2}" dt="2023-04-22T12:48:27.349" v="16" actId="47"/>
        <pc:sldMkLst>
          <pc:docMk/>
          <pc:sldMk cId="3850999508" sldId="681"/>
        </pc:sldMkLst>
      </pc:sldChg>
      <pc:sldChg chg="del">
        <pc:chgData name="Thomas Stensitzki" userId="75cafe6b-2f2a-469b-85c4-eec3b9c972ba" providerId="ADAL" clId="{EF5284BB-E924-47D6-B186-EC378FA380D2}" dt="2023-04-22T12:48:27.349" v="16" actId="47"/>
        <pc:sldMkLst>
          <pc:docMk/>
          <pc:sldMk cId="2152297632" sldId="682"/>
        </pc:sldMkLst>
      </pc:sldChg>
      <pc:sldChg chg="modSp new mod">
        <pc:chgData name="Thomas Stensitzki" userId="75cafe6b-2f2a-469b-85c4-eec3b9c972ba" providerId="ADAL" clId="{EF5284BB-E924-47D6-B186-EC378FA380D2}" dt="2023-05-25T11:20:49.041" v="4601" actId="6549"/>
        <pc:sldMkLst>
          <pc:docMk/>
          <pc:sldMk cId="4114483723" sldId="682"/>
        </pc:sldMkLst>
        <pc:spChg chg="mod">
          <ac:chgData name="Thomas Stensitzki" userId="75cafe6b-2f2a-469b-85c4-eec3b9c972ba" providerId="ADAL" clId="{EF5284BB-E924-47D6-B186-EC378FA380D2}" dt="2023-05-16T14:02:42.994" v="2505"/>
          <ac:spMkLst>
            <pc:docMk/>
            <pc:sldMk cId="4114483723" sldId="682"/>
            <ac:spMk id="2" creationId="{BA9401AC-C5A7-A4F0-0B41-833FB04D6609}"/>
          </ac:spMkLst>
        </pc:spChg>
        <pc:spChg chg="mod">
          <ac:chgData name="Thomas Stensitzki" userId="75cafe6b-2f2a-469b-85c4-eec3b9c972ba" providerId="ADAL" clId="{EF5284BB-E924-47D6-B186-EC378FA380D2}" dt="2023-05-25T11:20:49.041" v="4601" actId="6549"/>
          <ac:spMkLst>
            <pc:docMk/>
            <pc:sldMk cId="4114483723" sldId="682"/>
            <ac:spMk id="3" creationId="{151AB954-4459-8C1F-BCDF-58081CBBDB4F}"/>
          </ac:spMkLst>
        </pc:spChg>
      </pc:sldChg>
      <pc:sldChg chg="del">
        <pc:chgData name="Thomas Stensitzki" userId="75cafe6b-2f2a-469b-85c4-eec3b9c972ba" providerId="ADAL" clId="{EF5284BB-E924-47D6-B186-EC378FA380D2}" dt="2023-04-22T12:48:27.349" v="16" actId="47"/>
        <pc:sldMkLst>
          <pc:docMk/>
          <pc:sldMk cId="476894528" sldId="683"/>
        </pc:sldMkLst>
      </pc:sldChg>
      <pc:sldChg chg="addSp modSp new mod modNotesTx">
        <pc:chgData name="Thomas Stensitzki" userId="75cafe6b-2f2a-469b-85c4-eec3b9c972ba" providerId="ADAL" clId="{EF5284BB-E924-47D6-B186-EC378FA380D2}" dt="2023-05-25T08:37:10.833" v="3528" actId="6549"/>
        <pc:sldMkLst>
          <pc:docMk/>
          <pc:sldMk cId="3010415139" sldId="683"/>
        </pc:sldMkLst>
        <pc:spChg chg="mod">
          <ac:chgData name="Thomas Stensitzki" userId="75cafe6b-2f2a-469b-85c4-eec3b9c972ba" providerId="ADAL" clId="{EF5284BB-E924-47D6-B186-EC378FA380D2}" dt="2023-05-16T14:04:01.342" v="2512"/>
          <ac:spMkLst>
            <pc:docMk/>
            <pc:sldMk cId="3010415139" sldId="683"/>
            <ac:spMk id="2" creationId="{E090DCA6-2DC7-EFD8-AF36-A4899C1BF69F}"/>
          </ac:spMkLst>
        </pc:spChg>
        <pc:spChg chg="mod">
          <ac:chgData name="Thomas Stensitzki" userId="75cafe6b-2f2a-469b-85c4-eec3b9c972ba" providerId="ADAL" clId="{EF5284BB-E924-47D6-B186-EC378FA380D2}" dt="2023-05-25T08:37:08.534" v="3527" actId="20577"/>
          <ac:spMkLst>
            <pc:docMk/>
            <pc:sldMk cId="3010415139" sldId="683"/>
            <ac:spMk id="3" creationId="{C24E32EC-AD7A-1EF6-5959-C3B95F0A9542}"/>
          </ac:spMkLst>
        </pc:spChg>
        <pc:picChg chg="add mod">
          <ac:chgData name="Thomas Stensitzki" userId="75cafe6b-2f2a-469b-85c4-eec3b9c972ba" providerId="ADAL" clId="{EF5284BB-E924-47D6-B186-EC378FA380D2}" dt="2023-05-25T08:35:06.200" v="3340" actId="1440"/>
          <ac:picMkLst>
            <pc:docMk/>
            <pc:sldMk cId="3010415139" sldId="683"/>
            <ac:picMk id="5" creationId="{DF7306AB-6CBC-D184-F187-84E9F00A8505}"/>
          </ac:picMkLst>
        </pc:picChg>
      </pc:sldChg>
      <pc:sldChg chg="modSp new mod modNotesTx">
        <pc:chgData name="Thomas Stensitzki" userId="75cafe6b-2f2a-469b-85c4-eec3b9c972ba" providerId="ADAL" clId="{EF5284BB-E924-47D6-B186-EC378FA380D2}" dt="2023-05-25T08:43:25.780" v="3854" actId="6549"/>
        <pc:sldMkLst>
          <pc:docMk/>
          <pc:sldMk cId="1765254123" sldId="684"/>
        </pc:sldMkLst>
        <pc:spChg chg="mod">
          <ac:chgData name="Thomas Stensitzki" userId="75cafe6b-2f2a-469b-85c4-eec3b9c972ba" providerId="ADAL" clId="{EF5284BB-E924-47D6-B186-EC378FA380D2}" dt="2023-05-16T14:05:40.651" v="2540"/>
          <ac:spMkLst>
            <pc:docMk/>
            <pc:sldMk cId="1765254123" sldId="684"/>
            <ac:spMk id="2" creationId="{7DB52A52-7B5D-B204-DC0F-B997FBB81597}"/>
          </ac:spMkLst>
        </pc:spChg>
        <pc:spChg chg="mod">
          <ac:chgData name="Thomas Stensitzki" userId="75cafe6b-2f2a-469b-85c4-eec3b9c972ba" providerId="ADAL" clId="{EF5284BB-E924-47D6-B186-EC378FA380D2}" dt="2023-05-25T08:43:02.655" v="3853"/>
          <ac:spMkLst>
            <pc:docMk/>
            <pc:sldMk cId="1765254123" sldId="684"/>
            <ac:spMk id="3" creationId="{0E618A5E-8BDC-2DAE-F6DE-E832B9BEF4E8}"/>
          </ac:spMkLst>
        </pc:spChg>
      </pc:sldChg>
      <pc:sldChg chg="del">
        <pc:chgData name="Thomas Stensitzki" userId="75cafe6b-2f2a-469b-85c4-eec3b9c972ba" providerId="ADAL" clId="{EF5284BB-E924-47D6-B186-EC378FA380D2}" dt="2023-04-22T12:48:27.349" v="16" actId="47"/>
        <pc:sldMkLst>
          <pc:docMk/>
          <pc:sldMk cId="2385236446" sldId="684"/>
        </pc:sldMkLst>
      </pc:sldChg>
      <pc:sldChg chg="del">
        <pc:chgData name="Thomas Stensitzki" userId="75cafe6b-2f2a-469b-85c4-eec3b9c972ba" providerId="ADAL" clId="{EF5284BB-E924-47D6-B186-EC378FA380D2}" dt="2023-04-22T12:48:27.349" v="16" actId="47"/>
        <pc:sldMkLst>
          <pc:docMk/>
          <pc:sldMk cId="380254688" sldId="685"/>
        </pc:sldMkLst>
      </pc:sldChg>
      <pc:sldChg chg="addSp delSp modSp new mod modAnim">
        <pc:chgData name="Thomas Stensitzki" userId="75cafe6b-2f2a-469b-85c4-eec3b9c972ba" providerId="ADAL" clId="{EF5284BB-E924-47D6-B186-EC378FA380D2}" dt="2023-05-25T08:50:38.861" v="3961"/>
        <pc:sldMkLst>
          <pc:docMk/>
          <pc:sldMk cId="1361138141" sldId="685"/>
        </pc:sldMkLst>
        <pc:spChg chg="mod">
          <ac:chgData name="Thomas Stensitzki" userId="75cafe6b-2f2a-469b-85c4-eec3b9c972ba" providerId="ADAL" clId="{EF5284BB-E924-47D6-B186-EC378FA380D2}" dt="2023-05-16T14:08:00.156" v="2554"/>
          <ac:spMkLst>
            <pc:docMk/>
            <pc:sldMk cId="1361138141" sldId="685"/>
            <ac:spMk id="2" creationId="{C9F6A9DF-05DE-8830-8DF5-2280D1CF710A}"/>
          </ac:spMkLst>
        </pc:spChg>
        <pc:spChg chg="mod">
          <ac:chgData name="Thomas Stensitzki" userId="75cafe6b-2f2a-469b-85c4-eec3b9c972ba" providerId="ADAL" clId="{EF5284BB-E924-47D6-B186-EC378FA380D2}" dt="2023-05-25T08:50:38.861" v="3961"/>
          <ac:spMkLst>
            <pc:docMk/>
            <pc:sldMk cId="1361138141" sldId="685"/>
            <ac:spMk id="3" creationId="{DAFAF2E8-7441-9309-2A91-F240662E9AD1}"/>
          </ac:spMkLst>
        </pc:spChg>
        <pc:spChg chg="add del">
          <ac:chgData name="Thomas Stensitzki" userId="75cafe6b-2f2a-469b-85c4-eec3b9c972ba" providerId="ADAL" clId="{EF5284BB-E924-47D6-B186-EC378FA380D2}" dt="2023-05-25T08:48:13.135" v="3929" actId="22"/>
          <ac:spMkLst>
            <pc:docMk/>
            <pc:sldMk cId="1361138141" sldId="685"/>
            <ac:spMk id="5" creationId="{E63B0217-DCF0-0106-B0AC-02F4D4EFB9DE}"/>
          </ac:spMkLst>
        </pc:spChg>
        <pc:spChg chg="add mod">
          <ac:chgData name="Thomas Stensitzki" userId="75cafe6b-2f2a-469b-85c4-eec3b9c972ba" providerId="ADAL" clId="{EF5284BB-E924-47D6-B186-EC378FA380D2}" dt="2023-05-25T08:48:54.108" v="3935" actId="1076"/>
          <ac:spMkLst>
            <pc:docMk/>
            <pc:sldMk cId="1361138141" sldId="685"/>
            <ac:spMk id="8" creationId="{458DC333-5E07-7964-7BFE-5B8AB11DF37A}"/>
          </ac:spMkLst>
        </pc:spChg>
        <pc:picChg chg="add mod">
          <ac:chgData name="Thomas Stensitzki" userId="75cafe6b-2f2a-469b-85c4-eec3b9c972ba" providerId="ADAL" clId="{EF5284BB-E924-47D6-B186-EC378FA380D2}" dt="2023-05-25T08:48:27.139" v="3933" actId="1440"/>
          <ac:picMkLst>
            <pc:docMk/>
            <pc:sldMk cId="1361138141" sldId="685"/>
            <ac:picMk id="7" creationId="{DB2877FD-72CC-C746-33C8-C557506B26F5}"/>
          </ac:picMkLst>
        </pc:picChg>
      </pc:sldChg>
      <pc:sldChg chg="addSp delSp modSp new mod modNotesTx">
        <pc:chgData name="Thomas Stensitzki" userId="75cafe6b-2f2a-469b-85c4-eec3b9c972ba" providerId="ADAL" clId="{EF5284BB-E924-47D6-B186-EC378FA380D2}" dt="2023-05-25T11:22:30.729" v="4627" actId="1440"/>
        <pc:sldMkLst>
          <pc:docMk/>
          <pc:sldMk cId="1099908272" sldId="686"/>
        </pc:sldMkLst>
        <pc:spChg chg="mod">
          <ac:chgData name="Thomas Stensitzki" userId="75cafe6b-2f2a-469b-85c4-eec3b9c972ba" providerId="ADAL" clId="{EF5284BB-E924-47D6-B186-EC378FA380D2}" dt="2023-05-16T14:19:00.994" v="2567"/>
          <ac:spMkLst>
            <pc:docMk/>
            <pc:sldMk cId="1099908272" sldId="686"/>
            <ac:spMk id="2" creationId="{9B8F144C-E0AD-BC5F-8848-227CDFE03CC4}"/>
          </ac:spMkLst>
        </pc:spChg>
        <pc:spChg chg="del">
          <ac:chgData name="Thomas Stensitzki" userId="75cafe6b-2f2a-469b-85c4-eec3b9c972ba" providerId="ADAL" clId="{EF5284BB-E924-47D6-B186-EC378FA380D2}" dt="2023-05-16T14:19:08.265" v="2568" actId="478"/>
          <ac:spMkLst>
            <pc:docMk/>
            <pc:sldMk cId="1099908272" sldId="686"/>
            <ac:spMk id="3" creationId="{AB585898-60DD-993F-3929-F74315FACD23}"/>
          </ac:spMkLst>
        </pc:spChg>
        <pc:picChg chg="add mod">
          <ac:chgData name="Thomas Stensitzki" userId="75cafe6b-2f2a-469b-85c4-eec3b9c972ba" providerId="ADAL" clId="{EF5284BB-E924-47D6-B186-EC378FA380D2}" dt="2023-05-25T11:22:30.729" v="4627" actId="1440"/>
          <ac:picMkLst>
            <pc:docMk/>
            <pc:sldMk cId="1099908272" sldId="686"/>
            <ac:picMk id="6146" creationId="{E65927FB-932C-A269-31F5-37E00FD4CC40}"/>
          </ac:picMkLst>
        </pc:picChg>
      </pc:sldChg>
      <pc:sldChg chg="del">
        <pc:chgData name="Thomas Stensitzki" userId="75cafe6b-2f2a-469b-85c4-eec3b9c972ba" providerId="ADAL" clId="{EF5284BB-E924-47D6-B186-EC378FA380D2}" dt="2023-04-22T12:48:27.349" v="16" actId="47"/>
        <pc:sldMkLst>
          <pc:docMk/>
          <pc:sldMk cId="1151479395" sldId="686"/>
        </pc:sldMkLst>
      </pc:sldChg>
      <pc:sldChg chg="addSp delSp modSp new mod modNotesTx">
        <pc:chgData name="Thomas Stensitzki" userId="75cafe6b-2f2a-469b-85c4-eec3b9c972ba" providerId="ADAL" clId="{EF5284BB-E924-47D6-B186-EC378FA380D2}" dt="2023-05-25T11:26:09.045" v="4645" actId="1440"/>
        <pc:sldMkLst>
          <pc:docMk/>
          <pc:sldMk cId="2682737613" sldId="687"/>
        </pc:sldMkLst>
        <pc:spChg chg="mod">
          <ac:chgData name="Thomas Stensitzki" userId="75cafe6b-2f2a-469b-85c4-eec3b9c972ba" providerId="ADAL" clId="{EF5284BB-E924-47D6-B186-EC378FA380D2}" dt="2023-05-16T14:21:03.018" v="2577"/>
          <ac:spMkLst>
            <pc:docMk/>
            <pc:sldMk cId="2682737613" sldId="687"/>
            <ac:spMk id="2" creationId="{B68D9ABF-307E-E24E-EC5A-428BCB6837C6}"/>
          </ac:spMkLst>
        </pc:spChg>
        <pc:spChg chg="del">
          <ac:chgData name="Thomas Stensitzki" userId="75cafe6b-2f2a-469b-85c4-eec3b9c972ba" providerId="ADAL" clId="{EF5284BB-E924-47D6-B186-EC378FA380D2}" dt="2023-05-16T14:21:04.964" v="2578" actId="478"/>
          <ac:spMkLst>
            <pc:docMk/>
            <pc:sldMk cId="2682737613" sldId="687"/>
            <ac:spMk id="3" creationId="{DD768D13-CBA5-32A5-CD7A-9794C12C8CDA}"/>
          </ac:spMkLst>
        </pc:spChg>
        <pc:picChg chg="add mod">
          <ac:chgData name="Thomas Stensitzki" userId="75cafe6b-2f2a-469b-85c4-eec3b9c972ba" providerId="ADAL" clId="{EF5284BB-E924-47D6-B186-EC378FA380D2}" dt="2023-05-25T11:26:09.045" v="4645" actId="1440"/>
          <ac:picMkLst>
            <pc:docMk/>
            <pc:sldMk cId="2682737613" sldId="687"/>
            <ac:picMk id="7170" creationId="{DC4F6B9A-2A81-3985-B1F2-4CDDF3664E1B}"/>
          </ac:picMkLst>
        </pc:picChg>
      </pc:sldChg>
      <pc:sldChg chg="del">
        <pc:chgData name="Thomas Stensitzki" userId="75cafe6b-2f2a-469b-85c4-eec3b9c972ba" providerId="ADAL" clId="{EF5284BB-E924-47D6-B186-EC378FA380D2}" dt="2023-04-22T12:48:27.349" v="16" actId="47"/>
        <pc:sldMkLst>
          <pc:docMk/>
          <pc:sldMk cId="3396655959" sldId="687"/>
        </pc:sldMkLst>
      </pc:sldChg>
      <pc:sldChg chg="modSp add modNotesTx">
        <pc:chgData name="Thomas Stensitzki" userId="75cafe6b-2f2a-469b-85c4-eec3b9c972ba" providerId="ADAL" clId="{EF5284BB-E924-47D6-B186-EC378FA380D2}" dt="2023-05-25T11:26:14.482" v="4646" actId="1440"/>
        <pc:sldMkLst>
          <pc:docMk/>
          <pc:sldMk cId="2943637064" sldId="688"/>
        </pc:sldMkLst>
        <pc:picChg chg="mod">
          <ac:chgData name="Thomas Stensitzki" userId="75cafe6b-2f2a-469b-85c4-eec3b9c972ba" providerId="ADAL" clId="{EF5284BB-E924-47D6-B186-EC378FA380D2}" dt="2023-05-25T11:26:14.482" v="4646" actId="1440"/>
          <ac:picMkLst>
            <pc:docMk/>
            <pc:sldMk cId="2943637064" sldId="688"/>
            <ac:picMk id="7170" creationId="{DC4F6B9A-2A81-3985-B1F2-4CDDF3664E1B}"/>
          </ac:picMkLst>
        </pc:picChg>
      </pc:sldChg>
      <pc:sldChg chg="del">
        <pc:chgData name="Thomas Stensitzki" userId="75cafe6b-2f2a-469b-85c4-eec3b9c972ba" providerId="ADAL" clId="{EF5284BB-E924-47D6-B186-EC378FA380D2}" dt="2023-04-22T12:48:27.349" v="16" actId="47"/>
        <pc:sldMkLst>
          <pc:docMk/>
          <pc:sldMk cId="3879280141" sldId="688"/>
        </pc:sldMkLst>
      </pc:sldChg>
      <pc:sldChg chg="del">
        <pc:chgData name="Thomas Stensitzki" userId="75cafe6b-2f2a-469b-85c4-eec3b9c972ba" providerId="ADAL" clId="{EF5284BB-E924-47D6-B186-EC378FA380D2}" dt="2023-04-22T12:48:08.972" v="14" actId="47"/>
        <pc:sldMkLst>
          <pc:docMk/>
          <pc:sldMk cId="882736164" sldId="689"/>
        </pc:sldMkLst>
      </pc:sldChg>
      <pc:sldChg chg="addSp delSp modSp add modAnim modNotesTx">
        <pc:chgData name="Thomas Stensitzki" userId="75cafe6b-2f2a-469b-85c4-eec3b9c972ba" providerId="ADAL" clId="{EF5284BB-E924-47D6-B186-EC378FA380D2}" dt="2023-05-25T11:26:16.250" v="4647" actId="1440"/>
        <pc:sldMkLst>
          <pc:docMk/>
          <pc:sldMk cId="4179798793" sldId="689"/>
        </pc:sldMkLst>
        <pc:spChg chg="add del mod">
          <ac:chgData name="Thomas Stensitzki" userId="75cafe6b-2f2a-469b-85c4-eec3b9c972ba" providerId="ADAL" clId="{EF5284BB-E924-47D6-B186-EC378FA380D2}" dt="2023-05-25T08:58:48.326" v="4008"/>
          <ac:spMkLst>
            <pc:docMk/>
            <pc:sldMk cId="4179798793" sldId="689"/>
            <ac:spMk id="3" creationId="{360BAEA0-EF61-4990-9887-8C49518E5AC5}"/>
          </ac:spMkLst>
        </pc:spChg>
        <pc:picChg chg="mod">
          <ac:chgData name="Thomas Stensitzki" userId="75cafe6b-2f2a-469b-85c4-eec3b9c972ba" providerId="ADAL" clId="{EF5284BB-E924-47D6-B186-EC378FA380D2}" dt="2023-05-25T11:26:16.250" v="4647" actId="1440"/>
          <ac:picMkLst>
            <pc:docMk/>
            <pc:sldMk cId="4179798793" sldId="689"/>
            <ac:picMk id="7170" creationId="{DC4F6B9A-2A81-3985-B1F2-4CDDF3664E1B}"/>
          </ac:picMkLst>
        </pc:picChg>
      </pc:sldChg>
      <pc:sldChg chg="del">
        <pc:chgData name="Thomas Stensitzki" userId="75cafe6b-2f2a-469b-85c4-eec3b9c972ba" providerId="ADAL" clId="{EF5284BB-E924-47D6-B186-EC378FA380D2}" dt="2023-04-22T12:48:08.972" v="14" actId="47"/>
        <pc:sldMkLst>
          <pc:docMk/>
          <pc:sldMk cId="2999548056" sldId="690"/>
        </pc:sldMkLst>
      </pc:sldChg>
      <pc:sldChg chg="addSp modSp add mod modAnim modNotesTx">
        <pc:chgData name="Thomas Stensitzki" userId="75cafe6b-2f2a-469b-85c4-eec3b9c972ba" providerId="ADAL" clId="{EF5284BB-E924-47D6-B186-EC378FA380D2}" dt="2023-05-25T11:26:17.729" v="4648" actId="1440"/>
        <pc:sldMkLst>
          <pc:docMk/>
          <pc:sldMk cId="3467191386" sldId="690"/>
        </pc:sldMkLst>
        <pc:spChg chg="add mod">
          <ac:chgData name="Thomas Stensitzki" userId="75cafe6b-2f2a-469b-85c4-eec3b9c972ba" providerId="ADAL" clId="{EF5284BB-E924-47D6-B186-EC378FA380D2}" dt="2023-05-25T08:58:41.642" v="4006" actId="1076"/>
          <ac:spMkLst>
            <pc:docMk/>
            <pc:sldMk cId="3467191386" sldId="690"/>
            <ac:spMk id="3" creationId="{CB3F86C2-E560-8B7C-2508-31BC7EF5599F}"/>
          </ac:spMkLst>
        </pc:spChg>
        <pc:picChg chg="mod">
          <ac:chgData name="Thomas Stensitzki" userId="75cafe6b-2f2a-469b-85c4-eec3b9c972ba" providerId="ADAL" clId="{EF5284BB-E924-47D6-B186-EC378FA380D2}" dt="2023-05-25T11:26:17.729" v="4648" actId="1440"/>
          <ac:picMkLst>
            <pc:docMk/>
            <pc:sldMk cId="3467191386" sldId="690"/>
            <ac:picMk id="7170" creationId="{DC4F6B9A-2A81-3985-B1F2-4CDDF3664E1B}"/>
          </ac:picMkLst>
        </pc:picChg>
      </pc:sldChg>
      <pc:sldChg chg="addSp modSp add mod modAnim">
        <pc:chgData name="Thomas Stensitzki" userId="75cafe6b-2f2a-469b-85c4-eec3b9c972ba" providerId="ADAL" clId="{EF5284BB-E924-47D6-B186-EC378FA380D2}" dt="2023-05-25T11:26:20.055" v="4649" actId="1440"/>
        <pc:sldMkLst>
          <pc:docMk/>
          <pc:sldMk cId="3176227063" sldId="691"/>
        </pc:sldMkLst>
        <pc:spChg chg="add mod">
          <ac:chgData name="Thomas Stensitzki" userId="75cafe6b-2f2a-469b-85c4-eec3b9c972ba" providerId="ADAL" clId="{EF5284BB-E924-47D6-B186-EC378FA380D2}" dt="2023-05-25T08:58:04.602" v="4004" actId="1076"/>
          <ac:spMkLst>
            <pc:docMk/>
            <pc:sldMk cId="3176227063" sldId="691"/>
            <ac:spMk id="3" creationId="{A58DA3B1-E3E1-F4D5-90E5-5D72A4ED1005}"/>
          </ac:spMkLst>
        </pc:spChg>
        <pc:picChg chg="mod">
          <ac:chgData name="Thomas Stensitzki" userId="75cafe6b-2f2a-469b-85c4-eec3b9c972ba" providerId="ADAL" clId="{EF5284BB-E924-47D6-B186-EC378FA380D2}" dt="2023-05-25T11:26:20.055" v="4649" actId="1440"/>
          <ac:picMkLst>
            <pc:docMk/>
            <pc:sldMk cId="3176227063" sldId="691"/>
            <ac:picMk id="7170" creationId="{DC4F6B9A-2A81-3985-B1F2-4CDDF3664E1B}"/>
          </ac:picMkLst>
        </pc:picChg>
      </pc:sldChg>
      <pc:sldChg chg="del">
        <pc:chgData name="Thomas Stensitzki" userId="75cafe6b-2f2a-469b-85c4-eec3b9c972ba" providerId="ADAL" clId="{EF5284BB-E924-47D6-B186-EC378FA380D2}" dt="2023-04-22T12:48:15.704" v="15" actId="47"/>
        <pc:sldMkLst>
          <pc:docMk/>
          <pc:sldMk cId="3382179983" sldId="691"/>
        </pc:sldMkLst>
      </pc:sldChg>
      <pc:sldChg chg="modSp add modNotesTx">
        <pc:chgData name="Thomas Stensitzki" userId="75cafe6b-2f2a-469b-85c4-eec3b9c972ba" providerId="ADAL" clId="{EF5284BB-E924-47D6-B186-EC378FA380D2}" dt="2023-05-25T11:26:21.570" v="4650" actId="1440"/>
        <pc:sldMkLst>
          <pc:docMk/>
          <pc:sldMk cId="2332237802" sldId="692"/>
        </pc:sldMkLst>
        <pc:picChg chg="mod">
          <ac:chgData name="Thomas Stensitzki" userId="75cafe6b-2f2a-469b-85c4-eec3b9c972ba" providerId="ADAL" clId="{EF5284BB-E924-47D6-B186-EC378FA380D2}" dt="2023-05-25T11:26:21.570" v="4650" actId="1440"/>
          <ac:picMkLst>
            <pc:docMk/>
            <pc:sldMk cId="2332237802" sldId="692"/>
            <ac:picMk id="7170" creationId="{DC4F6B9A-2A81-3985-B1F2-4CDDF3664E1B}"/>
          </ac:picMkLst>
        </pc:picChg>
      </pc:sldChg>
      <pc:sldChg chg="del">
        <pc:chgData name="Thomas Stensitzki" userId="75cafe6b-2f2a-469b-85c4-eec3b9c972ba" providerId="ADAL" clId="{EF5284BB-E924-47D6-B186-EC378FA380D2}" dt="2023-04-22T12:48:15.704" v="15" actId="47"/>
        <pc:sldMkLst>
          <pc:docMk/>
          <pc:sldMk cId="2967036620" sldId="692"/>
        </pc:sldMkLst>
      </pc:sldChg>
      <pc:sldChg chg="del">
        <pc:chgData name="Thomas Stensitzki" userId="75cafe6b-2f2a-469b-85c4-eec3b9c972ba" providerId="ADAL" clId="{EF5284BB-E924-47D6-B186-EC378FA380D2}" dt="2023-04-22T12:48:15.704" v="15" actId="47"/>
        <pc:sldMkLst>
          <pc:docMk/>
          <pc:sldMk cId="48805967" sldId="693"/>
        </pc:sldMkLst>
      </pc:sldChg>
      <pc:sldChg chg="addSp delSp modSp add modAnim modNotesTx">
        <pc:chgData name="Thomas Stensitzki" userId="75cafe6b-2f2a-469b-85c4-eec3b9c972ba" providerId="ADAL" clId="{EF5284BB-E924-47D6-B186-EC378FA380D2}" dt="2023-05-25T11:26:23.071" v="4651" actId="1440"/>
        <pc:sldMkLst>
          <pc:docMk/>
          <pc:sldMk cId="452218326" sldId="693"/>
        </pc:sldMkLst>
        <pc:spChg chg="add del mod">
          <ac:chgData name="Thomas Stensitzki" userId="75cafe6b-2f2a-469b-85c4-eec3b9c972ba" providerId="ADAL" clId="{EF5284BB-E924-47D6-B186-EC378FA380D2}" dt="2023-05-25T08:57:16.914" v="4000"/>
          <ac:spMkLst>
            <pc:docMk/>
            <pc:sldMk cId="452218326" sldId="693"/>
            <ac:spMk id="3" creationId="{8AA9D125-2712-380D-B106-2E27AA459503}"/>
          </ac:spMkLst>
        </pc:spChg>
        <pc:picChg chg="mod">
          <ac:chgData name="Thomas Stensitzki" userId="75cafe6b-2f2a-469b-85c4-eec3b9c972ba" providerId="ADAL" clId="{EF5284BB-E924-47D6-B186-EC378FA380D2}" dt="2023-05-25T11:26:23.071" v="4651" actId="1440"/>
          <ac:picMkLst>
            <pc:docMk/>
            <pc:sldMk cId="452218326" sldId="693"/>
            <ac:picMk id="7170" creationId="{DC4F6B9A-2A81-3985-B1F2-4CDDF3664E1B}"/>
          </ac:picMkLst>
        </pc:picChg>
      </pc:sldChg>
      <pc:sldChg chg="addSp modSp add mod modAnim modNotesTx">
        <pc:chgData name="Thomas Stensitzki" userId="75cafe6b-2f2a-469b-85c4-eec3b9c972ba" providerId="ADAL" clId="{EF5284BB-E924-47D6-B186-EC378FA380D2}" dt="2023-05-25T11:26:24.587" v="4652" actId="1440"/>
        <pc:sldMkLst>
          <pc:docMk/>
          <pc:sldMk cId="1161338400" sldId="694"/>
        </pc:sldMkLst>
        <pc:spChg chg="add mod">
          <ac:chgData name="Thomas Stensitzki" userId="75cafe6b-2f2a-469b-85c4-eec3b9c972ba" providerId="ADAL" clId="{EF5284BB-E924-47D6-B186-EC378FA380D2}" dt="2023-05-25T08:57:08.583" v="3998" actId="1076"/>
          <ac:spMkLst>
            <pc:docMk/>
            <pc:sldMk cId="1161338400" sldId="694"/>
            <ac:spMk id="3" creationId="{1252C631-A0D2-03C5-DCAE-913207590E3A}"/>
          </ac:spMkLst>
        </pc:spChg>
        <pc:picChg chg="mod">
          <ac:chgData name="Thomas Stensitzki" userId="75cafe6b-2f2a-469b-85c4-eec3b9c972ba" providerId="ADAL" clId="{EF5284BB-E924-47D6-B186-EC378FA380D2}" dt="2023-05-25T11:26:24.587" v="4652" actId="1440"/>
          <ac:picMkLst>
            <pc:docMk/>
            <pc:sldMk cId="1161338400" sldId="694"/>
            <ac:picMk id="7170" creationId="{DC4F6B9A-2A81-3985-B1F2-4CDDF3664E1B}"/>
          </ac:picMkLst>
        </pc:picChg>
      </pc:sldChg>
      <pc:sldChg chg="del">
        <pc:chgData name="Thomas Stensitzki" userId="75cafe6b-2f2a-469b-85c4-eec3b9c972ba" providerId="ADAL" clId="{EF5284BB-E924-47D6-B186-EC378FA380D2}" dt="2023-04-22T12:48:15.704" v="15" actId="47"/>
        <pc:sldMkLst>
          <pc:docMk/>
          <pc:sldMk cId="1294646207" sldId="694"/>
        </pc:sldMkLst>
      </pc:sldChg>
      <pc:sldChg chg="modSp add modNotesTx">
        <pc:chgData name="Thomas Stensitzki" userId="75cafe6b-2f2a-469b-85c4-eec3b9c972ba" providerId="ADAL" clId="{EF5284BB-E924-47D6-B186-EC378FA380D2}" dt="2023-05-16T14:25:13.166" v="2618" actId="14826"/>
        <pc:sldMkLst>
          <pc:docMk/>
          <pc:sldMk cId="3643256137" sldId="695"/>
        </pc:sldMkLst>
        <pc:picChg chg="mod">
          <ac:chgData name="Thomas Stensitzki" userId="75cafe6b-2f2a-469b-85c4-eec3b9c972ba" providerId="ADAL" clId="{EF5284BB-E924-47D6-B186-EC378FA380D2}" dt="2023-05-16T14:25:13.166" v="2618" actId="14826"/>
          <ac:picMkLst>
            <pc:docMk/>
            <pc:sldMk cId="3643256137" sldId="695"/>
            <ac:picMk id="7170" creationId="{DC4F6B9A-2A81-3985-B1F2-4CDDF3664E1B}"/>
          </ac:picMkLst>
        </pc:picChg>
      </pc:sldChg>
      <pc:sldChg chg="addSp modSp add mod modAnim modNotesTx">
        <pc:chgData name="Thomas Stensitzki" userId="75cafe6b-2f2a-469b-85c4-eec3b9c972ba" providerId="ADAL" clId="{EF5284BB-E924-47D6-B186-EC378FA380D2}" dt="2023-05-25T15:40:53.160" v="5102" actId="1076"/>
        <pc:sldMkLst>
          <pc:docMk/>
          <pc:sldMk cId="3372974903" sldId="696"/>
        </pc:sldMkLst>
        <pc:spChg chg="add mod">
          <ac:chgData name="Thomas Stensitzki" userId="75cafe6b-2f2a-469b-85c4-eec3b9c972ba" providerId="ADAL" clId="{EF5284BB-E924-47D6-B186-EC378FA380D2}" dt="2023-05-25T15:40:53.160" v="5102" actId="1076"/>
          <ac:spMkLst>
            <pc:docMk/>
            <pc:sldMk cId="3372974903" sldId="696"/>
            <ac:spMk id="3" creationId="{2523297A-1A42-BC7C-44F0-E09B9705B407}"/>
          </ac:spMkLst>
        </pc:spChg>
        <pc:picChg chg="mod">
          <ac:chgData name="Thomas Stensitzki" userId="75cafe6b-2f2a-469b-85c4-eec3b9c972ba" providerId="ADAL" clId="{EF5284BB-E924-47D6-B186-EC378FA380D2}" dt="2023-05-16T14:26:11.626" v="2625" actId="14826"/>
          <ac:picMkLst>
            <pc:docMk/>
            <pc:sldMk cId="3372974903" sldId="696"/>
            <ac:picMk id="7170" creationId="{DC4F6B9A-2A81-3985-B1F2-4CDDF3664E1B}"/>
          </ac:picMkLst>
        </pc:picChg>
      </pc:sldChg>
      <pc:sldChg chg="addSp delSp modSp new mod modNotesTx">
        <pc:chgData name="Thomas Stensitzki" userId="75cafe6b-2f2a-469b-85c4-eec3b9c972ba" providerId="ADAL" clId="{EF5284BB-E924-47D6-B186-EC378FA380D2}" dt="2023-05-25T11:22:27.379" v="4626" actId="1440"/>
        <pc:sldMkLst>
          <pc:docMk/>
          <pc:sldMk cId="374091465" sldId="697"/>
        </pc:sldMkLst>
        <pc:spChg chg="mod">
          <ac:chgData name="Thomas Stensitzki" userId="75cafe6b-2f2a-469b-85c4-eec3b9c972ba" providerId="ADAL" clId="{EF5284BB-E924-47D6-B186-EC378FA380D2}" dt="2023-05-16T14:28:39.537" v="2629"/>
          <ac:spMkLst>
            <pc:docMk/>
            <pc:sldMk cId="374091465" sldId="697"/>
            <ac:spMk id="2" creationId="{3ADCC40F-C5BA-B284-3AF8-D6CC46FDD2EF}"/>
          </ac:spMkLst>
        </pc:spChg>
        <pc:spChg chg="del">
          <ac:chgData name="Thomas Stensitzki" userId="75cafe6b-2f2a-469b-85c4-eec3b9c972ba" providerId="ADAL" clId="{EF5284BB-E924-47D6-B186-EC378FA380D2}" dt="2023-05-16T14:28:44.967" v="2630" actId="478"/>
          <ac:spMkLst>
            <pc:docMk/>
            <pc:sldMk cId="374091465" sldId="697"/>
            <ac:spMk id="3" creationId="{16B8C3D8-0F53-5DDC-18B8-D17EE8A04834}"/>
          </ac:spMkLst>
        </pc:spChg>
        <pc:spChg chg="add mod">
          <ac:chgData name="Thomas Stensitzki" userId="75cafe6b-2f2a-469b-85c4-eec3b9c972ba" providerId="ADAL" clId="{EF5284BB-E924-47D6-B186-EC378FA380D2}" dt="2023-05-25T11:22:11.956" v="4622" actId="6549"/>
          <ac:spMkLst>
            <pc:docMk/>
            <pc:sldMk cId="374091465" sldId="697"/>
            <ac:spMk id="3" creationId="{FE2F8A7A-FAB7-4887-6614-4A8D5C5BECFE}"/>
          </ac:spMkLst>
        </pc:spChg>
        <pc:picChg chg="add mod">
          <ac:chgData name="Thomas Stensitzki" userId="75cafe6b-2f2a-469b-85c4-eec3b9c972ba" providerId="ADAL" clId="{EF5284BB-E924-47D6-B186-EC378FA380D2}" dt="2023-05-25T11:22:27.379" v="4626" actId="1440"/>
          <ac:picMkLst>
            <pc:docMk/>
            <pc:sldMk cId="374091465" sldId="697"/>
            <ac:picMk id="8194" creationId="{D8DFAD9D-F2A4-D2DC-A41E-010BDAEC2A63}"/>
          </ac:picMkLst>
        </pc:picChg>
      </pc:sldChg>
      <pc:sldChg chg="modSp add">
        <pc:chgData name="Thomas Stensitzki" userId="75cafe6b-2f2a-469b-85c4-eec3b9c972ba" providerId="ADAL" clId="{EF5284BB-E924-47D6-B186-EC378FA380D2}" dt="2023-05-25T11:22:57.977" v="4635" actId="1440"/>
        <pc:sldMkLst>
          <pc:docMk/>
          <pc:sldMk cId="4258120031" sldId="698"/>
        </pc:sldMkLst>
        <pc:picChg chg="mod">
          <ac:chgData name="Thomas Stensitzki" userId="75cafe6b-2f2a-469b-85c4-eec3b9c972ba" providerId="ADAL" clId="{EF5284BB-E924-47D6-B186-EC378FA380D2}" dt="2023-05-25T11:22:57.977" v="4635" actId="1440"/>
          <ac:picMkLst>
            <pc:docMk/>
            <pc:sldMk cId="4258120031" sldId="698"/>
            <ac:picMk id="8194" creationId="{D8DFAD9D-F2A4-D2DC-A41E-010BDAEC2A63}"/>
          </ac:picMkLst>
        </pc:picChg>
      </pc:sldChg>
      <pc:sldChg chg="modSp add">
        <pc:chgData name="Thomas Stensitzki" userId="75cafe6b-2f2a-469b-85c4-eec3b9c972ba" providerId="ADAL" clId="{EF5284BB-E924-47D6-B186-EC378FA380D2}" dt="2023-05-25T11:22:59.921" v="4636" actId="1440"/>
        <pc:sldMkLst>
          <pc:docMk/>
          <pc:sldMk cId="2743116939" sldId="699"/>
        </pc:sldMkLst>
        <pc:picChg chg="mod">
          <ac:chgData name="Thomas Stensitzki" userId="75cafe6b-2f2a-469b-85c4-eec3b9c972ba" providerId="ADAL" clId="{EF5284BB-E924-47D6-B186-EC378FA380D2}" dt="2023-05-25T11:22:59.921" v="4636" actId="1440"/>
          <ac:picMkLst>
            <pc:docMk/>
            <pc:sldMk cId="2743116939" sldId="699"/>
            <ac:picMk id="8194" creationId="{D8DFAD9D-F2A4-D2DC-A41E-010BDAEC2A63}"/>
          </ac:picMkLst>
        </pc:picChg>
      </pc:sldChg>
      <pc:sldChg chg="modSp add mod modNotesTx">
        <pc:chgData name="Thomas Stensitzki" userId="75cafe6b-2f2a-469b-85c4-eec3b9c972ba" providerId="ADAL" clId="{EF5284BB-E924-47D6-B186-EC378FA380D2}" dt="2023-05-25T11:23:01.565" v="4637" actId="1440"/>
        <pc:sldMkLst>
          <pc:docMk/>
          <pc:sldMk cId="1230148335" sldId="700"/>
        </pc:sldMkLst>
        <pc:spChg chg="mod">
          <ac:chgData name="Thomas Stensitzki" userId="75cafe6b-2f2a-469b-85c4-eec3b9c972ba" providerId="ADAL" clId="{EF5284BB-E924-47D6-B186-EC378FA380D2}" dt="2023-05-16T14:31:40.468" v="2651"/>
          <ac:spMkLst>
            <pc:docMk/>
            <pc:sldMk cId="1230148335" sldId="700"/>
            <ac:spMk id="2" creationId="{3ADCC40F-C5BA-B284-3AF8-D6CC46FDD2EF}"/>
          </ac:spMkLst>
        </pc:spChg>
        <pc:picChg chg="mod">
          <ac:chgData name="Thomas Stensitzki" userId="75cafe6b-2f2a-469b-85c4-eec3b9c972ba" providerId="ADAL" clId="{EF5284BB-E924-47D6-B186-EC378FA380D2}" dt="2023-05-25T11:23:01.565" v="4637" actId="1440"/>
          <ac:picMkLst>
            <pc:docMk/>
            <pc:sldMk cId="1230148335" sldId="700"/>
            <ac:picMk id="8194" creationId="{D8DFAD9D-F2A4-D2DC-A41E-010BDAEC2A63}"/>
          </ac:picMkLst>
        </pc:picChg>
      </pc:sldChg>
      <pc:sldChg chg="modSp add mod modNotesTx">
        <pc:chgData name="Thomas Stensitzki" userId="75cafe6b-2f2a-469b-85c4-eec3b9c972ba" providerId="ADAL" clId="{EF5284BB-E924-47D6-B186-EC378FA380D2}" dt="2023-05-25T08:53:09.345" v="3984" actId="6549"/>
        <pc:sldMkLst>
          <pc:docMk/>
          <pc:sldMk cId="3896402637" sldId="701"/>
        </pc:sldMkLst>
        <pc:spChg chg="mod">
          <ac:chgData name="Thomas Stensitzki" userId="75cafe6b-2f2a-469b-85c4-eec3b9c972ba" providerId="ADAL" clId="{EF5284BB-E924-47D6-B186-EC378FA380D2}" dt="2023-05-16T14:32:47.859" v="2659"/>
          <ac:spMkLst>
            <pc:docMk/>
            <pc:sldMk cId="3896402637" sldId="701"/>
            <ac:spMk id="4" creationId="{D12969B4-351A-4517-A5B8-3E6AD9CDB206}"/>
          </ac:spMkLst>
        </pc:spChg>
        <pc:spChg chg="mod">
          <ac:chgData name="Thomas Stensitzki" userId="75cafe6b-2f2a-469b-85c4-eec3b9c972ba" providerId="ADAL" clId="{EF5284BB-E924-47D6-B186-EC378FA380D2}" dt="2023-05-16T14:45:50.635" v="2738" actId="20577"/>
          <ac:spMkLst>
            <pc:docMk/>
            <pc:sldMk cId="3896402637" sldId="701"/>
            <ac:spMk id="5" creationId="{C24DACB5-1BEC-4C86-9652-BAFD8DE56FEF}"/>
          </ac:spMkLst>
        </pc:spChg>
      </pc:sldChg>
      <pc:sldChg chg="addSp delSp modSp new mod modNotesTx">
        <pc:chgData name="Thomas Stensitzki" userId="75cafe6b-2f2a-469b-85c4-eec3b9c972ba" providerId="ADAL" clId="{EF5284BB-E924-47D6-B186-EC378FA380D2}" dt="2023-05-16T14:33:34.641" v="2667" actId="1076"/>
        <pc:sldMkLst>
          <pc:docMk/>
          <pc:sldMk cId="575615367" sldId="702"/>
        </pc:sldMkLst>
        <pc:spChg chg="mod">
          <ac:chgData name="Thomas Stensitzki" userId="75cafe6b-2f2a-469b-85c4-eec3b9c972ba" providerId="ADAL" clId="{EF5284BB-E924-47D6-B186-EC378FA380D2}" dt="2023-05-16T14:33:01.237" v="2662"/>
          <ac:spMkLst>
            <pc:docMk/>
            <pc:sldMk cId="575615367" sldId="702"/>
            <ac:spMk id="2" creationId="{0B60F266-922D-99F7-D541-BBA14D426F8B}"/>
          </ac:spMkLst>
        </pc:spChg>
        <pc:spChg chg="del">
          <ac:chgData name="Thomas Stensitzki" userId="75cafe6b-2f2a-469b-85c4-eec3b9c972ba" providerId="ADAL" clId="{EF5284BB-E924-47D6-B186-EC378FA380D2}" dt="2023-05-16T14:33:25.119" v="2664" actId="478"/>
          <ac:spMkLst>
            <pc:docMk/>
            <pc:sldMk cId="575615367" sldId="702"/>
            <ac:spMk id="3" creationId="{44E0BA56-BCAB-36DC-E686-EB6B76162AAE}"/>
          </ac:spMkLst>
        </pc:spChg>
        <pc:picChg chg="add mod">
          <ac:chgData name="Thomas Stensitzki" userId="75cafe6b-2f2a-469b-85c4-eec3b9c972ba" providerId="ADAL" clId="{EF5284BB-E924-47D6-B186-EC378FA380D2}" dt="2023-05-16T14:33:34.641" v="2667" actId="1076"/>
          <ac:picMkLst>
            <pc:docMk/>
            <pc:sldMk cId="575615367" sldId="702"/>
            <ac:picMk id="9218" creationId="{B962063C-80FB-2B0B-3700-99CBEE753EB0}"/>
          </ac:picMkLst>
        </pc:picChg>
      </pc:sldChg>
      <pc:sldChg chg="modSp add mod">
        <pc:chgData name="Thomas Stensitzki" userId="75cafe6b-2f2a-469b-85c4-eec3b9c972ba" providerId="ADAL" clId="{EF5284BB-E924-47D6-B186-EC378FA380D2}" dt="2023-05-16T14:46:17.842" v="2752" actId="20577"/>
        <pc:sldMkLst>
          <pc:docMk/>
          <pc:sldMk cId="4015570697" sldId="703"/>
        </pc:sldMkLst>
        <pc:spChg chg="mod">
          <ac:chgData name="Thomas Stensitzki" userId="75cafe6b-2f2a-469b-85c4-eec3b9c972ba" providerId="ADAL" clId="{EF5284BB-E924-47D6-B186-EC378FA380D2}" dt="2023-05-16T14:46:17.842" v="2752" actId="20577"/>
          <ac:spMkLst>
            <pc:docMk/>
            <pc:sldMk cId="4015570697" sldId="703"/>
            <ac:spMk id="5" creationId="{C24DACB5-1BEC-4C86-9652-BAFD8DE56FEF}"/>
          </ac:spMkLst>
        </pc:spChg>
      </pc:sldChg>
      <pc:sldChg chg="addSp delSp modSp new mod modNotesTx">
        <pc:chgData name="Thomas Stensitzki" userId="75cafe6b-2f2a-469b-85c4-eec3b9c972ba" providerId="ADAL" clId="{EF5284BB-E924-47D6-B186-EC378FA380D2}" dt="2023-05-25T11:23:03.720" v="4638" actId="1440"/>
        <pc:sldMkLst>
          <pc:docMk/>
          <pc:sldMk cId="1573460963" sldId="704"/>
        </pc:sldMkLst>
        <pc:spChg chg="mod">
          <ac:chgData name="Thomas Stensitzki" userId="75cafe6b-2f2a-469b-85c4-eec3b9c972ba" providerId="ADAL" clId="{EF5284BB-E924-47D6-B186-EC378FA380D2}" dt="2023-05-16T14:36:13.972" v="2673"/>
          <ac:spMkLst>
            <pc:docMk/>
            <pc:sldMk cId="1573460963" sldId="704"/>
            <ac:spMk id="2" creationId="{AD6E3B16-F04C-128A-EFFC-800D7EB25297}"/>
          </ac:spMkLst>
        </pc:spChg>
        <pc:spChg chg="del">
          <ac:chgData name="Thomas Stensitzki" userId="75cafe6b-2f2a-469b-85c4-eec3b9c972ba" providerId="ADAL" clId="{EF5284BB-E924-47D6-B186-EC378FA380D2}" dt="2023-05-16T14:36:11.447" v="2672" actId="478"/>
          <ac:spMkLst>
            <pc:docMk/>
            <pc:sldMk cId="1573460963" sldId="704"/>
            <ac:spMk id="3" creationId="{E974CDB4-86ED-6A6E-15FB-1E8BA4F27C76}"/>
          </ac:spMkLst>
        </pc:spChg>
        <pc:picChg chg="add mod">
          <ac:chgData name="Thomas Stensitzki" userId="75cafe6b-2f2a-469b-85c4-eec3b9c972ba" providerId="ADAL" clId="{EF5284BB-E924-47D6-B186-EC378FA380D2}" dt="2023-05-25T11:23:03.720" v="4638" actId="1440"/>
          <ac:picMkLst>
            <pc:docMk/>
            <pc:sldMk cId="1573460963" sldId="704"/>
            <ac:picMk id="10242" creationId="{A1868363-C841-3450-DD99-F972529BD3E6}"/>
          </ac:picMkLst>
        </pc:picChg>
      </pc:sldChg>
      <pc:sldChg chg="modSp add modNotesTx">
        <pc:chgData name="Thomas Stensitzki" userId="75cafe6b-2f2a-469b-85c4-eec3b9c972ba" providerId="ADAL" clId="{EF5284BB-E924-47D6-B186-EC378FA380D2}" dt="2023-05-25T11:24:13.149" v="4639" actId="1440"/>
        <pc:sldMkLst>
          <pc:docMk/>
          <pc:sldMk cId="2507653948" sldId="705"/>
        </pc:sldMkLst>
        <pc:picChg chg="mod">
          <ac:chgData name="Thomas Stensitzki" userId="75cafe6b-2f2a-469b-85c4-eec3b9c972ba" providerId="ADAL" clId="{EF5284BB-E924-47D6-B186-EC378FA380D2}" dt="2023-05-25T11:24:13.149" v="4639" actId="1440"/>
          <ac:picMkLst>
            <pc:docMk/>
            <pc:sldMk cId="2507653948" sldId="705"/>
            <ac:picMk id="10242" creationId="{A1868363-C841-3450-DD99-F972529BD3E6}"/>
          </ac:picMkLst>
        </pc:picChg>
      </pc:sldChg>
      <pc:sldChg chg="modSp new mod modNotesTx">
        <pc:chgData name="Thomas Stensitzki" userId="75cafe6b-2f2a-469b-85c4-eec3b9c972ba" providerId="ADAL" clId="{EF5284BB-E924-47D6-B186-EC378FA380D2}" dt="2023-05-25T11:32:15.188" v="5019" actId="790"/>
        <pc:sldMkLst>
          <pc:docMk/>
          <pc:sldMk cId="2812659098" sldId="706"/>
        </pc:sldMkLst>
        <pc:spChg chg="mod">
          <ac:chgData name="Thomas Stensitzki" userId="75cafe6b-2f2a-469b-85c4-eec3b9c972ba" providerId="ADAL" clId="{EF5284BB-E924-47D6-B186-EC378FA380D2}" dt="2023-05-25T08:53:17.460" v="3986" actId="20577"/>
          <ac:spMkLst>
            <pc:docMk/>
            <pc:sldMk cId="2812659098" sldId="706"/>
            <ac:spMk id="2" creationId="{C75EAFBD-6BA2-3743-4286-9F9C95CDEAD8}"/>
          </ac:spMkLst>
        </pc:spChg>
        <pc:spChg chg="mod">
          <ac:chgData name="Thomas Stensitzki" userId="75cafe6b-2f2a-469b-85c4-eec3b9c972ba" providerId="ADAL" clId="{EF5284BB-E924-47D6-B186-EC378FA380D2}" dt="2023-05-25T11:32:15.188" v="5019" actId="790"/>
          <ac:spMkLst>
            <pc:docMk/>
            <pc:sldMk cId="2812659098" sldId="706"/>
            <ac:spMk id="3" creationId="{DD63A7C4-FF42-483C-A957-EB2AD5563097}"/>
          </ac:spMkLst>
        </pc:spChg>
      </pc:sldChg>
      <pc:sldChg chg="addSp delSp modSp new mod">
        <pc:chgData name="Thomas Stensitzki" userId="75cafe6b-2f2a-469b-85c4-eec3b9c972ba" providerId="ADAL" clId="{EF5284BB-E924-47D6-B186-EC378FA380D2}" dt="2023-05-25T11:32:25.736" v="5020" actId="1440"/>
        <pc:sldMkLst>
          <pc:docMk/>
          <pc:sldMk cId="1687698883" sldId="707"/>
        </pc:sldMkLst>
        <pc:spChg chg="mod">
          <ac:chgData name="Thomas Stensitzki" userId="75cafe6b-2f2a-469b-85c4-eec3b9c972ba" providerId="ADAL" clId="{EF5284BB-E924-47D6-B186-EC378FA380D2}" dt="2023-05-16T14:40:55.019" v="2706"/>
          <ac:spMkLst>
            <pc:docMk/>
            <pc:sldMk cId="1687698883" sldId="707"/>
            <ac:spMk id="2" creationId="{6555D3F8-88B8-2602-E3EF-C287C90ED613}"/>
          </ac:spMkLst>
        </pc:spChg>
        <pc:spChg chg="del">
          <ac:chgData name="Thomas Stensitzki" userId="75cafe6b-2f2a-469b-85c4-eec3b9c972ba" providerId="ADAL" clId="{EF5284BB-E924-47D6-B186-EC378FA380D2}" dt="2023-05-16T14:41:13.350" v="2707" actId="478"/>
          <ac:spMkLst>
            <pc:docMk/>
            <pc:sldMk cId="1687698883" sldId="707"/>
            <ac:spMk id="3" creationId="{1C1D326C-8D85-2D26-1D2B-4728FD211C69}"/>
          </ac:spMkLst>
        </pc:spChg>
        <pc:picChg chg="add mod">
          <ac:chgData name="Thomas Stensitzki" userId="75cafe6b-2f2a-469b-85c4-eec3b9c972ba" providerId="ADAL" clId="{EF5284BB-E924-47D6-B186-EC378FA380D2}" dt="2023-05-25T11:32:25.736" v="5020" actId="1440"/>
          <ac:picMkLst>
            <pc:docMk/>
            <pc:sldMk cId="1687698883" sldId="707"/>
            <ac:picMk id="11266" creationId="{97E829A2-DBC1-9944-746A-6FBEE69B59F5}"/>
          </ac:picMkLst>
        </pc:picChg>
      </pc:sldChg>
      <pc:sldChg chg="addSp delSp modSp new mod modNotesTx">
        <pc:chgData name="Thomas Stensitzki" userId="75cafe6b-2f2a-469b-85c4-eec3b9c972ba" providerId="ADAL" clId="{EF5284BB-E924-47D6-B186-EC378FA380D2}" dt="2023-05-25T11:32:28.254" v="5021" actId="1440"/>
        <pc:sldMkLst>
          <pc:docMk/>
          <pc:sldMk cId="228026287" sldId="708"/>
        </pc:sldMkLst>
        <pc:spChg chg="mod">
          <ac:chgData name="Thomas Stensitzki" userId="75cafe6b-2f2a-469b-85c4-eec3b9c972ba" providerId="ADAL" clId="{EF5284BB-E924-47D6-B186-EC378FA380D2}" dt="2023-05-16T14:42:12.258" v="2713"/>
          <ac:spMkLst>
            <pc:docMk/>
            <pc:sldMk cId="228026287" sldId="708"/>
            <ac:spMk id="2" creationId="{788403FD-0877-7D1E-EDE8-8B812B526F3B}"/>
          </ac:spMkLst>
        </pc:spChg>
        <pc:spChg chg="del">
          <ac:chgData name="Thomas Stensitzki" userId="75cafe6b-2f2a-469b-85c4-eec3b9c972ba" providerId="ADAL" clId="{EF5284BB-E924-47D6-B186-EC378FA380D2}" dt="2023-05-16T14:42:53.827" v="2718" actId="478"/>
          <ac:spMkLst>
            <pc:docMk/>
            <pc:sldMk cId="228026287" sldId="708"/>
            <ac:spMk id="3" creationId="{7B0FCD7B-2582-5174-03AA-BB3529974F81}"/>
          </ac:spMkLst>
        </pc:spChg>
        <pc:picChg chg="add mod">
          <ac:chgData name="Thomas Stensitzki" userId="75cafe6b-2f2a-469b-85c4-eec3b9c972ba" providerId="ADAL" clId="{EF5284BB-E924-47D6-B186-EC378FA380D2}" dt="2023-05-25T11:32:28.254" v="5021" actId="1440"/>
          <ac:picMkLst>
            <pc:docMk/>
            <pc:sldMk cId="228026287" sldId="708"/>
            <ac:picMk id="12290" creationId="{FFC8777F-CE4D-E993-88D3-87973CE97509}"/>
          </ac:picMkLst>
        </pc:picChg>
      </pc:sldChg>
      <pc:sldChg chg="modSp add modNotesTx">
        <pc:chgData name="Thomas Stensitzki" userId="75cafe6b-2f2a-469b-85c4-eec3b9c972ba" providerId="ADAL" clId="{EF5284BB-E924-47D6-B186-EC378FA380D2}" dt="2023-05-25T11:32:31.136" v="5022" actId="1440"/>
        <pc:sldMkLst>
          <pc:docMk/>
          <pc:sldMk cId="110691181" sldId="709"/>
        </pc:sldMkLst>
        <pc:picChg chg="mod">
          <ac:chgData name="Thomas Stensitzki" userId="75cafe6b-2f2a-469b-85c4-eec3b9c972ba" providerId="ADAL" clId="{EF5284BB-E924-47D6-B186-EC378FA380D2}" dt="2023-05-25T11:32:31.136" v="5022" actId="1440"/>
          <ac:picMkLst>
            <pc:docMk/>
            <pc:sldMk cId="110691181" sldId="709"/>
            <ac:picMk id="12290" creationId="{FFC8777F-CE4D-E993-88D3-87973CE97509}"/>
          </ac:picMkLst>
        </pc:picChg>
      </pc:sldChg>
      <pc:sldChg chg="addSp modSp add mod modAnim">
        <pc:chgData name="Thomas Stensitzki" userId="75cafe6b-2f2a-469b-85c4-eec3b9c972ba" providerId="ADAL" clId="{EF5284BB-E924-47D6-B186-EC378FA380D2}" dt="2023-05-25T11:32:32.744" v="5023" actId="1440"/>
        <pc:sldMkLst>
          <pc:docMk/>
          <pc:sldMk cId="548134817" sldId="710"/>
        </pc:sldMkLst>
        <pc:spChg chg="add mod">
          <ac:chgData name="Thomas Stensitzki" userId="75cafe6b-2f2a-469b-85c4-eec3b9c972ba" providerId="ADAL" clId="{EF5284BB-E924-47D6-B186-EC378FA380D2}" dt="2023-05-25T08:55:49.823" v="3994" actId="1035"/>
          <ac:spMkLst>
            <pc:docMk/>
            <pc:sldMk cId="548134817" sldId="710"/>
            <ac:spMk id="5" creationId="{8521FE37-7C16-9553-EB5C-697BBEEE83FC}"/>
          </ac:spMkLst>
        </pc:spChg>
        <pc:picChg chg="add mod">
          <ac:chgData name="Thomas Stensitzki" userId="75cafe6b-2f2a-469b-85c4-eec3b9c972ba" providerId="ADAL" clId="{EF5284BB-E924-47D6-B186-EC378FA380D2}" dt="2023-05-25T08:55:20.363" v="3990" actId="1440"/>
          <ac:picMkLst>
            <pc:docMk/>
            <pc:sldMk cId="548134817" sldId="710"/>
            <ac:picMk id="4" creationId="{A1FE1530-011C-A2B2-D39F-4B3D9703E49A}"/>
          </ac:picMkLst>
        </pc:picChg>
        <pc:picChg chg="mod">
          <ac:chgData name="Thomas Stensitzki" userId="75cafe6b-2f2a-469b-85c4-eec3b9c972ba" providerId="ADAL" clId="{EF5284BB-E924-47D6-B186-EC378FA380D2}" dt="2023-05-25T11:32:32.744" v="5023" actId="1440"/>
          <ac:picMkLst>
            <pc:docMk/>
            <pc:sldMk cId="548134817" sldId="710"/>
            <ac:picMk id="12290" creationId="{FFC8777F-CE4D-E993-88D3-87973CE97509}"/>
          </ac:picMkLst>
        </pc:picChg>
      </pc:sldChg>
      <pc:sldChg chg="modSp add modNotesTx">
        <pc:chgData name="Thomas Stensitzki" userId="75cafe6b-2f2a-469b-85c4-eec3b9c972ba" providerId="ADAL" clId="{EF5284BB-E924-47D6-B186-EC378FA380D2}" dt="2023-05-25T11:32:35.293" v="5024" actId="1440"/>
        <pc:sldMkLst>
          <pc:docMk/>
          <pc:sldMk cId="3364405255" sldId="711"/>
        </pc:sldMkLst>
        <pc:picChg chg="mod">
          <ac:chgData name="Thomas Stensitzki" userId="75cafe6b-2f2a-469b-85c4-eec3b9c972ba" providerId="ADAL" clId="{EF5284BB-E924-47D6-B186-EC378FA380D2}" dt="2023-05-25T11:32:35.293" v="5024" actId="1440"/>
          <ac:picMkLst>
            <pc:docMk/>
            <pc:sldMk cId="3364405255" sldId="711"/>
            <ac:picMk id="12290" creationId="{FFC8777F-CE4D-E993-88D3-87973CE97509}"/>
          </ac:picMkLst>
        </pc:picChg>
      </pc:sldChg>
      <pc:sldChg chg="addSp delSp modSp new mod modClrScheme chgLayout">
        <pc:chgData name="Thomas Stensitzki" userId="75cafe6b-2f2a-469b-85c4-eec3b9c972ba" providerId="ADAL" clId="{EF5284BB-E924-47D6-B186-EC378FA380D2}" dt="2023-05-16T14:48:23.642" v="2841" actId="20577"/>
        <pc:sldMkLst>
          <pc:docMk/>
          <pc:sldMk cId="3869137616" sldId="712"/>
        </pc:sldMkLst>
        <pc:spChg chg="mod ord">
          <ac:chgData name="Thomas Stensitzki" userId="75cafe6b-2f2a-469b-85c4-eec3b9c972ba" providerId="ADAL" clId="{EF5284BB-E924-47D6-B186-EC378FA380D2}" dt="2023-05-16T14:46:35.555" v="2755" actId="700"/>
          <ac:spMkLst>
            <pc:docMk/>
            <pc:sldMk cId="3869137616" sldId="712"/>
            <ac:spMk id="2" creationId="{533FCBC7-C181-5F09-A7F2-ACA52E7F6BF1}"/>
          </ac:spMkLst>
        </pc:spChg>
        <pc:spChg chg="del mod ord">
          <ac:chgData name="Thomas Stensitzki" userId="75cafe6b-2f2a-469b-85c4-eec3b9c972ba" providerId="ADAL" clId="{EF5284BB-E924-47D6-B186-EC378FA380D2}" dt="2023-05-16T14:46:35.555" v="2755" actId="700"/>
          <ac:spMkLst>
            <pc:docMk/>
            <pc:sldMk cId="3869137616" sldId="712"/>
            <ac:spMk id="3" creationId="{C97B5998-3233-D192-497E-047E66BC1829}"/>
          </ac:spMkLst>
        </pc:spChg>
        <pc:spChg chg="add mod ord">
          <ac:chgData name="Thomas Stensitzki" userId="75cafe6b-2f2a-469b-85c4-eec3b9c972ba" providerId="ADAL" clId="{EF5284BB-E924-47D6-B186-EC378FA380D2}" dt="2023-05-16T14:47:26.630" v="2785" actId="20577"/>
          <ac:spMkLst>
            <pc:docMk/>
            <pc:sldMk cId="3869137616" sldId="712"/>
            <ac:spMk id="4" creationId="{DF3754FD-847B-D8A2-400E-86D68B8F9BDF}"/>
          </ac:spMkLst>
        </pc:spChg>
        <pc:spChg chg="add mod ord">
          <ac:chgData name="Thomas Stensitzki" userId="75cafe6b-2f2a-469b-85c4-eec3b9c972ba" providerId="ADAL" clId="{EF5284BB-E924-47D6-B186-EC378FA380D2}" dt="2023-05-16T14:47:20.616" v="2772" actId="404"/>
          <ac:spMkLst>
            <pc:docMk/>
            <pc:sldMk cId="3869137616" sldId="712"/>
            <ac:spMk id="5" creationId="{7C6EB10C-D83A-3222-54F4-1ED16FF66C95}"/>
          </ac:spMkLst>
        </pc:spChg>
        <pc:spChg chg="add mod ord">
          <ac:chgData name="Thomas Stensitzki" userId="75cafe6b-2f2a-469b-85c4-eec3b9c972ba" providerId="ADAL" clId="{EF5284BB-E924-47D6-B186-EC378FA380D2}" dt="2023-05-16T14:47:39.423" v="2821" actId="20577"/>
          <ac:spMkLst>
            <pc:docMk/>
            <pc:sldMk cId="3869137616" sldId="712"/>
            <ac:spMk id="6" creationId="{0BAFA6B4-8DAD-4531-CCD5-21069E23D345}"/>
          </ac:spMkLst>
        </pc:spChg>
        <pc:spChg chg="add mod ord">
          <ac:chgData name="Thomas Stensitzki" userId="75cafe6b-2f2a-469b-85c4-eec3b9c972ba" providerId="ADAL" clId="{EF5284BB-E924-47D6-B186-EC378FA380D2}" dt="2023-05-16T14:48:23.642" v="2841" actId="20577"/>
          <ac:spMkLst>
            <pc:docMk/>
            <pc:sldMk cId="3869137616" sldId="712"/>
            <ac:spMk id="7" creationId="{73713666-D3BA-EDBF-78B2-7FB3C3BF0E0C}"/>
          </ac:spMkLst>
        </pc:spChg>
      </pc:sldChg>
      <pc:sldChg chg="addSp delSp modSp new mod ord">
        <pc:chgData name="Thomas Stensitzki" userId="75cafe6b-2f2a-469b-85c4-eec3b9c972ba" providerId="ADAL" clId="{EF5284BB-E924-47D6-B186-EC378FA380D2}" dt="2023-05-16T15:22:05.935" v="2893" actId="1076"/>
        <pc:sldMkLst>
          <pc:docMk/>
          <pc:sldMk cId="1812240311" sldId="713"/>
        </pc:sldMkLst>
        <pc:spChg chg="mod">
          <ac:chgData name="Thomas Stensitzki" userId="75cafe6b-2f2a-469b-85c4-eec3b9c972ba" providerId="ADAL" clId="{EF5284BB-E924-47D6-B186-EC378FA380D2}" dt="2023-05-16T15:18:28.077" v="2867" actId="20577"/>
          <ac:spMkLst>
            <pc:docMk/>
            <pc:sldMk cId="1812240311" sldId="713"/>
            <ac:spMk id="2" creationId="{A3CA62FB-DB46-0E45-3C5F-8E0C30500E5E}"/>
          </ac:spMkLst>
        </pc:spChg>
        <pc:spChg chg="mod">
          <ac:chgData name="Thomas Stensitzki" userId="75cafe6b-2f2a-469b-85c4-eec3b9c972ba" providerId="ADAL" clId="{EF5284BB-E924-47D6-B186-EC378FA380D2}" dt="2023-05-16T15:18:56.571" v="2877" actId="20577"/>
          <ac:spMkLst>
            <pc:docMk/>
            <pc:sldMk cId="1812240311" sldId="713"/>
            <ac:spMk id="3" creationId="{378D6642-B57A-4DCD-57DC-824BF84E317B}"/>
          </ac:spMkLst>
        </pc:spChg>
        <pc:spChg chg="add del">
          <ac:chgData name="Thomas Stensitzki" userId="75cafe6b-2f2a-469b-85c4-eec3b9c972ba" providerId="ADAL" clId="{EF5284BB-E924-47D6-B186-EC378FA380D2}" dt="2023-05-16T15:20:30.015" v="2879"/>
          <ac:spMkLst>
            <pc:docMk/>
            <pc:sldMk cId="1812240311" sldId="713"/>
            <ac:spMk id="4" creationId="{90C119DD-546D-4C8F-BAB5-3B9B4BD50D96}"/>
          </ac:spMkLst>
        </pc:spChg>
        <pc:spChg chg="add del">
          <ac:chgData name="Thomas Stensitzki" userId="75cafe6b-2f2a-469b-85c4-eec3b9c972ba" providerId="ADAL" clId="{EF5284BB-E924-47D6-B186-EC378FA380D2}" dt="2023-05-16T15:21:26.044" v="2886"/>
          <ac:spMkLst>
            <pc:docMk/>
            <pc:sldMk cId="1812240311" sldId="713"/>
            <ac:spMk id="7" creationId="{3A9EB8CF-27DC-F07E-DD59-C9AC6E83D4D1}"/>
          </ac:spMkLst>
        </pc:spChg>
        <pc:picChg chg="add mod">
          <ac:chgData name="Thomas Stensitzki" userId="75cafe6b-2f2a-469b-85c4-eec3b9c972ba" providerId="ADAL" clId="{EF5284BB-E924-47D6-B186-EC378FA380D2}" dt="2023-05-16T15:22:05.935" v="2893" actId="1076"/>
          <ac:picMkLst>
            <pc:docMk/>
            <pc:sldMk cId="1812240311" sldId="713"/>
            <ac:picMk id="6" creationId="{477FC3E1-727F-5E20-0E76-2299F0D84443}"/>
          </ac:picMkLst>
        </pc:picChg>
        <pc:picChg chg="add mod">
          <ac:chgData name="Thomas Stensitzki" userId="75cafe6b-2f2a-469b-85c4-eec3b9c972ba" providerId="ADAL" clId="{EF5284BB-E924-47D6-B186-EC378FA380D2}" dt="2023-05-16T15:21:58.262" v="2892" actId="1440"/>
          <ac:picMkLst>
            <pc:docMk/>
            <pc:sldMk cId="1812240311" sldId="713"/>
            <ac:picMk id="9" creationId="{E0DAF901-7B5D-BD85-D20B-716E13CCAA02}"/>
          </ac:picMkLst>
        </pc:picChg>
      </pc:sldChg>
      <pc:sldChg chg="modNotesTx">
        <pc:chgData name="Thomas Stensitzki" userId="75cafe6b-2f2a-469b-85c4-eec3b9c972ba" providerId="ADAL" clId="{EF5284BB-E924-47D6-B186-EC378FA380D2}" dt="2023-05-25T08:53:04.970" v="3983" actId="6549"/>
        <pc:sldMkLst>
          <pc:docMk/>
          <pc:sldMk cId="286203048" sldId="722"/>
        </pc:sldMkLst>
      </pc:sldChg>
      <pc:sldChg chg="modSp mod modNotesTx">
        <pc:chgData name="Thomas Stensitzki" userId="75cafe6b-2f2a-469b-85c4-eec3b9c972ba" providerId="ADAL" clId="{EF5284BB-E924-47D6-B186-EC378FA380D2}" dt="2023-05-25T11:32:05.981" v="5017" actId="20577"/>
        <pc:sldMkLst>
          <pc:docMk/>
          <pc:sldMk cId="3113072159" sldId="723"/>
        </pc:sldMkLst>
        <pc:spChg chg="mod">
          <ac:chgData name="Thomas Stensitzki" userId="75cafe6b-2f2a-469b-85c4-eec3b9c972ba" providerId="ADAL" clId="{EF5284BB-E924-47D6-B186-EC378FA380D2}" dt="2023-05-25T11:32:05.981" v="5017" actId="20577"/>
          <ac:spMkLst>
            <pc:docMk/>
            <pc:sldMk cId="3113072159" sldId="723"/>
            <ac:spMk id="5" creationId="{C24DACB5-1BEC-4C86-9652-BAFD8DE56FEF}"/>
          </ac:spMkLst>
        </pc:spChg>
      </pc:sldChg>
      <pc:sldChg chg="modNotesTx">
        <pc:chgData name="Thomas Stensitzki" userId="75cafe6b-2f2a-469b-85c4-eec3b9c972ba" providerId="ADAL" clId="{EF5284BB-E924-47D6-B186-EC378FA380D2}" dt="2023-05-25T08:53:22.497" v="3987" actId="6549"/>
        <pc:sldMkLst>
          <pc:docMk/>
          <pc:sldMk cId="3469518411" sldId="724"/>
        </pc:sldMkLst>
      </pc:sldChg>
      <pc:sldChg chg="addSp delSp modSp new mod">
        <pc:chgData name="Thomas Stensitzki" userId="75cafe6b-2f2a-469b-85c4-eec3b9c972ba" providerId="ADAL" clId="{EF5284BB-E924-47D6-B186-EC378FA380D2}" dt="2023-05-25T09:05:00.807" v="4038" actId="20577"/>
        <pc:sldMkLst>
          <pc:docMk/>
          <pc:sldMk cId="2980570034" sldId="728"/>
        </pc:sldMkLst>
        <pc:spChg chg="mod">
          <ac:chgData name="Thomas Stensitzki" userId="75cafe6b-2f2a-469b-85c4-eec3b9c972ba" providerId="ADAL" clId="{EF5284BB-E924-47D6-B186-EC378FA380D2}" dt="2023-05-25T09:05:00.807" v="4038" actId="20577"/>
          <ac:spMkLst>
            <pc:docMk/>
            <pc:sldMk cId="2980570034" sldId="728"/>
            <ac:spMk id="2" creationId="{EBCC6F90-D660-44CF-8C48-0FC5E552542C}"/>
          </ac:spMkLst>
        </pc:spChg>
        <pc:spChg chg="del">
          <ac:chgData name="Thomas Stensitzki" userId="75cafe6b-2f2a-469b-85c4-eec3b9c972ba" providerId="ADAL" clId="{EF5284BB-E924-47D6-B186-EC378FA380D2}" dt="2023-05-25T06:49:09.005" v="3131" actId="478"/>
          <ac:spMkLst>
            <pc:docMk/>
            <pc:sldMk cId="2980570034" sldId="728"/>
            <ac:spMk id="3" creationId="{016F21C8-A6E3-875C-8698-762D193E9833}"/>
          </ac:spMkLst>
        </pc:spChg>
        <pc:spChg chg="add mod">
          <ac:chgData name="Thomas Stensitzki" userId="75cafe6b-2f2a-469b-85c4-eec3b9c972ba" providerId="ADAL" clId="{EF5284BB-E924-47D6-B186-EC378FA380D2}" dt="2023-05-25T06:49:41.260" v="3137" actId="13822"/>
          <ac:spMkLst>
            <pc:docMk/>
            <pc:sldMk cId="2980570034" sldId="728"/>
            <ac:spMk id="6" creationId="{3096331B-675E-ABF9-F155-9FF5C3E2A1FF}"/>
          </ac:spMkLst>
        </pc:spChg>
        <pc:picChg chg="add mod">
          <ac:chgData name="Thomas Stensitzki" userId="75cafe6b-2f2a-469b-85c4-eec3b9c972ba" providerId="ADAL" clId="{EF5284BB-E924-47D6-B186-EC378FA380D2}" dt="2023-05-25T06:49:15.900" v="3133" actId="1076"/>
          <ac:picMkLst>
            <pc:docMk/>
            <pc:sldMk cId="2980570034" sldId="728"/>
            <ac:picMk id="5" creationId="{AD92326E-0926-2640-9D9E-16E1A55E92B4}"/>
          </ac:picMkLst>
        </pc:picChg>
      </pc:sldChg>
      <pc:sldChg chg="addSp delSp modSp add mod modAnim">
        <pc:chgData name="Thomas Stensitzki" userId="75cafe6b-2f2a-469b-85c4-eec3b9c972ba" providerId="ADAL" clId="{EF5284BB-E924-47D6-B186-EC378FA380D2}" dt="2023-05-25T06:54:10.351" v="3181"/>
        <pc:sldMkLst>
          <pc:docMk/>
          <pc:sldMk cId="3577359359" sldId="729"/>
        </pc:sldMkLst>
        <pc:spChg chg="add mod">
          <ac:chgData name="Thomas Stensitzki" userId="75cafe6b-2f2a-469b-85c4-eec3b9c972ba" providerId="ADAL" clId="{EF5284BB-E924-47D6-B186-EC378FA380D2}" dt="2023-05-25T06:53:31.111" v="3171" actId="1036"/>
          <ac:spMkLst>
            <pc:docMk/>
            <pc:sldMk cId="3577359359" sldId="729"/>
            <ac:spMk id="9" creationId="{045AF8AB-1B01-2C2D-63C0-F7173631EFA4}"/>
          </ac:spMkLst>
        </pc:spChg>
        <pc:spChg chg="add mod">
          <ac:chgData name="Thomas Stensitzki" userId="75cafe6b-2f2a-469b-85c4-eec3b9c972ba" providerId="ADAL" clId="{EF5284BB-E924-47D6-B186-EC378FA380D2}" dt="2023-05-25T06:53:36.972" v="3173" actId="1076"/>
          <ac:spMkLst>
            <pc:docMk/>
            <pc:sldMk cId="3577359359" sldId="729"/>
            <ac:spMk id="10" creationId="{9BEF5ED1-CC4C-D87B-F6E5-601D116A93BD}"/>
          </ac:spMkLst>
        </pc:spChg>
        <pc:spChg chg="add mod">
          <ac:chgData name="Thomas Stensitzki" userId="75cafe6b-2f2a-469b-85c4-eec3b9c972ba" providerId="ADAL" clId="{EF5284BB-E924-47D6-B186-EC378FA380D2}" dt="2023-05-25T06:53:44.108" v="3175" actId="1076"/>
          <ac:spMkLst>
            <pc:docMk/>
            <pc:sldMk cId="3577359359" sldId="729"/>
            <ac:spMk id="11" creationId="{DCFDD116-19CF-5F61-3A5E-6DD568286ABD}"/>
          </ac:spMkLst>
        </pc:spChg>
        <pc:picChg chg="del">
          <ac:chgData name="Thomas Stensitzki" userId="75cafe6b-2f2a-469b-85c4-eec3b9c972ba" providerId="ADAL" clId="{EF5284BB-E924-47D6-B186-EC378FA380D2}" dt="2023-05-25T06:52:14.524" v="3153" actId="478"/>
          <ac:picMkLst>
            <pc:docMk/>
            <pc:sldMk cId="3577359359" sldId="729"/>
            <ac:picMk id="3" creationId="{81874EEF-EFDE-0FC8-6A52-AA7BDF521F73}"/>
          </ac:picMkLst>
        </pc:picChg>
        <pc:picChg chg="add del">
          <ac:chgData name="Thomas Stensitzki" userId="75cafe6b-2f2a-469b-85c4-eec3b9c972ba" providerId="ADAL" clId="{EF5284BB-E924-47D6-B186-EC378FA380D2}" dt="2023-05-25T06:52:34.844" v="3155" actId="22"/>
          <ac:picMkLst>
            <pc:docMk/>
            <pc:sldMk cId="3577359359" sldId="729"/>
            <ac:picMk id="5" creationId="{B970152A-E001-3BF7-AECA-120E2071281E}"/>
          </ac:picMkLst>
        </pc:picChg>
        <pc:picChg chg="add mod">
          <ac:chgData name="Thomas Stensitzki" userId="75cafe6b-2f2a-469b-85c4-eec3b9c972ba" providerId="ADAL" clId="{EF5284BB-E924-47D6-B186-EC378FA380D2}" dt="2023-05-25T06:52:57.427" v="3159" actId="1440"/>
          <ac:picMkLst>
            <pc:docMk/>
            <pc:sldMk cId="3577359359" sldId="729"/>
            <ac:picMk id="8" creationId="{842933A2-0B4C-8856-EEB3-8FDA0D363F8F}"/>
          </ac:picMkLst>
        </pc:picChg>
      </pc:sldChg>
      <pc:sldChg chg="modSp add mod">
        <pc:chgData name="Thomas Stensitzki" userId="75cafe6b-2f2a-469b-85c4-eec3b9c972ba" providerId="ADAL" clId="{EF5284BB-E924-47D6-B186-EC378FA380D2}" dt="2023-05-25T06:51:42.608" v="3151" actId="14826"/>
        <pc:sldMkLst>
          <pc:docMk/>
          <pc:sldMk cId="1502079206" sldId="730"/>
        </pc:sldMkLst>
        <pc:picChg chg="mod">
          <ac:chgData name="Thomas Stensitzki" userId="75cafe6b-2f2a-469b-85c4-eec3b9c972ba" providerId="ADAL" clId="{EF5284BB-E924-47D6-B186-EC378FA380D2}" dt="2023-05-25T06:51:42.608" v="3151" actId="14826"/>
          <ac:picMkLst>
            <pc:docMk/>
            <pc:sldMk cId="1502079206" sldId="730"/>
            <ac:picMk id="5" creationId="{59007772-8755-0B09-0B61-A2C5D858E370}"/>
          </ac:picMkLst>
        </pc:picChg>
      </pc:sldChg>
      <pc:sldChg chg="modSp add mod ord modNotesTx">
        <pc:chgData name="Thomas Stensitzki" userId="75cafe6b-2f2a-469b-85c4-eec3b9c972ba" providerId="ADAL" clId="{EF5284BB-E924-47D6-B186-EC378FA380D2}" dt="2023-05-25T08:52:24.186" v="3981" actId="6549"/>
        <pc:sldMkLst>
          <pc:docMk/>
          <pc:sldMk cId="1769890538" sldId="731"/>
        </pc:sldMkLst>
        <pc:spChg chg="mod">
          <ac:chgData name="Thomas Stensitzki" userId="75cafe6b-2f2a-469b-85c4-eec3b9c972ba" providerId="ADAL" clId="{EF5284BB-E924-47D6-B186-EC378FA380D2}" dt="2023-05-25T08:49:33.970" v="3942" actId="14100"/>
          <ac:spMkLst>
            <pc:docMk/>
            <pc:sldMk cId="1769890538" sldId="731"/>
            <ac:spMk id="2" creationId="{909DC09D-B9A6-4493-9A72-1CA7ECB1F5CA}"/>
          </ac:spMkLst>
        </pc:spChg>
      </pc:sldChg>
      <pc:sldChg chg="new del">
        <pc:chgData name="Thomas Stensitzki" userId="75cafe6b-2f2a-469b-85c4-eec3b9c972ba" providerId="ADAL" clId="{EF5284BB-E924-47D6-B186-EC378FA380D2}" dt="2023-05-25T06:53:08.185" v="3160" actId="47"/>
        <pc:sldMkLst>
          <pc:docMk/>
          <pc:sldMk cId="3255802641" sldId="731"/>
        </pc:sldMkLst>
      </pc:sldChg>
      <pc:sldChg chg="modSp add mod ord modNotesTx">
        <pc:chgData name="Thomas Stensitzki" userId="75cafe6b-2f2a-469b-85c4-eec3b9c972ba" providerId="ADAL" clId="{EF5284BB-E924-47D6-B186-EC378FA380D2}" dt="2023-05-25T08:52:21.001" v="3980" actId="6549"/>
        <pc:sldMkLst>
          <pc:docMk/>
          <pc:sldMk cId="2791390437" sldId="732"/>
        </pc:sldMkLst>
        <pc:spChg chg="mod">
          <ac:chgData name="Thomas Stensitzki" userId="75cafe6b-2f2a-469b-85c4-eec3b9c972ba" providerId="ADAL" clId="{EF5284BB-E924-47D6-B186-EC378FA380D2}" dt="2023-05-25T08:49:49.834" v="3949" actId="1035"/>
          <ac:spMkLst>
            <pc:docMk/>
            <pc:sldMk cId="2791390437" sldId="732"/>
            <ac:spMk id="2" creationId="{909DC09D-B9A6-4493-9A72-1CA7ECB1F5CA}"/>
          </ac:spMkLst>
        </pc:spChg>
        <pc:spChg chg="mod">
          <ac:chgData name="Thomas Stensitzki" userId="75cafe6b-2f2a-469b-85c4-eec3b9c972ba" providerId="ADAL" clId="{EF5284BB-E924-47D6-B186-EC378FA380D2}" dt="2023-05-25T08:52:19.193" v="3979" actId="1076"/>
          <ac:spMkLst>
            <pc:docMk/>
            <pc:sldMk cId="2791390437" sldId="732"/>
            <ac:spMk id="5" creationId="{C24DACB5-1BEC-4C86-9652-BAFD8DE56FEF}"/>
          </ac:spMkLst>
        </pc:spChg>
      </pc:sldChg>
      <pc:sldChg chg="modSp add mod ord modNotesTx">
        <pc:chgData name="Thomas Stensitzki" userId="75cafe6b-2f2a-469b-85c4-eec3b9c972ba" providerId="ADAL" clId="{EF5284BB-E924-47D6-B186-EC378FA380D2}" dt="2023-05-25T08:52:10.970" v="3977" actId="6549"/>
        <pc:sldMkLst>
          <pc:docMk/>
          <pc:sldMk cId="1361695656" sldId="733"/>
        </pc:sldMkLst>
        <pc:spChg chg="mod">
          <ac:chgData name="Thomas Stensitzki" userId="75cafe6b-2f2a-469b-85c4-eec3b9c972ba" providerId="ADAL" clId="{EF5284BB-E924-47D6-B186-EC378FA380D2}" dt="2023-05-25T08:51:55.609" v="3974" actId="1076"/>
          <ac:spMkLst>
            <pc:docMk/>
            <pc:sldMk cId="1361695656" sldId="733"/>
            <ac:spMk id="2" creationId="{909DC09D-B9A6-4493-9A72-1CA7ECB1F5CA}"/>
          </ac:spMkLst>
        </pc:spChg>
      </pc:sldChg>
      <pc:sldChg chg="modSp add mod ord modNotesTx">
        <pc:chgData name="Thomas Stensitzki" userId="75cafe6b-2f2a-469b-85c4-eec3b9c972ba" providerId="ADAL" clId="{EF5284BB-E924-47D6-B186-EC378FA380D2}" dt="2023-05-25T08:52:15.995" v="3978" actId="6549"/>
        <pc:sldMkLst>
          <pc:docMk/>
          <pc:sldMk cId="2251038635" sldId="734"/>
        </pc:sldMkLst>
        <pc:spChg chg="mod">
          <ac:chgData name="Thomas Stensitzki" userId="75cafe6b-2f2a-469b-85c4-eec3b9c972ba" providerId="ADAL" clId="{EF5284BB-E924-47D6-B186-EC378FA380D2}" dt="2023-05-25T08:51:37.875" v="3969" actId="14100"/>
          <ac:spMkLst>
            <pc:docMk/>
            <pc:sldMk cId="2251038635" sldId="734"/>
            <ac:spMk id="2" creationId="{909DC09D-B9A6-4493-9A72-1CA7ECB1F5CA}"/>
          </ac:spMkLst>
        </pc:spChg>
      </pc:sldChg>
      <pc:sldChg chg="add modNotesTx">
        <pc:chgData name="Thomas Stensitzki" userId="75cafe6b-2f2a-469b-85c4-eec3b9c972ba" providerId="ADAL" clId="{EF5284BB-E924-47D6-B186-EC378FA380D2}" dt="2023-05-25T08:52:05.452" v="3976" actId="6549"/>
        <pc:sldMkLst>
          <pc:docMk/>
          <pc:sldMk cId="1632201943" sldId="735"/>
        </pc:sldMkLst>
      </pc:sldChg>
      <pc:sldChg chg="addSp delSp modSp new mod modClrScheme chgLayout">
        <pc:chgData name="Thomas Stensitzki" userId="75cafe6b-2f2a-469b-85c4-eec3b9c972ba" providerId="ADAL" clId="{EF5284BB-E924-47D6-B186-EC378FA380D2}" dt="2023-05-25T10:56:19.032" v="4307" actId="20577"/>
        <pc:sldMkLst>
          <pc:docMk/>
          <pc:sldMk cId="974887325" sldId="736"/>
        </pc:sldMkLst>
        <pc:spChg chg="del mod ord">
          <ac:chgData name="Thomas Stensitzki" userId="75cafe6b-2f2a-469b-85c4-eec3b9c972ba" providerId="ADAL" clId="{EF5284BB-E924-47D6-B186-EC378FA380D2}" dt="2023-05-25T09:13:23.898" v="4083" actId="700"/>
          <ac:spMkLst>
            <pc:docMk/>
            <pc:sldMk cId="974887325" sldId="736"/>
            <ac:spMk id="2" creationId="{22D2F5C2-4141-88F0-E00A-850CAEEC3BF9}"/>
          </ac:spMkLst>
        </pc:spChg>
        <pc:spChg chg="del">
          <ac:chgData name="Thomas Stensitzki" userId="75cafe6b-2f2a-469b-85c4-eec3b9c972ba" providerId="ADAL" clId="{EF5284BB-E924-47D6-B186-EC378FA380D2}" dt="2023-05-25T09:13:23.898" v="4083" actId="700"/>
          <ac:spMkLst>
            <pc:docMk/>
            <pc:sldMk cId="974887325" sldId="736"/>
            <ac:spMk id="3" creationId="{D5E705F6-1567-2F86-0590-8909C4093FC0}"/>
          </ac:spMkLst>
        </pc:spChg>
        <pc:spChg chg="add mod ord">
          <ac:chgData name="Thomas Stensitzki" userId="75cafe6b-2f2a-469b-85c4-eec3b9c972ba" providerId="ADAL" clId="{EF5284BB-E924-47D6-B186-EC378FA380D2}" dt="2023-05-25T10:56:19.032" v="4307" actId="20577"/>
          <ac:spMkLst>
            <pc:docMk/>
            <pc:sldMk cId="974887325" sldId="736"/>
            <ac:spMk id="4" creationId="{F4D7CAFB-9D55-07E7-22A0-3B4C1A31EE0D}"/>
          </ac:spMkLst>
        </pc:spChg>
        <pc:spChg chg="add del">
          <ac:chgData name="Thomas Stensitzki" userId="75cafe6b-2f2a-469b-85c4-eec3b9c972ba" providerId="ADAL" clId="{EF5284BB-E924-47D6-B186-EC378FA380D2}" dt="2023-05-25T09:13:34.558" v="4102" actId="22"/>
          <ac:spMkLst>
            <pc:docMk/>
            <pc:sldMk cId="974887325" sldId="736"/>
            <ac:spMk id="6" creationId="{CD59AAF2-395D-3C1F-BF47-505F235EDACA}"/>
          </ac:spMkLst>
        </pc:spChg>
        <pc:spChg chg="add mod">
          <ac:chgData name="Thomas Stensitzki" userId="75cafe6b-2f2a-469b-85c4-eec3b9c972ba" providerId="ADAL" clId="{EF5284BB-E924-47D6-B186-EC378FA380D2}" dt="2023-05-25T10:56:03.160" v="4282" actId="14100"/>
          <ac:spMkLst>
            <pc:docMk/>
            <pc:sldMk cId="974887325" sldId="736"/>
            <ac:spMk id="10" creationId="{6D202211-02D3-EA1B-3A5B-03B37CEE7167}"/>
          </ac:spMkLst>
        </pc:spChg>
        <pc:spChg chg="add mod">
          <ac:chgData name="Thomas Stensitzki" userId="75cafe6b-2f2a-469b-85c4-eec3b9c972ba" providerId="ADAL" clId="{EF5284BB-E924-47D6-B186-EC378FA380D2}" dt="2023-05-25T10:56:14.512" v="4291" actId="14100"/>
          <ac:spMkLst>
            <pc:docMk/>
            <pc:sldMk cId="974887325" sldId="736"/>
            <ac:spMk id="11" creationId="{4EEC3F54-98C7-61CC-A880-22E32440EC08}"/>
          </ac:spMkLst>
        </pc:spChg>
        <pc:picChg chg="add mod">
          <ac:chgData name="Thomas Stensitzki" userId="75cafe6b-2f2a-469b-85c4-eec3b9c972ba" providerId="ADAL" clId="{EF5284BB-E924-47D6-B186-EC378FA380D2}" dt="2023-05-25T10:55:28.080" v="4274" actId="1076"/>
          <ac:picMkLst>
            <pc:docMk/>
            <pc:sldMk cId="974887325" sldId="736"/>
            <ac:picMk id="8" creationId="{1C26A925-17EC-0C90-D134-C8E7DC796406}"/>
          </ac:picMkLst>
        </pc:picChg>
        <pc:picChg chg="add mod">
          <ac:chgData name="Thomas Stensitzki" userId="75cafe6b-2f2a-469b-85c4-eec3b9c972ba" providerId="ADAL" clId="{EF5284BB-E924-47D6-B186-EC378FA380D2}" dt="2023-05-25T10:55:33.160" v="4275" actId="1076"/>
          <ac:picMkLst>
            <pc:docMk/>
            <pc:sldMk cId="974887325" sldId="736"/>
            <ac:picMk id="9" creationId="{0966EED6-3B95-2545-0756-423F67702984}"/>
          </ac:picMkLst>
        </pc:picChg>
      </pc:sldChg>
      <pc:sldChg chg="addSp delSp modSp add mod">
        <pc:chgData name="Thomas Stensitzki" userId="75cafe6b-2f2a-469b-85c4-eec3b9c972ba" providerId="ADAL" clId="{EF5284BB-E924-47D6-B186-EC378FA380D2}" dt="2023-05-25T10:50:53.853" v="4249"/>
        <pc:sldMkLst>
          <pc:docMk/>
          <pc:sldMk cId="158289274" sldId="737"/>
        </pc:sldMkLst>
        <pc:spChg chg="mod">
          <ac:chgData name="Thomas Stensitzki" userId="75cafe6b-2f2a-469b-85c4-eec3b9c972ba" providerId="ADAL" clId="{EF5284BB-E924-47D6-B186-EC378FA380D2}" dt="2023-05-25T10:50:53.853" v="4249"/>
          <ac:spMkLst>
            <pc:docMk/>
            <pc:sldMk cId="158289274" sldId="737"/>
            <ac:spMk id="4" creationId="{F4D7CAFB-9D55-07E7-22A0-3B4C1A31EE0D}"/>
          </ac:spMkLst>
        </pc:spChg>
        <pc:spChg chg="add mod">
          <ac:chgData name="Thomas Stensitzki" userId="75cafe6b-2f2a-469b-85c4-eec3b9c972ba" providerId="ADAL" clId="{EF5284BB-E924-47D6-B186-EC378FA380D2}" dt="2023-05-25T10:41:39.581" v="4112" actId="1076"/>
          <ac:spMkLst>
            <pc:docMk/>
            <pc:sldMk cId="158289274" sldId="737"/>
            <ac:spMk id="5" creationId="{4A676B6A-8119-39F2-AA45-C85912C80633}"/>
          </ac:spMkLst>
        </pc:spChg>
        <pc:picChg chg="add mod">
          <ac:chgData name="Thomas Stensitzki" userId="75cafe6b-2f2a-469b-85c4-eec3b9c972ba" providerId="ADAL" clId="{EF5284BB-E924-47D6-B186-EC378FA380D2}" dt="2023-05-25T10:41:27.973" v="4110" actId="1440"/>
          <ac:picMkLst>
            <pc:docMk/>
            <pc:sldMk cId="158289274" sldId="737"/>
            <ac:picMk id="3" creationId="{F1BCB3D8-BFD9-C141-E96B-704DFFC3D2F8}"/>
          </ac:picMkLst>
        </pc:picChg>
        <pc:picChg chg="del">
          <ac:chgData name="Thomas Stensitzki" userId="75cafe6b-2f2a-469b-85c4-eec3b9c972ba" providerId="ADAL" clId="{EF5284BB-E924-47D6-B186-EC378FA380D2}" dt="2023-05-25T10:41:23.827" v="4109" actId="478"/>
          <ac:picMkLst>
            <pc:docMk/>
            <pc:sldMk cId="158289274" sldId="737"/>
            <ac:picMk id="8" creationId="{1C26A925-17EC-0C90-D134-C8E7DC796406}"/>
          </ac:picMkLst>
        </pc:picChg>
      </pc:sldChg>
      <pc:sldChg chg="addSp delSp modSp add mod modAnim">
        <pc:chgData name="Thomas Stensitzki" userId="75cafe6b-2f2a-469b-85c4-eec3b9c972ba" providerId="ADAL" clId="{EF5284BB-E924-47D6-B186-EC378FA380D2}" dt="2023-05-25T10:50:47.308" v="4248" actId="20577"/>
        <pc:sldMkLst>
          <pc:docMk/>
          <pc:sldMk cId="4000776221" sldId="738"/>
        </pc:sldMkLst>
        <pc:spChg chg="mod">
          <ac:chgData name="Thomas Stensitzki" userId="75cafe6b-2f2a-469b-85c4-eec3b9c972ba" providerId="ADAL" clId="{EF5284BB-E924-47D6-B186-EC378FA380D2}" dt="2023-05-25T10:50:47.308" v="4248" actId="20577"/>
          <ac:spMkLst>
            <pc:docMk/>
            <pc:sldMk cId="4000776221" sldId="738"/>
            <ac:spMk id="4" creationId="{F4D7CAFB-9D55-07E7-22A0-3B4C1A31EE0D}"/>
          </ac:spMkLst>
        </pc:spChg>
        <pc:spChg chg="del">
          <ac:chgData name="Thomas Stensitzki" userId="75cafe6b-2f2a-469b-85c4-eec3b9c972ba" providerId="ADAL" clId="{EF5284BB-E924-47D6-B186-EC378FA380D2}" dt="2023-05-25T10:43:02.174" v="4115" actId="478"/>
          <ac:spMkLst>
            <pc:docMk/>
            <pc:sldMk cId="4000776221" sldId="738"/>
            <ac:spMk id="5" creationId="{4A676B6A-8119-39F2-AA45-C85912C80633}"/>
          </ac:spMkLst>
        </pc:spChg>
        <pc:spChg chg="add mod">
          <ac:chgData name="Thomas Stensitzki" userId="75cafe6b-2f2a-469b-85c4-eec3b9c972ba" providerId="ADAL" clId="{EF5284BB-E924-47D6-B186-EC378FA380D2}" dt="2023-05-25T10:44:10.756" v="4125" actId="1076"/>
          <ac:spMkLst>
            <pc:docMk/>
            <pc:sldMk cId="4000776221" sldId="738"/>
            <ac:spMk id="11" creationId="{F26EBBF3-A4D6-937E-577F-B85D141F9B93}"/>
          </ac:spMkLst>
        </pc:spChg>
        <pc:spChg chg="add mod">
          <ac:chgData name="Thomas Stensitzki" userId="75cafe6b-2f2a-469b-85c4-eec3b9c972ba" providerId="ADAL" clId="{EF5284BB-E924-47D6-B186-EC378FA380D2}" dt="2023-05-25T10:44:17.094" v="4127" actId="1076"/>
          <ac:spMkLst>
            <pc:docMk/>
            <pc:sldMk cId="4000776221" sldId="738"/>
            <ac:spMk id="12" creationId="{231AA4EB-E5A8-29F5-2B4B-0560726EF6E2}"/>
          </ac:spMkLst>
        </pc:spChg>
        <pc:picChg chg="del">
          <ac:chgData name="Thomas Stensitzki" userId="75cafe6b-2f2a-469b-85c4-eec3b9c972ba" providerId="ADAL" clId="{EF5284BB-E924-47D6-B186-EC378FA380D2}" dt="2023-05-25T10:43:01.342" v="4114" actId="478"/>
          <ac:picMkLst>
            <pc:docMk/>
            <pc:sldMk cId="4000776221" sldId="738"/>
            <ac:picMk id="3" creationId="{F1BCB3D8-BFD9-C141-E96B-704DFFC3D2F8}"/>
          </ac:picMkLst>
        </pc:picChg>
        <pc:picChg chg="add mod">
          <ac:chgData name="Thomas Stensitzki" userId="75cafe6b-2f2a-469b-85c4-eec3b9c972ba" providerId="ADAL" clId="{EF5284BB-E924-47D6-B186-EC378FA380D2}" dt="2023-05-25T10:43:10.358" v="4117" actId="1076"/>
          <ac:picMkLst>
            <pc:docMk/>
            <pc:sldMk cId="4000776221" sldId="738"/>
            <ac:picMk id="6" creationId="{C052585C-3202-F8FE-58C6-E2E32451DB66}"/>
          </ac:picMkLst>
        </pc:picChg>
        <pc:picChg chg="add mod">
          <ac:chgData name="Thomas Stensitzki" userId="75cafe6b-2f2a-469b-85c4-eec3b9c972ba" providerId="ADAL" clId="{EF5284BB-E924-47D6-B186-EC378FA380D2}" dt="2023-05-25T10:43:54.284" v="4122" actId="1076"/>
          <ac:picMkLst>
            <pc:docMk/>
            <pc:sldMk cId="4000776221" sldId="738"/>
            <ac:picMk id="8" creationId="{C1D03CE0-F240-9606-3318-E38DF48E9344}"/>
          </ac:picMkLst>
        </pc:picChg>
        <pc:picChg chg="add mod">
          <ac:chgData name="Thomas Stensitzki" userId="75cafe6b-2f2a-469b-85c4-eec3b9c972ba" providerId="ADAL" clId="{EF5284BB-E924-47D6-B186-EC378FA380D2}" dt="2023-05-25T10:43:51.620" v="4121" actId="1076"/>
          <ac:picMkLst>
            <pc:docMk/>
            <pc:sldMk cId="4000776221" sldId="738"/>
            <ac:picMk id="10" creationId="{048BC0EE-2844-9215-CF12-60613B89D82F}"/>
          </ac:picMkLst>
        </pc:picChg>
      </pc:sldChg>
      <pc:sldChg chg="addSp modSp new mod">
        <pc:chgData name="Thomas Stensitzki" userId="75cafe6b-2f2a-469b-85c4-eec3b9c972ba" providerId="ADAL" clId="{EF5284BB-E924-47D6-B186-EC378FA380D2}" dt="2023-05-25T10:50:36.011" v="4220" actId="14100"/>
        <pc:sldMkLst>
          <pc:docMk/>
          <pc:sldMk cId="3492126300" sldId="739"/>
        </pc:sldMkLst>
        <pc:spChg chg="mod">
          <ac:chgData name="Thomas Stensitzki" userId="75cafe6b-2f2a-469b-85c4-eec3b9c972ba" providerId="ADAL" clId="{EF5284BB-E924-47D6-B186-EC378FA380D2}" dt="2023-05-25T10:50:36.011" v="4220" actId="14100"/>
          <ac:spMkLst>
            <pc:docMk/>
            <pc:sldMk cId="3492126300" sldId="739"/>
            <ac:spMk id="2" creationId="{97E9250D-524B-948F-90E6-D89A9976E4AA}"/>
          </ac:spMkLst>
        </pc:spChg>
        <pc:spChg chg="add mod">
          <ac:chgData name="Thomas Stensitzki" userId="75cafe6b-2f2a-469b-85c4-eec3b9c972ba" providerId="ADAL" clId="{EF5284BB-E924-47D6-B186-EC378FA380D2}" dt="2023-05-25T10:46:50.501" v="4136" actId="1076"/>
          <ac:spMkLst>
            <pc:docMk/>
            <pc:sldMk cId="3492126300" sldId="739"/>
            <ac:spMk id="5" creationId="{ADCF37D5-4EA9-883F-517A-E718D8E63997}"/>
          </ac:spMkLst>
        </pc:spChg>
        <pc:picChg chg="add mod">
          <ac:chgData name="Thomas Stensitzki" userId="75cafe6b-2f2a-469b-85c4-eec3b9c972ba" providerId="ADAL" clId="{EF5284BB-E924-47D6-B186-EC378FA380D2}" dt="2023-05-25T10:46:41.303" v="4134" actId="1440"/>
          <ac:picMkLst>
            <pc:docMk/>
            <pc:sldMk cId="3492126300" sldId="739"/>
            <ac:picMk id="4" creationId="{C6607B7A-3798-4A71-F249-F7168E62DE91}"/>
          </ac:picMkLst>
        </pc:picChg>
      </pc:sldChg>
      <pc:sldChg chg="addSp delSp modSp add mod">
        <pc:chgData name="Thomas Stensitzki" userId="75cafe6b-2f2a-469b-85c4-eec3b9c972ba" providerId="ADAL" clId="{EF5284BB-E924-47D6-B186-EC378FA380D2}" dt="2023-05-25T10:50:10.650" v="4176" actId="20577"/>
        <pc:sldMkLst>
          <pc:docMk/>
          <pc:sldMk cId="4097662530" sldId="740"/>
        </pc:sldMkLst>
        <pc:spChg chg="mod">
          <ac:chgData name="Thomas Stensitzki" userId="75cafe6b-2f2a-469b-85c4-eec3b9c972ba" providerId="ADAL" clId="{EF5284BB-E924-47D6-B186-EC378FA380D2}" dt="2023-05-25T10:50:10.650" v="4176" actId="20577"/>
          <ac:spMkLst>
            <pc:docMk/>
            <pc:sldMk cId="4097662530" sldId="740"/>
            <ac:spMk id="2" creationId="{97E9250D-524B-948F-90E6-D89A9976E4AA}"/>
          </ac:spMkLst>
        </pc:spChg>
        <pc:spChg chg="del">
          <ac:chgData name="Thomas Stensitzki" userId="75cafe6b-2f2a-469b-85c4-eec3b9c972ba" providerId="ADAL" clId="{EF5284BB-E924-47D6-B186-EC378FA380D2}" dt="2023-05-25T10:48:07.453" v="4155" actId="478"/>
          <ac:spMkLst>
            <pc:docMk/>
            <pc:sldMk cId="4097662530" sldId="740"/>
            <ac:spMk id="5" creationId="{ADCF37D5-4EA9-883F-517A-E718D8E63997}"/>
          </ac:spMkLst>
        </pc:spChg>
        <pc:spChg chg="add mod">
          <ac:chgData name="Thomas Stensitzki" userId="75cafe6b-2f2a-469b-85c4-eec3b9c972ba" providerId="ADAL" clId="{EF5284BB-E924-47D6-B186-EC378FA380D2}" dt="2023-05-25T10:48:23.986" v="4159" actId="1076"/>
          <ac:spMkLst>
            <pc:docMk/>
            <pc:sldMk cId="4097662530" sldId="740"/>
            <ac:spMk id="7" creationId="{E1F24479-4A07-2911-BD16-E427D8B2646B}"/>
          </ac:spMkLst>
        </pc:spChg>
        <pc:picChg chg="del">
          <ac:chgData name="Thomas Stensitzki" userId="75cafe6b-2f2a-469b-85c4-eec3b9c972ba" providerId="ADAL" clId="{EF5284BB-E924-47D6-B186-EC378FA380D2}" dt="2023-05-25T10:48:07.453" v="4155" actId="478"/>
          <ac:picMkLst>
            <pc:docMk/>
            <pc:sldMk cId="4097662530" sldId="740"/>
            <ac:picMk id="4" creationId="{C6607B7A-3798-4A71-F249-F7168E62DE91}"/>
          </ac:picMkLst>
        </pc:picChg>
        <pc:picChg chg="add mod">
          <ac:chgData name="Thomas Stensitzki" userId="75cafe6b-2f2a-469b-85c4-eec3b9c972ba" providerId="ADAL" clId="{EF5284BB-E924-47D6-B186-EC378FA380D2}" dt="2023-05-25T10:48:14.851" v="4157" actId="1076"/>
          <ac:picMkLst>
            <pc:docMk/>
            <pc:sldMk cId="4097662530" sldId="740"/>
            <ac:picMk id="6" creationId="{C5E948D6-77D4-3754-98BD-F2B971C44276}"/>
          </ac:picMkLst>
        </pc:picChg>
      </pc:sldChg>
      <pc:sldChg chg="addSp delSp modSp new mod">
        <pc:chgData name="Thomas Stensitzki" userId="75cafe6b-2f2a-469b-85c4-eec3b9c972ba" providerId="ADAL" clId="{EF5284BB-E924-47D6-B186-EC378FA380D2}" dt="2023-05-25T14:39:10.763" v="5049" actId="1076"/>
        <pc:sldMkLst>
          <pc:docMk/>
          <pc:sldMk cId="980172925" sldId="741"/>
        </pc:sldMkLst>
        <pc:spChg chg="del mod">
          <ac:chgData name="Thomas Stensitzki" userId="75cafe6b-2f2a-469b-85c4-eec3b9c972ba" providerId="ADAL" clId="{EF5284BB-E924-47D6-B186-EC378FA380D2}" dt="2023-05-25T14:36:57.955" v="5043" actId="478"/>
          <ac:spMkLst>
            <pc:docMk/>
            <pc:sldMk cId="980172925" sldId="741"/>
            <ac:spMk id="2" creationId="{8F74483C-9F99-2323-7049-0AB99DA8E759}"/>
          </ac:spMkLst>
        </pc:spChg>
        <pc:spChg chg="del">
          <ac:chgData name="Thomas Stensitzki" userId="75cafe6b-2f2a-469b-85c4-eec3b9c972ba" providerId="ADAL" clId="{EF5284BB-E924-47D6-B186-EC378FA380D2}" dt="2023-05-25T14:35:26.719" v="5032" actId="478"/>
          <ac:spMkLst>
            <pc:docMk/>
            <pc:sldMk cId="980172925" sldId="741"/>
            <ac:spMk id="3" creationId="{D88324ED-DC2D-2F19-979D-E5F7FA5B4B2E}"/>
          </ac:spMkLst>
        </pc:spChg>
        <pc:spChg chg="add del mod">
          <ac:chgData name="Thomas Stensitzki" userId="75cafe6b-2f2a-469b-85c4-eec3b9c972ba" providerId="ADAL" clId="{EF5284BB-E924-47D6-B186-EC378FA380D2}" dt="2023-05-25T14:37:01.888" v="5044" actId="478"/>
          <ac:spMkLst>
            <pc:docMk/>
            <pc:sldMk cId="980172925" sldId="741"/>
            <ac:spMk id="6" creationId="{16F38E56-9DF9-B55A-64B2-E85EB95BAC25}"/>
          </ac:spMkLst>
        </pc:spChg>
        <pc:picChg chg="add mod">
          <ac:chgData name="Thomas Stensitzki" userId="75cafe6b-2f2a-469b-85c4-eec3b9c972ba" providerId="ADAL" clId="{EF5284BB-E924-47D6-B186-EC378FA380D2}" dt="2023-05-25T14:36:46.040" v="5040" actId="1076"/>
          <ac:picMkLst>
            <pc:docMk/>
            <pc:sldMk cId="980172925" sldId="741"/>
            <ac:picMk id="4" creationId="{401BDEF3-90E0-DBBA-9FF5-31659B075E2A}"/>
          </ac:picMkLst>
        </pc:picChg>
        <pc:picChg chg="add mod">
          <ac:chgData name="Thomas Stensitzki" userId="75cafe6b-2f2a-469b-85c4-eec3b9c972ba" providerId="ADAL" clId="{EF5284BB-E924-47D6-B186-EC378FA380D2}" dt="2023-05-25T14:39:10.763" v="5049" actId="1076"/>
          <ac:picMkLst>
            <pc:docMk/>
            <pc:sldMk cId="980172925" sldId="741"/>
            <ac:picMk id="8" creationId="{2EB55981-0768-CE03-F2D9-17DC21F5CED5}"/>
          </ac:picMkLst>
        </pc:picChg>
        <pc:picChg chg="add mod">
          <ac:chgData name="Thomas Stensitzki" userId="75cafe6b-2f2a-469b-85c4-eec3b9c972ba" providerId="ADAL" clId="{EF5284BB-E924-47D6-B186-EC378FA380D2}" dt="2023-05-25T14:36:42.129" v="5039" actId="1440"/>
          <ac:picMkLst>
            <pc:docMk/>
            <pc:sldMk cId="980172925" sldId="741"/>
            <ac:picMk id="1026" creationId="{A56E732E-05A6-05FC-08CC-655BB585349B}"/>
          </ac:picMkLst>
        </pc:picChg>
      </pc:sldChg>
      <pc:sldChg chg="modSp new del mod">
        <pc:chgData name="Thomas Stensitzki" userId="75cafe6b-2f2a-469b-85c4-eec3b9c972ba" providerId="ADAL" clId="{EF5284BB-E924-47D6-B186-EC378FA380D2}" dt="2023-05-25T14:46:48.245" v="5062" actId="2696"/>
        <pc:sldMkLst>
          <pc:docMk/>
          <pc:sldMk cId="1717136232" sldId="742"/>
        </pc:sldMkLst>
        <pc:spChg chg="mod">
          <ac:chgData name="Thomas Stensitzki" userId="75cafe6b-2f2a-469b-85c4-eec3b9c972ba" providerId="ADAL" clId="{EF5284BB-E924-47D6-B186-EC378FA380D2}" dt="2023-05-25T14:46:43.591" v="5061" actId="20577"/>
          <ac:spMkLst>
            <pc:docMk/>
            <pc:sldMk cId="1717136232" sldId="742"/>
            <ac:spMk id="2" creationId="{D2086B68-4BD3-442E-1FBD-043F41B2AE4C}"/>
          </ac:spMkLst>
        </pc:spChg>
      </pc:sldChg>
      <pc:sldChg chg="addSp delSp modSp new mod modClrScheme chgLayout">
        <pc:chgData name="Thomas Stensitzki" userId="75cafe6b-2f2a-469b-85c4-eec3b9c972ba" providerId="ADAL" clId="{EF5284BB-E924-47D6-B186-EC378FA380D2}" dt="2023-05-25T15:41:45.436" v="5109" actId="1076"/>
        <pc:sldMkLst>
          <pc:docMk/>
          <pc:sldMk cId="2087758615" sldId="742"/>
        </pc:sldMkLst>
        <pc:spChg chg="del mod ord">
          <ac:chgData name="Thomas Stensitzki" userId="75cafe6b-2f2a-469b-85c4-eec3b9c972ba" providerId="ADAL" clId="{EF5284BB-E924-47D6-B186-EC378FA380D2}" dt="2023-05-25T15:39:27.546" v="5072" actId="700"/>
          <ac:spMkLst>
            <pc:docMk/>
            <pc:sldMk cId="2087758615" sldId="742"/>
            <ac:spMk id="2" creationId="{461EA2ED-4498-CB34-EEF5-CBBF37E8B185}"/>
          </ac:spMkLst>
        </pc:spChg>
        <pc:spChg chg="del">
          <ac:chgData name="Thomas Stensitzki" userId="75cafe6b-2f2a-469b-85c4-eec3b9c972ba" providerId="ADAL" clId="{EF5284BB-E924-47D6-B186-EC378FA380D2}" dt="2023-05-25T15:39:27.546" v="5072" actId="700"/>
          <ac:spMkLst>
            <pc:docMk/>
            <pc:sldMk cId="2087758615" sldId="742"/>
            <ac:spMk id="3" creationId="{37777BD8-C652-0141-435E-B4D3840E8341}"/>
          </ac:spMkLst>
        </pc:spChg>
        <pc:spChg chg="add mod ord">
          <ac:chgData name="Thomas Stensitzki" userId="75cafe6b-2f2a-469b-85c4-eec3b9c972ba" providerId="ADAL" clId="{EF5284BB-E924-47D6-B186-EC378FA380D2}" dt="2023-05-25T15:39:34.457" v="5101" actId="20577"/>
          <ac:spMkLst>
            <pc:docMk/>
            <pc:sldMk cId="2087758615" sldId="742"/>
            <ac:spMk id="6" creationId="{352435B0-CDA2-673A-6C8D-5D4889CF8713}"/>
          </ac:spMkLst>
        </pc:spChg>
        <pc:spChg chg="add mod">
          <ac:chgData name="Thomas Stensitzki" userId="75cafe6b-2f2a-469b-85c4-eec3b9c972ba" providerId="ADAL" clId="{EF5284BB-E924-47D6-B186-EC378FA380D2}" dt="2023-05-25T15:41:45.436" v="5109" actId="1076"/>
          <ac:spMkLst>
            <pc:docMk/>
            <pc:sldMk cId="2087758615" sldId="742"/>
            <ac:spMk id="7" creationId="{46285721-03E8-4963-D456-1E603B70E3DE}"/>
          </ac:spMkLst>
        </pc:spChg>
        <pc:picChg chg="add mod">
          <ac:chgData name="Thomas Stensitzki" userId="75cafe6b-2f2a-469b-85c4-eec3b9c972ba" providerId="ADAL" clId="{EF5284BB-E924-47D6-B186-EC378FA380D2}" dt="2023-05-25T15:41:42.369" v="5108" actId="1076"/>
          <ac:picMkLst>
            <pc:docMk/>
            <pc:sldMk cId="2087758615" sldId="742"/>
            <ac:picMk id="5" creationId="{71EF0DB3-CBB7-CF10-38F1-D56A5BA7F42D}"/>
          </ac:picMkLst>
        </pc:picChg>
      </pc:sldChg>
    </pc:docChg>
  </pc:docChgLst>
  <pc:docChgLst>
    <pc:chgData name="Thomas Stensitzki" userId="75cafe6b-2f2a-469b-85c4-eec3b9c972ba" providerId="ADAL" clId="{13A7DD84-EBC7-44DF-A4B8-478E332BAF16}"/>
    <pc:docChg chg="undo custSel addSld delSld modSld sldOrd modSection">
      <pc:chgData name="Thomas Stensitzki" userId="75cafe6b-2f2a-469b-85c4-eec3b9c972ba" providerId="ADAL" clId="{13A7DD84-EBC7-44DF-A4B8-478E332BAF16}" dt="2021-08-12T18:30:02.192" v="1854" actId="1076"/>
      <pc:docMkLst>
        <pc:docMk/>
      </pc:docMkLst>
      <pc:sldChg chg="modSp mod">
        <pc:chgData name="Thomas Stensitzki" userId="75cafe6b-2f2a-469b-85c4-eec3b9c972ba" providerId="ADAL" clId="{13A7DD84-EBC7-44DF-A4B8-478E332BAF16}" dt="2021-08-05T16:07:11.930" v="18" actId="20577"/>
        <pc:sldMkLst>
          <pc:docMk/>
          <pc:sldMk cId="671489701" sldId="256"/>
        </pc:sldMkLst>
        <pc:spChg chg="mod">
          <ac:chgData name="Thomas Stensitzki" userId="75cafe6b-2f2a-469b-85c4-eec3b9c972ba" providerId="ADAL" clId="{13A7DD84-EBC7-44DF-A4B8-478E332BAF16}" dt="2021-08-05T16:07:11.930" v="18" actId="20577"/>
          <ac:spMkLst>
            <pc:docMk/>
            <pc:sldMk cId="671489701" sldId="256"/>
            <ac:spMk id="3" creationId="{CBA95633-B02D-4A15-A8B1-A38E0A70FD27}"/>
          </ac:spMkLst>
        </pc:spChg>
      </pc:sldChg>
      <pc:sldChg chg="modSp mod">
        <pc:chgData name="Thomas Stensitzki" userId="75cafe6b-2f2a-469b-85c4-eec3b9c972ba" providerId="ADAL" clId="{13A7DD84-EBC7-44DF-A4B8-478E332BAF16}" dt="2021-08-12T15:32:07.902" v="1639" actId="20577"/>
        <pc:sldMkLst>
          <pc:docMk/>
          <pc:sldMk cId="2855324227" sldId="257"/>
        </pc:sldMkLst>
        <pc:spChg chg="mod">
          <ac:chgData name="Thomas Stensitzki" userId="75cafe6b-2f2a-469b-85c4-eec3b9c972ba" providerId="ADAL" clId="{13A7DD84-EBC7-44DF-A4B8-478E332BAF16}" dt="2021-08-12T15:32:07.902" v="1639" actId="20577"/>
          <ac:spMkLst>
            <pc:docMk/>
            <pc:sldMk cId="2855324227" sldId="257"/>
            <ac:spMk id="5" creationId="{EE6719E1-4DB6-4D58-BA77-937CF975247C}"/>
          </ac:spMkLst>
        </pc:spChg>
        <pc:graphicFrameChg chg="mod modGraphic">
          <ac:chgData name="Thomas Stensitzki" userId="75cafe6b-2f2a-469b-85c4-eec3b9c972ba" providerId="ADAL" clId="{13A7DD84-EBC7-44DF-A4B8-478E332BAF16}" dt="2021-08-05T16:10:21.858" v="53" actId="15"/>
          <ac:graphicFrameMkLst>
            <pc:docMk/>
            <pc:sldMk cId="2855324227" sldId="257"/>
            <ac:graphicFrameMk id="6" creationId="{0F955DCC-462D-431D-BBDE-26F10687D590}"/>
          </ac:graphicFrameMkLst>
        </pc:graphicFrameChg>
      </pc:sldChg>
      <pc:sldChg chg="delSp modSp mod">
        <pc:chgData name="Thomas Stensitzki" userId="75cafe6b-2f2a-469b-85c4-eec3b9c972ba" providerId="ADAL" clId="{13A7DD84-EBC7-44DF-A4B8-478E332BAF16}" dt="2021-08-10T17:34:58.104" v="1556" actId="6549"/>
        <pc:sldMkLst>
          <pc:docMk/>
          <pc:sldMk cId="3332792154" sldId="258"/>
        </pc:sldMkLst>
        <pc:spChg chg="mod">
          <ac:chgData name="Thomas Stensitzki" userId="75cafe6b-2f2a-469b-85c4-eec3b9c972ba" providerId="ADAL" clId="{13A7DD84-EBC7-44DF-A4B8-478E332BAF16}" dt="2021-08-10T17:34:58.104" v="1556" actId="6549"/>
          <ac:spMkLst>
            <pc:docMk/>
            <pc:sldMk cId="3332792154" sldId="258"/>
            <ac:spMk id="3" creationId="{3A5A44EB-7FB9-473A-8ED3-C49DDD2E65AB}"/>
          </ac:spMkLst>
        </pc:spChg>
        <pc:picChg chg="del">
          <ac:chgData name="Thomas Stensitzki" userId="75cafe6b-2f2a-469b-85c4-eec3b9c972ba" providerId="ADAL" clId="{13A7DD84-EBC7-44DF-A4B8-478E332BAF16}" dt="2021-08-10T17:33:39.840" v="1539" actId="478"/>
          <ac:picMkLst>
            <pc:docMk/>
            <pc:sldMk cId="3332792154" sldId="258"/>
            <ac:picMk id="5" creationId="{EEE89219-4CF0-44A2-811B-A2CBC860BCCC}"/>
          </ac:picMkLst>
        </pc:picChg>
      </pc:sldChg>
      <pc:sldChg chg="addSp modSp mod">
        <pc:chgData name="Thomas Stensitzki" userId="75cafe6b-2f2a-469b-85c4-eec3b9c972ba" providerId="ADAL" clId="{13A7DD84-EBC7-44DF-A4B8-478E332BAF16}" dt="2021-08-12T18:30:02.192" v="1854" actId="1076"/>
        <pc:sldMkLst>
          <pc:docMk/>
          <pc:sldMk cId="2698998357" sldId="260"/>
        </pc:sldMkLst>
        <pc:spChg chg="mod">
          <ac:chgData name="Thomas Stensitzki" userId="75cafe6b-2f2a-469b-85c4-eec3b9c972ba" providerId="ADAL" clId="{13A7DD84-EBC7-44DF-A4B8-478E332BAF16}" dt="2021-08-05T16:10:43.636" v="54"/>
          <ac:spMkLst>
            <pc:docMk/>
            <pc:sldMk cId="2698998357" sldId="260"/>
            <ac:spMk id="4" creationId="{F3A15CBD-C746-44A3-A4F0-4898CE2F02E6}"/>
          </ac:spMkLst>
        </pc:spChg>
        <pc:spChg chg="mod">
          <ac:chgData name="Thomas Stensitzki" userId="75cafe6b-2f2a-469b-85c4-eec3b9c972ba" providerId="ADAL" clId="{13A7DD84-EBC7-44DF-A4B8-478E332BAF16}" dt="2021-08-05T16:11:10.016" v="62" actId="6549"/>
          <ac:spMkLst>
            <pc:docMk/>
            <pc:sldMk cId="2698998357" sldId="260"/>
            <ac:spMk id="5" creationId="{F3459BE7-1731-4733-A912-12977C68CFD6}"/>
          </ac:spMkLst>
        </pc:spChg>
        <pc:spChg chg="add mod">
          <ac:chgData name="Thomas Stensitzki" userId="75cafe6b-2f2a-469b-85c4-eec3b9c972ba" providerId="ADAL" clId="{13A7DD84-EBC7-44DF-A4B8-478E332BAF16}" dt="2021-08-12T18:30:02.192" v="1854" actId="1076"/>
          <ac:spMkLst>
            <pc:docMk/>
            <pc:sldMk cId="2698998357" sldId="260"/>
            <ac:spMk id="6" creationId="{AC7B595A-A4C5-4A86-B8F3-29469F0A7A0E}"/>
          </ac:spMkLst>
        </pc:spChg>
      </pc:sldChg>
      <pc:sldChg chg="addSp modSp mod">
        <pc:chgData name="Thomas Stensitzki" userId="75cafe6b-2f2a-469b-85c4-eec3b9c972ba" providerId="ADAL" clId="{13A7DD84-EBC7-44DF-A4B8-478E332BAF16}" dt="2021-08-05T16:55:34.656" v="859" actId="1076"/>
        <pc:sldMkLst>
          <pc:docMk/>
          <pc:sldMk cId="4007670073" sldId="268"/>
        </pc:sldMkLst>
        <pc:spChg chg="add mod">
          <ac:chgData name="Thomas Stensitzki" userId="75cafe6b-2f2a-469b-85c4-eec3b9c972ba" providerId="ADAL" clId="{13A7DD84-EBC7-44DF-A4B8-478E332BAF16}" dt="2021-08-05T16:55:34.656" v="859" actId="1076"/>
          <ac:spMkLst>
            <pc:docMk/>
            <pc:sldMk cId="4007670073" sldId="268"/>
            <ac:spMk id="2" creationId="{A0204B4B-AC00-4A91-B83C-FDA5915CC9E5}"/>
          </ac:spMkLst>
        </pc:spChg>
        <pc:spChg chg="mod">
          <ac:chgData name="Thomas Stensitzki" userId="75cafe6b-2f2a-469b-85c4-eec3b9c972ba" providerId="ADAL" clId="{13A7DD84-EBC7-44DF-A4B8-478E332BAF16}" dt="2021-08-05T16:52:56.837" v="832" actId="20577"/>
          <ac:spMkLst>
            <pc:docMk/>
            <pc:sldMk cId="4007670073" sldId="268"/>
            <ac:spMk id="4" creationId="{F3A15CBD-C746-44A3-A4F0-4898CE2F02E6}"/>
          </ac:spMkLst>
        </pc:spChg>
      </pc:sldChg>
      <pc:sldChg chg="modSp mod">
        <pc:chgData name="Thomas Stensitzki" userId="75cafe6b-2f2a-469b-85c4-eec3b9c972ba" providerId="ADAL" clId="{13A7DD84-EBC7-44DF-A4B8-478E332BAF16}" dt="2021-08-12T18:29:18.029" v="1853" actId="3626"/>
        <pc:sldMkLst>
          <pc:docMk/>
          <pc:sldMk cId="2721051844" sldId="269"/>
        </pc:sldMkLst>
        <pc:spChg chg="mod">
          <ac:chgData name="Thomas Stensitzki" userId="75cafe6b-2f2a-469b-85c4-eec3b9c972ba" providerId="ADAL" clId="{13A7DD84-EBC7-44DF-A4B8-478E332BAF16}" dt="2021-08-12T18:29:18.029" v="1853" actId="3626"/>
          <ac:spMkLst>
            <pc:docMk/>
            <pc:sldMk cId="2721051844" sldId="269"/>
            <ac:spMk id="5" creationId="{C24DACB5-1BEC-4C86-9652-BAFD8DE56FEF}"/>
          </ac:spMkLst>
        </pc:spChg>
      </pc:sldChg>
      <pc:sldChg chg="mod modShow">
        <pc:chgData name="Thomas Stensitzki" userId="75cafe6b-2f2a-469b-85c4-eec3b9c972ba" providerId="ADAL" clId="{13A7DD84-EBC7-44DF-A4B8-478E332BAF16}" dt="2021-08-12T16:19:08.578" v="1666" actId="729"/>
        <pc:sldMkLst>
          <pc:docMk/>
          <pc:sldMk cId="466045460" sldId="296"/>
        </pc:sldMkLst>
      </pc:sldChg>
      <pc:sldChg chg="modSp mod modShow">
        <pc:chgData name="Thomas Stensitzki" userId="75cafe6b-2f2a-469b-85c4-eec3b9c972ba" providerId="ADAL" clId="{13A7DD84-EBC7-44DF-A4B8-478E332BAF16}" dt="2021-08-10T17:00:17.967" v="1538" actId="20577"/>
        <pc:sldMkLst>
          <pc:docMk/>
          <pc:sldMk cId="53967156" sldId="297"/>
        </pc:sldMkLst>
        <pc:spChg chg="mod">
          <ac:chgData name="Thomas Stensitzki" userId="75cafe6b-2f2a-469b-85c4-eec3b9c972ba" providerId="ADAL" clId="{13A7DD84-EBC7-44DF-A4B8-478E332BAF16}" dt="2021-08-10T17:00:08.381" v="1518" actId="20577"/>
          <ac:spMkLst>
            <pc:docMk/>
            <pc:sldMk cId="53967156" sldId="297"/>
            <ac:spMk id="4" creationId="{F3A15CBD-C746-44A3-A4F0-4898CE2F02E6}"/>
          </ac:spMkLst>
        </pc:spChg>
        <pc:spChg chg="mod">
          <ac:chgData name="Thomas Stensitzki" userId="75cafe6b-2f2a-469b-85c4-eec3b9c972ba" providerId="ADAL" clId="{13A7DD84-EBC7-44DF-A4B8-478E332BAF16}" dt="2021-08-10T17:00:17.967" v="1538" actId="20577"/>
          <ac:spMkLst>
            <pc:docMk/>
            <pc:sldMk cId="53967156" sldId="297"/>
            <ac:spMk id="5" creationId="{F3459BE7-1731-4733-A912-12977C68CFD6}"/>
          </ac:spMkLst>
        </pc:spChg>
      </pc:sldChg>
      <pc:sldChg chg="modSp mod">
        <pc:chgData name="Thomas Stensitzki" userId="75cafe6b-2f2a-469b-85c4-eec3b9c972ba" providerId="ADAL" clId="{13A7DD84-EBC7-44DF-A4B8-478E332BAF16}" dt="2021-08-10T16:56:32.392" v="1474" actId="20577"/>
        <pc:sldMkLst>
          <pc:docMk/>
          <pc:sldMk cId="3298503951" sldId="372"/>
        </pc:sldMkLst>
        <pc:spChg chg="mod">
          <ac:chgData name="Thomas Stensitzki" userId="75cafe6b-2f2a-469b-85c4-eec3b9c972ba" providerId="ADAL" clId="{13A7DD84-EBC7-44DF-A4B8-478E332BAF16}" dt="2021-08-10T16:54:47.203" v="1341" actId="1036"/>
          <ac:spMkLst>
            <pc:docMk/>
            <pc:sldMk cId="3298503951" sldId="372"/>
            <ac:spMk id="2" creationId="{909DC09D-B9A6-4493-9A72-1CA7ECB1F5CA}"/>
          </ac:spMkLst>
        </pc:spChg>
        <pc:spChg chg="mod">
          <ac:chgData name="Thomas Stensitzki" userId="75cafe6b-2f2a-469b-85c4-eec3b9c972ba" providerId="ADAL" clId="{13A7DD84-EBC7-44DF-A4B8-478E332BAF16}" dt="2021-08-10T16:56:32.392" v="1474" actId="20577"/>
          <ac:spMkLst>
            <pc:docMk/>
            <pc:sldMk cId="3298503951" sldId="372"/>
            <ac:spMk id="5" creationId="{C24DACB5-1BEC-4C86-9652-BAFD8DE56FEF}"/>
          </ac:spMkLst>
        </pc:spChg>
      </pc:sldChg>
      <pc:sldChg chg="modSp mod modNotesTx">
        <pc:chgData name="Thomas Stensitzki" userId="75cafe6b-2f2a-469b-85c4-eec3b9c972ba" providerId="ADAL" clId="{13A7DD84-EBC7-44DF-A4B8-478E332BAF16}" dt="2021-08-10T16:52:12.647" v="1184" actId="20577"/>
        <pc:sldMkLst>
          <pc:docMk/>
          <pc:sldMk cId="2227487991" sldId="378"/>
        </pc:sldMkLst>
        <pc:spChg chg="mod">
          <ac:chgData name="Thomas Stensitzki" userId="75cafe6b-2f2a-469b-85c4-eec3b9c972ba" providerId="ADAL" clId="{13A7DD84-EBC7-44DF-A4B8-478E332BAF16}" dt="2021-08-10T16:52:05.644" v="1181" actId="14100"/>
          <ac:spMkLst>
            <pc:docMk/>
            <pc:sldMk cId="2227487991" sldId="378"/>
            <ac:spMk id="2" creationId="{909DC09D-B9A6-4493-9A72-1CA7ECB1F5CA}"/>
          </ac:spMkLst>
        </pc:spChg>
        <pc:spChg chg="mod">
          <ac:chgData name="Thomas Stensitzki" userId="75cafe6b-2f2a-469b-85c4-eec3b9c972ba" providerId="ADAL" clId="{13A7DD84-EBC7-44DF-A4B8-478E332BAF16}" dt="2021-08-10T16:52:12.647" v="1184" actId="20577"/>
          <ac:spMkLst>
            <pc:docMk/>
            <pc:sldMk cId="2227487991" sldId="378"/>
            <ac:spMk id="5" creationId="{C24DACB5-1BEC-4C86-9652-BAFD8DE56FEF}"/>
          </ac:spMkLst>
        </pc:spChg>
      </pc:sldChg>
      <pc:sldChg chg="del">
        <pc:chgData name="Thomas Stensitzki" userId="75cafe6b-2f2a-469b-85c4-eec3b9c972ba" providerId="ADAL" clId="{13A7DD84-EBC7-44DF-A4B8-478E332BAF16}" dt="2021-08-05T16:11:45.220" v="63" actId="47"/>
        <pc:sldMkLst>
          <pc:docMk/>
          <pc:sldMk cId="4126930427" sldId="379"/>
        </pc:sldMkLst>
      </pc:sldChg>
      <pc:sldChg chg="addSp delSp modSp mod modAnim modNotesTx">
        <pc:chgData name="Thomas Stensitzki" userId="75cafe6b-2f2a-469b-85c4-eec3b9c972ba" providerId="ADAL" clId="{13A7DD84-EBC7-44DF-A4B8-478E332BAF16}" dt="2021-08-12T16:42:00.689" v="1670" actId="6549"/>
        <pc:sldMkLst>
          <pc:docMk/>
          <pc:sldMk cId="2708846828" sldId="392"/>
        </pc:sldMkLst>
        <pc:spChg chg="mod">
          <ac:chgData name="Thomas Stensitzki" userId="75cafe6b-2f2a-469b-85c4-eec3b9c972ba" providerId="ADAL" clId="{13A7DD84-EBC7-44DF-A4B8-478E332BAF16}" dt="2021-08-05T16:19:05.858" v="191"/>
          <ac:spMkLst>
            <pc:docMk/>
            <pc:sldMk cId="2708846828" sldId="392"/>
            <ac:spMk id="2" creationId="{11E5EEC8-6493-4BA0-8811-4A3F48FE62AF}"/>
          </ac:spMkLst>
        </pc:spChg>
        <pc:spChg chg="add mod">
          <ac:chgData name="Thomas Stensitzki" userId="75cafe6b-2f2a-469b-85c4-eec3b9c972ba" providerId="ADAL" clId="{13A7DD84-EBC7-44DF-A4B8-478E332BAF16}" dt="2021-08-05T16:20:15.988" v="198" actId="13822"/>
          <ac:spMkLst>
            <pc:docMk/>
            <pc:sldMk cId="2708846828" sldId="392"/>
            <ac:spMk id="4" creationId="{4B460319-C2AC-46BD-BB41-CCCE83446E62}"/>
          </ac:spMkLst>
        </pc:spChg>
        <pc:spChg chg="add del mod">
          <ac:chgData name="Thomas Stensitzki" userId="75cafe6b-2f2a-469b-85c4-eec3b9c972ba" providerId="ADAL" clId="{13A7DD84-EBC7-44DF-A4B8-478E332BAF16}" dt="2021-08-05T16:49:54.839" v="751" actId="22"/>
          <ac:spMkLst>
            <pc:docMk/>
            <pc:sldMk cId="2708846828" sldId="392"/>
            <ac:spMk id="9" creationId="{E9288DC5-AFC0-4DB6-B4A4-627BBBCF00EE}"/>
          </ac:spMkLst>
        </pc:spChg>
        <pc:spChg chg="add mod">
          <ac:chgData name="Thomas Stensitzki" userId="75cafe6b-2f2a-469b-85c4-eec3b9c972ba" providerId="ADAL" clId="{13A7DD84-EBC7-44DF-A4B8-478E332BAF16}" dt="2021-08-12T16:42:00.689" v="1670" actId="6549"/>
          <ac:spMkLst>
            <pc:docMk/>
            <pc:sldMk cId="2708846828" sldId="392"/>
            <ac:spMk id="10" creationId="{465D1869-94E2-48F5-88B2-613F26C28571}"/>
          </ac:spMkLst>
        </pc:spChg>
        <pc:picChg chg="add mod">
          <ac:chgData name="Thomas Stensitzki" userId="75cafe6b-2f2a-469b-85c4-eec3b9c972ba" providerId="ADAL" clId="{13A7DD84-EBC7-44DF-A4B8-478E332BAF16}" dt="2021-08-05T16:21:39.153" v="210" actId="1582"/>
          <ac:picMkLst>
            <pc:docMk/>
            <pc:sldMk cId="2708846828" sldId="392"/>
            <ac:picMk id="3" creationId="{EF48EADF-098B-48A7-81B5-5F2B9EF826B8}"/>
          </ac:picMkLst>
        </pc:picChg>
        <pc:picChg chg="add mod">
          <ac:chgData name="Thomas Stensitzki" userId="75cafe6b-2f2a-469b-85c4-eec3b9c972ba" providerId="ADAL" clId="{13A7DD84-EBC7-44DF-A4B8-478E332BAF16}" dt="2021-08-05T16:22:41.990" v="218" actId="1037"/>
          <ac:picMkLst>
            <pc:docMk/>
            <pc:sldMk cId="2708846828" sldId="392"/>
            <ac:picMk id="5" creationId="{7634E70F-E0ED-4ADB-A719-FDA7F58424B4}"/>
          </ac:picMkLst>
        </pc:picChg>
        <pc:picChg chg="del">
          <ac:chgData name="Thomas Stensitzki" userId="75cafe6b-2f2a-469b-85c4-eec3b9c972ba" providerId="ADAL" clId="{13A7DD84-EBC7-44DF-A4B8-478E332BAF16}" dt="2021-08-05T16:19:07.822" v="192" actId="478"/>
          <ac:picMkLst>
            <pc:docMk/>
            <pc:sldMk cId="2708846828" sldId="392"/>
            <ac:picMk id="1026" creationId="{043285E5-2210-4AFC-A5D8-BFCD39482712}"/>
          </ac:picMkLst>
        </pc:picChg>
        <pc:picChg chg="add mod">
          <ac:chgData name="Thomas Stensitzki" userId="75cafe6b-2f2a-469b-85c4-eec3b9c972ba" providerId="ADAL" clId="{13A7DD84-EBC7-44DF-A4B8-478E332BAF16}" dt="2021-08-05T16:23:23.392" v="223" actId="1582"/>
          <ac:picMkLst>
            <pc:docMk/>
            <pc:sldMk cId="2708846828" sldId="392"/>
            <ac:picMk id="1028" creationId="{A0C7C483-8988-43C4-9B17-B143FA5E03E0}"/>
          </ac:picMkLst>
        </pc:picChg>
      </pc:sldChg>
      <pc:sldChg chg="del">
        <pc:chgData name="Thomas Stensitzki" userId="75cafe6b-2f2a-469b-85c4-eec3b9c972ba" providerId="ADAL" clId="{13A7DD84-EBC7-44DF-A4B8-478E332BAF16}" dt="2021-08-12T15:31:27.389" v="1637" actId="2696"/>
        <pc:sldMkLst>
          <pc:docMk/>
          <pc:sldMk cId="3890497020" sldId="426"/>
        </pc:sldMkLst>
      </pc:sldChg>
      <pc:sldChg chg="del">
        <pc:chgData name="Thomas Stensitzki" userId="75cafe6b-2f2a-469b-85c4-eec3b9c972ba" providerId="ADAL" clId="{13A7DD84-EBC7-44DF-A4B8-478E332BAF16}" dt="2021-08-05T16:11:45.220" v="63" actId="47"/>
        <pc:sldMkLst>
          <pc:docMk/>
          <pc:sldMk cId="1307627255" sldId="427"/>
        </pc:sldMkLst>
      </pc:sldChg>
      <pc:sldChg chg="del">
        <pc:chgData name="Thomas Stensitzki" userId="75cafe6b-2f2a-469b-85c4-eec3b9c972ba" providerId="ADAL" clId="{13A7DD84-EBC7-44DF-A4B8-478E332BAF16}" dt="2021-08-05T16:18:05.112" v="182" actId="47"/>
        <pc:sldMkLst>
          <pc:docMk/>
          <pc:sldMk cId="2443006273" sldId="428"/>
        </pc:sldMkLst>
      </pc:sldChg>
      <pc:sldChg chg="del">
        <pc:chgData name="Thomas Stensitzki" userId="75cafe6b-2f2a-469b-85c4-eec3b9c972ba" providerId="ADAL" clId="{13A7DD84-EBC7-44DF-A4B8-478E332BAF16}" dt="2021-08-05T16:18:05.112" v="182" actId="47"/>
        <pc:sldMkLst>
          <pc:docMk/>
          <pc:sldMk cId="3040654567" sldId="429"/>
        </pc:sldMkLst>
      </pc:sldChg>
      <pc:sldChg chg="del">
        <pc:chgData name="Thomas Stensitzki" userId="75cafe6b-2f2a-469b-85c4-eec3b9c972ba" providerId="ADAL" clId="{13A7DD84-EBC7-44DF-A4B8-478E332BAF16}" dt="2021-08-05T16:18:05.112" v="182" actId="47"/>
        <pc:sldMkLst>
          <pc:docMk/>
          <pc:sldMk cId="4042123349" sldId="430"/>
        </pc:sldMkLst>
      </pc:sldChg>
      <pc:sldChg chg="del">
        <pc:chgData name="Thomas Stensitzki" userId="75cafe6b-2f2a-469b-85c4-eec3b9c972ba" providerId="ADAL" clId="{13A7DD84-EBC7-44DF-A4B8-478E332BAF16}" dt="2021-08-05T16:11:45.220" v="63" actId="47"/>
        <pc:sldMkLst>
          <pc:docMk/>
          <pc:sldMk cId="1699899763" sldId="431"/>
        </pc:sldMkLst>
      </pc:sldChg>
      <pc:sldChg chg="del">
        <pc:chgData name="Thomas Stensitzki" userId="75cafe6b-2f2a-469b-85c4-eec3b9c972ba" providerId="ADAL" clId="{13A7DD84-EBC7-44DF-A4B8-478E332BAF16}" dt="2021-08-05T16:18:05.112" v="182" actId="47"/>
        <pc:sldMkLst>
          <pc:docMk/>
          <pc:sldMk cId="3748413395" sldId="432"/>
        </pc:sldMkLst>
      </pc:sldChg>
      <pc:sldChg chg="del">
        <pc:chgData name="Thomas Stensitzki" userId="75cafe6b-2f2a-469b-85c4-eec3b9c972ba" providerId="ADAL" clId="{13A7DD84-EBC7-44DF-A4B8-478E332BAF16}" dt="2021-08-05T16:11:45.220" v="63" actId="47"/>
        <pc:sldMkLst>
          <pc:docMk/>
          <pc:sldMk cId="2909965873" sldId="433"/>
        </pc:sldMkLst>
      </pc:sldChg>
      <pc:sldChg chg="del">
        <pc:chgData name="Thomas Stensitzki" userId="75cafe6b-2f2a-469b-85c4-eec3b9c972ba" providerId="ADAL" clId="{13A7DD84-EBC7-44DF-A4B8-478E332BAF16}" dt="2021-08-05T16:11:45.220" v="63" actId="47"/>
        <pc:sldMkLst>
          <pc:docMk/>
          <pc:sldMk cId="2687296234" sldId="434"/>
        </pc:sldMkLst>
      </pc:sldChg>
      <pc:sldChg chg="del">
        <pc:chgData name="Thomas Stensitzki" userId="75cafe6b-2f2a-469b-85c4-eec3b9c972ba" providerId="ADAL" clId="{13A7DD84-EBC7-44DF-A4B8-478E332BAF16}" dt="2021-08-05T16:11:45.220" v="63" actId="47"/>
        <pc:sldMkLst>
          <pc:docMk/>
          <pc:sldMk cId="3916441034" sldId="435"/>
        </pc:sldMkLst>
      </pc:sldChg>
      <pc:sldChg chg="del">
        <pc:chgData name="Thomas Stensitzki" userId="75cafe6b-2f2a-469b-85c4-eec3b9c972ba" providerId="ADAL" clId="{13A7DD84-EBC7-44DF-A4B8-478E332BAF16}" dt="2021-08-05T16:18:05.112" v="182" actId="47"/>
        <pc:sldMkLst>
          <pc:docMk/>
          <pc:sldMk cId="2665106704" sldId="437"/>
        </pc:sldMkLst>
      </pc:sldChg>
      <pc:sldChg chg="del">
        <pc:chgData name="Thomas Stensitzki" userId="75cafe6b-2f2a-469b-85c4-eec3b9c972ba" providerId="ADAL" clId="{13A7DD84-EBC7-44DF-A4B8-478E332BAF16}" dt="2021-08-05T16:11:45.220" v="63" actId="47"/>
        <pc:sldMkLst>
          <pc:docMk/>
          <pc:sldMk cId="1968010775" sldId="438"/>
        </pc:sldMkLst>
      </pc:sldChg>
      <pc:sldChg chg="del">
        <pc:chgData name="Thomas Stensitzki" userId="75cafe6b-2f2a-469b-85c4-eec3b9c972ba" providerId="ADAL" clId="{13A7DD84-EBC7-44DF-A4B8-478E332BAF16}" dt="2021-08-05T16:18:05.112" v="182" actId="47"/>
        <pc:sldMkLst>
          <pc:docMk/>
          <pc:sldMk cId="2987264023" sldId="439"/>
        </pc:sldMkLst>
      </pc:sldChg>
      <pc:sldChg chg="del">
        <pc:chgData name="Thomas Stensitzki" userId="75cafe6b-2f2a-469b-85c4-eec3b9c972ba" providerId="ADAL" clId="{13A7DD84-EBC7-44DF-A4B8-478E332BAF16}" dt="2021-08-05T16:11:45.220" v="63" actId="47"/>
        <pc:sldMkLst>
          <pc:docMk/>
          <pc:sldMk cId="1174508103" sldId="440"/>
        </pc:sldMkLst>
      </pc:sldChg>
      <pc:sldChg chg="del">
        <pc:chgData name="Thomas Stensitzki" userId="75cafe6b-2f2a-469b-85c4-eec3b9c972ba" providerId="ADAL" clId="{13A7DD84-EBC7-44DF-A4B8-478E332BAF16}" dt="2021-08-05T16:11:45.220" v="63" actId="47"/>
        <pc:sldMkLst>
          <pc:docMk/>
          <pc:sldMk cId="1134792597" sldId="441"/>
        </pc:sldMkLst>
      </pc:sldChg>
      <pc:sldChg chg="del">
        <pc:chgData name="Thomas Stensitzki" userId="75cafe6b-2f2a-469b-85c4-eec3b9c972ba" providerId="ADAL" clId="{13A7DD84-EBC7-44DF-A4B8-478E332BAF16}" dt="2021-08-05T16:11:45.220" v="63" actId="47"/>
        <pc:sldMkLst>
          <pc:docMk/>
          <pc:sldMk cId="3082151148" sldId="442"/>
        </pc:sldMkLst>
      </pc:sldChg>
      <pc:sldChg chg="del">
        <pc:chgData name="Thomas Stensitzki" userId="75cafe6b-2f2a-469b-85c4-eec3b9c972ba" providerId="ADAL" clId="{13A7DD84-EBC7-44DF-A4B8-478E332BAF16}" dt="2021-08-05T16:11:45.220" v="63" actId="47"/>
        <pc:sldMkLst>
          <pc:docMk/>
          <pc:sldMk cId="2894310663" sldId="443"/>
        </pc:sldMkLst>
      </pc:sldChg>
      <pc:sldChg chg="del">
        <pc:chgData name="Thomas Stensitzki" userId="75cafe6b-2f2a-469b-85c4-eec3b9c972ba" providerId="ADAL" clId="{13A7DD84-EBC7-44DF-A4B8-478E332BAF16}" dt="2021-08-05T16:11:45.220" v="63" actId="47"/>
        <pc:sldMkLst>
          <pc:docMk/>
          <pc:sldMk cId="625199879" sldId="444"/>
        </pc:sldMkLst>
      </pc:sldChg>
      <pc:sldChg chg="del">
        <pc:chgData name="Thomas Stensitzki" userId="75cafe6b-2f2a-469b-85c4-eec3b9c972ba" providerId="ADAL" clId="{13A7DD84-EBC7-44DF-A4B8-478E332BAF16}" dt="2021-08-05T16:11:45.220" v="63" actId="47"/>
        <pc:sldMkLst>
          <pc:docMk/>
          <pc:sldMk cId="1296016441" sldId="445"/>
        </pc:sldMkLst>
      </pc:sldChg>
      <pc:sldChg chg="del">
        <pc:chgData name="Thomas Stensitzki" userId="75cafe6b-2f2a-469b-85c4-eec3b9c972ba" providerId="ADAL" clId="{13A7DD84-EBC7-44DF-A4B8-478E332BAF16}" dt="2021-08-05T16:11:45.220" v="63" actId="47"/>
        <pc:sldMkLst>
          <pc:docMk/>
          <pc:sldMk cId="2712150207" sldId="446"/>
        </pc:sldMkLst>
      </pc:sldChg>
      <pc:sldChg chg="del">
        <pc:chgData name="Thomas Stensitzki" userId="75cafe6b-2f2a-469b-85c4-eec3b9c972ba" providerId="ADAL" clId="{13A7DD84-EBC7-44DF-A4B8-478E332BAF16}" dt="2021-08-05T16:11:45.220" v="63" actId="47"/>
        <pc:sldMkLst>
          <pc:docMk/>
          <pc:sldMk cId="3622258366" sldId="447"/>
        </pc:sldMkLst>
      </pc:sldChg>
      <pc:sldChg chg="del">
        <pc:chgData name="Thomas Stensitzki" userId="75cafe6b-2f2a-469b-85c4-eec3b9c972ba" providerId="ADAL" clId="{13A7DD84-EBC7-44DF-A4B8-478E332BAF16}" dt="2021-08-05T16:11:45.220" v="63" actId="47"/>
        <pc:sldMkLst>
          <pc:docMk/>
          <pc:sldMk cId="1736350639" sldId="448"/>
        </pc:sldMkLst>
      </pc:sldChg>
      <pc:sldChg chg="del">
        <pc:chgData name="Thomas Stensitzki" userId="75cafe6b-2f2a-469b-85c4-eec3b9c972ba" providerId="ADAL" clId="{13A7DD84-EBC7-44DF-A4B8-478E332BAF16}" dt="2021-08-05T16:11:45.220" v="63" actId="47"/>
        <pc:sldMkLst>
          <pc:docMk/>
          <pc:sldMk cId="2730803217" sldId="449"/>
        </pc:sldMkLst>
      </pc:sldChg>
      <pc:sldChg chg="del">
        <pc:chgData name="Thomas Stensitzki" userId="75cafe6b-2f2a-469b-85c4-eec3b9c972ba" providerId="ADAL" clId="{13A7DD84-EBC7-44DF-A4B8-478E332BAF16}" dt="2021-08-05T16:11:45.220" v="63" actId="47"/>
        <pc:sldMkLst>
          <pc:docMk/>
          <pc:sldMk cId="1458715789" sldId="450"/>
        </pc:sldMkLst>
      </pc:sldChg>
      <pc:sldChg chg="del">
        <pc:chgData name="Thomas Stensitzki" userId="75cafe6b-2f2a-469b-85c4-eec3b9c972ba" providerId="ADAL" clId="{13A7DD84-EBC7-44DF-A4B8-478E332BAF16}" dt="2021-08-05T16:11:45.220" v="63" actId="47"/>
        <pc:sldMkLst>
          <pc:docMk/>
          <pc:sldMk cId="3121195372" sldId="451"/>
        </pc:sldMkLst>
      </pc:sldChg>
      <pc:sldChg chg="del">
        <pc:chgData name="Thomas Stensitzki" userId="75cafe6b-2f2a-469b-85c4-eec3b9c972ba" providerId="ADAL" clId="{13A7DD84-EBC7-44DF-A4B8-478E332BAF16}" dt="2021-08-05T16:11:45.220" v="63" actId="47"/>
        <pc:sldMkLst>
          <pc:docMk/>
          <pc:sldMk cId="2280653341" sldId="452"/>
        </pc:sldMkLst>
      </pc:sldChg>
      <pc:sldChg chg="del">
        <pc:chgData name="Thomas Stensitzki" userId="75cafe6b-2f2a-469b-85c4-eec3b9c972ba" providerId="ADAL" clId="{13A7DD84-EBC7-44DF-A4B8-478E332BAF16}" dt="2021-08-05T16:11:45.220" v="63" actId="47"/>
        <pc:sldMkLst>
          <pc:docMk/>
          <pc:sldMk cId="3153011246" sldId="453"/>
        </pc:sldMkLst>
      </pc:sldChg>
      <pc:sldChg chg="del">
        <pc:chgData name="Thomas Stensitzki" userId="75cafe6b-2f2a-469b-85c4-eec3b9c972ba" providerId="ADAL" clId="{13A7DD84-EBC7-44DF-A4B8-478E332BAF16}" dt="2021-08-05T16:11:45.220" v="63" actId="47"/>
        <pc:sldMkLst>
          <pc:docMk/>
          <pc:sldMk cId="2162326699" sldId="454"/>
        </pc:sldMkLst>
      </pc:sldChg>
      <pc:sldChg chg="del">
        <pc:chgData name="Thomas Stensitzki" userId="75cafe6b-2f2a-469b-85c4-eec3b9c972ba" providerId="ADAL" clId="{13A7DD84-EBC7-44DF-A4B8-478E332BAF16}" dt="2021-08-05T16:18:05.112" v="182" actId="47"/>
        <pc:sldMkLst>
          <pc:docMk/>
          <pc:sldMk cId="348069652" sldId="455"/>
        </pc:sldMkLst>
      </pc:sldChg>
      <pc:sldChg chg="del">
        <pc:chgData name="Thomas Stensitzki" userId="75cafe6b-2f2a-469b-85c4-eec3b9c972ba" providerId="ADAL" clId="{13A7DD84-EBC7-44DF-A4B8-478E332BAF16}" dt="2021-08-05T16:18:05.112" v="182" actId="47"/>
        <pc:sldMkLst>
          <pc:docMk/>
          <pc:sldMk cId="2139259870" sldId="456"/>
        </pc:sldMkLst>
      </pc:sldChg>
      <pc:sldChg chg="del">
        <pc:chgData name="Thomas Stensitzki" userId="75cafe6b-2f2a-469b-85c4-eec3b9c972ba" providerId="ADAL" clId="{13A7DD84-EBC7-44DF-A4B8-478E332BAF16}" dt="2021-08-05T16:11:45.220" v="63" actId="47"/>
        <pc:sldMkLst>
          <pc:docMk/>
          <pc:sldMk cId="1637553502" sldId="458"/>
        </pc:sldMkLst>
      </pc:sldChg>
      <pc:sldChg chg="del">
        <pc:chgData name="Thomas Stensitzki" userId="75cafe6b-2f2a-469b-85c4-eec3b9c972ba" providerId="ADAL" clId="{13A7DD84-EBC7-44DF-A4B8-478E332BAF16}" dt="2021-08-05T16:11:45.220" v="63" actId="47"/>
        <pc:sldMkLst>
          <pc:docMk/>
          <pc:sldMk cId="788649752" sldId="459"/>
        </pc:sldMkLst>
      </pc:sldChg>
      <pc:sldChg chg="del">
        <pc:chgData name="Thomas Stensitzki" userId="75cafe6b-2f2a-469b-85c4-eec3b9c972ba" providerId="ADAL" clId="{13A7DD84-EBC7-44DF-A4B8-478E332BAF16}" dt="2021-08-05T16:11:45.220" v="63" actId="47"/>
        <pc:sldMkLst>
          <pc:docMk/>
          <pc:sldMk cId="1264814093" sldId="460"/>
        </pc:sldMkLst>
      </pc:sldChg>
      <pc:sldChg chg="del">
        <pc:chgData name="Thomas Stensitzki" userId="75cafe6b-2f2a-469b-85c4-eec3b9c972ba" providerId="ADAL" clId="{13A7DD84-EBC7-44DF-A4B8-478E332BAF16}" dt="2021-08-05T16:11:45.220" v="63" actId="47"/>
        <pc:sldMkLst>
          <pc:docMk/>
          <pc:sldMk cId="3877520136" sldId="461"/>
        </pc:sldMkLst>
      </pc:sldChg>
      <pc:sldChg chg="del">
        <pc:chgData name="Thomas Stensitzki" userId="75cafe6b-2f2a-469b-85c4-eec3b9c972ba" providerId="ADAL" clId="{13A7DD84-EBC7-44DF-A4B8-478E332BAF16}" dt="2021-08-05T16:11:45.220" v="63" actId="47"/>
        <pc:sldMkLst>
          <pc:docMk/>
          <pc:sldMk cId="2362987111" sldId="462"/>
        </pc:sldMkLst>
      </pc:sldChg>
      <pc:sldChg chg="del">
        <pc:chgData name="Thomas Stensitzki" userId="75cafe6b-2f2a-469b-85c4-eec3b9c972ba" providerId="ADAL" clId="{13A7DD84-EBC7-44DF-A4B8-478E332BAF16}" dt="2021-08-05T16:11:45.220" v="63" actId="47"/>
        <pc:sldMkLst>
          <pc:docMk/>
          <pc:sldMk cId="22916493" sldId="463"/>
        </pc:sldMkLst>
      </pc:sldChg>
      <pc:sldChg chg="del">
        <pc:chgData name="Thomas Stensitzki" userId="75cafe6b-2f2a-469b-85c4-eec3b9c972ba" providerId="ADAL" clId="{13A7DD84-EBC7-44DF-A4B8-478E332BAF16}" dt="2021-08-05T16:11:45.220" v="63" actId="47"/>
        <pc:sldMkLst>
          <pc:docMk/>
          <pc:sldMk cId="4141395919" sldId="464"/>
        </pc:sldMkLst>
      </pc:sldChg>
      <pc:sldChg chg="del">
        <pc:chgData name="Thomas Stensitzki" userId="75cafe6b-2f2a-469b-85c4-eec3b9c972ba" providerId="ADAL" clId="{13A7DD84-EBC7-44DF-A4B8-478E332BAF16}" dt="2021-08-05T16:11:45.220" v="63" actId="47"/>
        <pc:sldMkLst>
          <pc:docMk/>
          <pc:sldMk cId="2927016727" sldId="465"/>
        </pc:sldMkLst>
      </pc:sldChg>
      <pc:sldChg chg="del">
        <pc:chgData name="Thomas Stensitzki" userId="75cafe6b-2f2a-469b-85c4-eec3b9c972ba" providerId="ADAL" clId="{13A7DD84-EBC7-44DF-A4B8-478E332BAF16}" dt="2021-08-05T16:11:45.220" v="63" actId="47"/>
        <pc:sldMkLst>
          <pc:docMk/>
          <pc:sldMk cId="749460758" sldId="466"/>
        </pc:sldMkLst>
      </pc:sldChg>
      <pc:sldChg chg="del">
        <pc:chgData name="Thomas Stensitzki" userId="75cafe6b-2f2a-469b-85c4-eec3b9c972ba" providerId="ADAL" clId="{13A7DD84-EBC7-44DF-A4B8-478E332BAF16}" dt="2021-08-05T16:11:45.220" v="63" actId="47"/>
        <pc:sldMkLst>
          <pc:docMk/>
          <pc:sldMk cId="2400256164" sldId="467"/>
        </pc:sldMkLst>
      </pc:sldChg>
      <pc:sldChg chg="del">
        <pc:chgData name="Thomas Stensitzki" userId="75cafe6b-2f2a-469b-85c4-eec3b9c972ba" providerId="ADAL" clId="{13A7DD84-EBC7-44DF-A4B8-478E332BAF16}" dt="2021-08-05T16:11:45.220" v="63" actId="47"/>
        <pc:sldMkLst>
          <pc:docMk/>
          <pc:sldMk cId="980357780" sldId="468"/>
        </pc:sldMkLst>
      </pc:sldChg>
      <pc:sldChg chg="del">
        <pc:chgData name="Thomas Stensitzki" userId="75cafe6b-2f2a-469b-85c4-eec3b9c972ba" providerId="ADAL" clId="{13A7DD84-EBC7-44DF-A4B8-478E332BAF16}" dt="2021-08-05T16:11:45.220" v="63" actId="47"/>
        <pc:sldMkLst>
          <pc:docMk/>
          <pc:sldMk cId="1498882424" sldId="469"/>
        </pc:sldMkLst>
      </pc:sldChg>
      <pc:sldChg chg="del">
        <pc:chgData name="Thomas Stensitzki" userId="75cafe6b-2f2a-469b-85c4-eec3b9c972ba" providerId="ADAL" clId="{13A7DD84-EBC7-44DF-A4B8-478E332BAF16}" dt="2021-08-05T16:11:45.220" v="63" actId="47"/>
        <pc:sldMkLst>
          <pc:docMk/>
          <pc:sldMk cId="4225794366" sldId="470"/>
        </pc:sldMkLst>
      </pc:sldChg>
      <pc:sldChg chg="del">
        <pc:chgData name="Thomas Stensitzki" userId="75cafe6b-2f2a-469b-85c4-eec3b9c972ba" providerId="ADAL" clId="{13A7DD84-EBC7-44DF-A4B8-478E332BAF16}" dt="2021-08-05T16:11:45.220" v="63" actId="47"/>
        <pc:sldMkLst>
          <pc:docMk/>
          <pc:sldMk cId="755424041" sldId="471"/>
        </pc:sldMkLst>
      </pc:sldChg>
      <pc:sldChg chg="del">
        <pc:chgData name="Thomas Stensitzki" userId="75cafe6b-2f2a-469b-85c4-eec3b9c972ba" providerId="ADAL" clId="{13A7DD84-EBC7-44DF-A4B8-478E332BAF16}" dt="2021-08-05T16:11:45.220" v="63" actId="47"/>
        <pc:sldMkLst>
          <pc:docMk/>
          <pc:sldMk cId="2377230893" sldId="472"/>
        </pc:sldMkLst>
      </pc:sldChg>
      <pc:sldChg chg="del">
        <pc:chgData name="Thomas Stensitzki" userId="75cafe6b-2f2a-469b-85c4-eec3b9c972ba" providerId="ADAL" clId="{13A7DD84-EBC7-44DF-A4B8-478E332BAF16}" dt="2021-08-05T16:11:45.220" v="63" actId="47"/>
        <pc:sldMkLst>
          <pc:docMk/>
          <pc:sldMk cId="2293811491" sldId="473"/>
        </pc:sldMkLst>
      </pc:sldChg>
      <pc:sldChg chg="del">
        <pc:chgData name="Thomas Stensitzki" userId="75cafe6b-2f2a-469b-85c4-eec3b9c972ba" providerId="ADAL" clId="{13A7DD84-EBC7-44DF-A4B8-478E332BAF16}" dt="2021-08-05T16:11:45.220" v="63" actId="47"/>
        <pc:sldMkLst>
          <pc:docMk/>
          <pc:sldMk cId="3651213508" sldId="474"/>
        </pc:sldMkLst>
      </pc:sldChg>
      <pc:sldChg chg="del">
        <pc:chgData name="Thomas Stensitzki" userId="75cafe6b-2f2a-469b-85c4-eec3b9c972ba" providerId="ADAL" clId="{13A7DD84-EBC7-44DF-A4B8-478E332BAF16}" dt="2021-08-05T16:11:45.220" v="63" actId="47"/>
        <pc:sldMkLst>
          <pc:docMk/>
          <pc:sldMk cId="2954743898" sldId="475"/>
        </pc:sldMkLst>
      </pc:sldChg>
      <pc:sldChg chg="del">
        <pc:chgData name="Thomas Stensitzki" userId="75cafe6b-2f2a-469b-85c4-eec3b9c972ba" providerId="ADAL" clId="{13A7DD84-EBC7-44DF-A4B8-478E332BAF16}" dt="2021-08-05T16:11:45.220" v="63" actId="47"/>
        <pc:sldMkLst>
          <pc:docMk/>
          <pc:sldMk cId="3637848067" sldId="476"/>
        </pc:sldMkLst>
      </pc:sldChg>
      <pc:sldChg chg="del">
        <pc:chgData name="Thomas Stensitzki" userId="75cafe6b-2f2a-469b-85c4-eec3b9c972ba" providerId="ADAL" clId="{13A7DD84-EBC7-44DF-A4B8-478E332BAF16}" dt="2021-08-05T16:11:45.220" v="63" actId="47"/>
        <pc:sldMkLst>
          <pc:docMk/>
          <pc:sldMk cId="1694765860" sldId="477"/>
        </pc:sldMkLst>
      </pc:sldChg>
      <pc:sldChg chg="del">
        <pc:chgData name="Thomas Stensitzki" userId="75cafe6b-2f2a-469b-85c4-eec3b9c972ba" providerId="ADAL" clId="{13A7DD84-EBC7-44DF-A4B8-478E332BAF16}" dt="2021-08-05T16:11:45.220" v="63" actId="47"/>
        <pc:sldMkLst>
          <pc:docMk/>
          <pc:sldMk cId="1953275783" sldId="478"/>
        </pc:sldMkLst>
      </pc:sldChg>
      <pc:sldChg chg="del">
        <pc:chgData name="Thomas Stensitzki" userId="75cafe6b-2f2a-469b-85c4-eec3b9c972ba" providerId="ADAL" clId="{13A7DD84-EBC7-44DF-A4B8-478E332BAF16}" dt="2021-08-05T16:11:45.220" v="63" actId="47"/>
        <pc:sldMkLst>
          <pc:docMk/>
          <pc:sldMk cId="642574017" sldId="479"/>
        </pc:sldMkLst>
      </pc:sldChg>
      <pc:sldChg chg="del">
        <pc:chgData name="Thomas Stensitzki" userId="75cafe6b-2f2a-469b-85c4-eec3b9c972ba" providerId="ADAL" clId="{13A7DD84-EBC7-44DF-A4B8-478E332BAF16}" dt="2021-08-05T16:11:45.220" v="63" actId="47"/>
        <pc:sldMkLst>
          <pc:docMk/>
          <pc:sldMk cId="2167556490" sldId="480"/>
        </pc:sldMkLst>
      </pc:sldChg>
      <pc:sldChg chg="del">
        <pc:chgData name="Thomas Stensitzki" userId="75cafe6b-2f2a-469b-85c4-eec3b9c972ba" providerId="ADAL" clId="{13A7DD84-EBC7-44DF-A4B8-478E332BAF16}" dt="2021-08-05T16:18:05.112" v="182" actId="47"/>
        <pc:sldMkLst>
          <pc:docMk/>
          <pc:sldMk cId="1129715017" sldId="481"/>
        </pc:sldMkLst>
      </pc:sldChg>
      <pc:sldChg chg="del">
        <pc:chgData name="Thomas Stensitzki" userId="75cafe6b-2f2a-469b-85c4-eec3b9c972ba" providerId="ADAL" clId="{13A7DD84-EBC7-44DF-A4B8-478E332BAF16}" dt="2021-08-05T16:18:05.112" v="182" actId="47"/>
        <pc:sldMkLst>
          <pc:docMk/>
          <pc:sldMk cId="447580809" sldId="482"/>
        </pc:sldMkLst>
      </pc:sldChg>
      <pc:sldChg chg="del">
        <pc:chgData name="Thomas Stensitzki" userId="75cafe6b-2f2a-469b-85c4-eec3b9c972ba" providerId="ADAL" clId="{13A7DD84-EBC7-44DF-A4B8-478E332BAF16}" dt="2021-08-05T16:18:05.112" v="182" actId="47"/>
        <pc:sldMkLst>
          <pc:docMk/>
          <pc:sldMk cId="2109578151" sldId="483"/>
        </pc:sldMkLst>
      </pc:sldChg>
      <pc:sldChg chg="del">
        <pc:chgData name="Thomas Stensitzki" userId="75cafe6b-2f2a-469b-85c4-eec3b9c972ba" providerId="ADAL" clId="{13A7DD84-EBC7-44DF-A4B8-478E332BAF16}" dt="2021-08-05T16:18:05.112" v="182" actId="47"/>
        <pc:sldMkLst>
          <pc:docMk/>
          <pc:sldMk cId="3880581928" sldId="484"/>
        </pc:sldMkLst>
      </pc:sldChg>
      <pc:sldChg chg="del">
        <pc:chgData name="Thomas Stensitzki" userId="75cafe6b-2f2a-469b-85c4-eec3b9c972ba" providerId="ADAL" clId="{13A7DD84-EBC7-44DF-A4B8-478E332BAF16}" dt="2021-08-05T16:18:05.112" v="182" actId="47"/>
        <pc:sldMkLst>
          <pc:docMk/>
          <pc:sldMk cId="1578197255" sldId="485"/>
        </pc:sldMkLst>
      </pc:sldChg>
      <pc:sldChg chg="del">
        <pc:chgData name="Thomas Stensitzki" userId="75cafe6b-2f2a-469b-85c4-eec3b9c972ba" providerId="ADAL" clId="{13A7DD84-EBC7-44DF-A4B8-478E332BAF16}" dt="2021-08-05T16:18:05.112" v="182" actId="47"/>
        <pc:sldMkLst>
          <pc:docMk/>
          <pc:sldMk cId="129048746" sldId="486"/>
        </pc:sldMkLst>
      </pc:sldChg>
      <pc:sldChg chg="del">
        <pc:chgData name="Thomas Stensitzki" userId="75cafe6b-2f2a-469b-85c4-eec3b9c972ba" providerId="ADAL" clId="{13A7DD84-EBC7-44DF-A4B8-478E332BAF16}" dt="2021-08-05T16:18:05.112" v="182" actId="47"/>
        <pc:sldMkLst>
          <pc:docMk/>
          <pc:sldMk cId="3805749550" sldId="487"/>
        </pc:sldMkLst>
      </pc:sldChg>
      <pc:sldChg chg="del">
        <pc:chgData name="Thomas Stensitzki" userId="75cafe6b-2f2a-469b-85c4-eec3b9c972ba" providerId="ADAL" clId="{13A7DD84-EBC7-44DF-A4B8-478E332BAF16}" dt="2021-08-05T16:18:05.112" v="182" actId="47"/>
        <pc:sldMkLst>
          <pc:docMk/>
          <pc:sldMk cId="2133647224" sldId="488"/>
        </pc:sldMkLst>
      </pc:sldChg>
      <pc:sldChg chg="del">
        <pc:chgData name="Thomas Stensitzki" userId="75cafe6b-2f2a-469b-85c4-eec3b9c972ba" providerId="ADAL" clId="{13A7DD84-EBC7-44DF-A4B8-478E332BAF16}" dt="2021-08-05T16:18:05.112" v="182" actId="47"/>
        <pc:sldMkLst>
          <pc:docMk/>
          <pc:sldMk cId="3106687663" sldId="489"/>
        </pc:sldMkLst>
      </pc:sldChg>
      <pc:sldChg chg="del">
        <pc:chgData name="Thomas Stensitzki" userId="75cafe6b-2f2a-469b-85c4-eec3b9c972ba" providerId="ADAL" clId="{13A7DD84-EBC7-44DF-A4B8-478E332BAF16}" dt="2021-08-05T16:18:05.112" v="182" actId="47"/>
        <pc:sldMkLst>
          <pc:docMk/>
          <pc:sldMk cId="344419499" sldId="490"/>
        </pc:sldMkLst>
      </pc:sldChg>
      <pc:sldChg chg="del">
        <pc:chgData name="Thomas Stensitzki" userId="75cafe6b-2f2a-469b-85c4-eec3b9c972ba" providerId="ADAL" clId="{13A7DD84-EBC7-44DF-A4B8-478E332BAF16}" dt="2021-08-12T15:31:16.630" v="1636" actId="2696"/>
        <pc:sldMkLst>
          <pc:docMk/>
          <pc:sldMk cId="3946489210" sldId="491"/>
        </pc:sldMkLst>
      </pc:sldChg>
      <pc:sldChg chg="addSp delSp modSp add mod">
        <pc:chgData name="Thomas Stensitzki" userId="75cafe6b-2f2a-469b-85c4-eec3b9c972ba" providerId="ADAL" clId="{13A7DD84-EBC7-44DF-A4B8-478E332BAF16}" dt="2021-08-05T16:59:25.619" v="912" actId="790"/>
        <pc:sldMkLst>
          <pc:docMk/>
          <pc:sldMk cId="403790565" sldId="492"/>
        </pc:sldMkLst>
        <pc:spChg chg="mod">
          <ac:chgData name="Thomas Stensitzki" userId="75cafe6b-2f2a-469b-85c4-eec3b9c972ba" providerId="ADAL" clId="{13A7DD84-EBC7-44DF-A4B8-478E332BAF16}" dt="2021-08-05T16:25:18.653" v="268"/>
          <ac:spMkLst>
            <pc:docMk/>
            <pc:sldMk cId="403790565" sldId="492"/>
            <ac:spMk id="2" creationId="{11E5EEC8-6493-4BA0-8811-4A3F48FE62AF}"/>
          </ac:spMkLst>
        </pc:spChg>
        <pc:spChg chg="add mod">
          <ac:chgData name="Thomas Stensitzki" userId="75cafe6b-2f2a-469b-85c4-eec3b9c972ba" providerId="ADAL" clId="{13A7DD84-EBC7-44DF-A4B8-478E332BAF16}" dt="2021-08-05T16:59:25.619" v="912" actId="790"/>
          <ac:spMkLst>
            <pc:docMk/>
            <pc:sldMk cId="403790565" sldId="492"/>
            <ac:spMk id="3" creationId="{52910FE7-5E69-4FCA-A4D2-6F1A33BA60A4}"/>
          </ac:spMkLst>
        </pc:spChg>
        <pc:picChg chg="del">
          <ac:chgData name="Thomas Stensitzki" userId="75cafe6b-2f2a-469b-85c4-eec3b9c972ba" providerId="ADAL" clId="{13A7DD84-EBC7-44DF-A4B8-478E332BAF16}" dt="2021-08-05T16:25:19.900" v="269" actId="478"/>
          <ac:picMkLst>
            <pc:docMk/>
            <pc:sldMk cId="403790565" sldId="492"/>
            <ac:picMk id="1026" creationId="{043285E5-2210-4AFC-A5D8-BFCD39482712}"/>
          </ac:picMkLst>
        </pc:picChg>
        <pc:picChg chg="add mod">
          <ac:chgData name="Thomas Stensitzki" userId="75cafe6b-2f2a-469b-85c4-eec3b9c972ba" providerId="ADAL" clId="{13A7DD84-EBC7-44DF-A4B8-478E332BAF16}" dt="2021-08-05T16:29:50.192" v="275" actId="1076"/>
          <ac:picMkLst>
            <pc:docMk/>
            <pc:sldMk cId="403790565" sldId="492"/>
            <ac:picMk id="2050" creationId="{23B40704-F350-4227-A4EE-BD692626FE48}"/>
          </ac:picMkLst>
        </pc:picChg>
      </pc:sldChg>
      <pc:sldChg chg="addSp delSp modSp new mod modAnim modNotesTx">
        <pc:chgData name="Thomas Stensitzki" userId="75cafe6b-2f2a-469b-85c4-eec3b9c972ba" providerId="ADAL" clId="{13A7DD84-EBC7-44DF-A4B8-478E332BAF16}" dt="2021-08-12T16:41:54.915" v="1668" actId="6549"/>
        <pc:sldMkLst>
          <pc:docMk/>
          <pc:sldMk cId="2819505311" sldId="493"/>
        </pc:sldMkLst>
        <pc:spChg chg="mod">
          <ac:chgData name="Thomas Stensitzki" userId="75cafe6b-2f2a-469b-85c4-eec3b9c972ba" providerId="ADAL" clId="{13A7DD84-EBC7-44DF-A4B8-478E332BAF16}" dt="2021-08-05T16:46:55.632" v="656" actId="1076"/>
          <ac:spMkLst>
            <pc:docMk/>
            <pc:sldMk cId="2819505311" sldId="493"/>
            <ac:spMk id="2" creationId="{8F9CB091-66F7-473E-B226-0F8B50A800CE}"/>
          </ac:spMkLst>
        </pc:spChg>
        <pc:spChg chg="del">
          <ac:chgData name="Thomas Stensitzki" userId="75cafe6b-2f2a-469b-85c4-eec3b9c972ba" providerId="ADAL" clId="{13A7DD84-EBC7-44DF-A4B8-478E332BAF16}" dt="2021-08-05T16:32:10.324" v="352" actId="478"/>
          <ac:spMkLst>
            <pc:docMk/>
            <pc:sldMk cId="2819505311" sldId="493"/>
            <ac:spMk id="3" creationId="{E5F315F0-F5B1-44D9-B6C0-079FB14FE7D4}"/>
          </ac:spMkLst>
        </pc:spChg>
        <pc:spChg chg="add mod">
          <ac:chgData name="Thomas Stensitzki" userId="75cafe6b-2f2a-469b-85c4-eec3b9c972ba" providerId="ADAL" clId="{13A7DD84-EBC7-44DF-A4B8-478E332BAF16}" dt="2021-08-12T16:41:54.915" v="1668" actId="6549"/>
          <ac:spMkLst>
            <pc:docMk/>
            <pc:sldMk cId="2819505311" sldId="493"/>
            <ac:spMk id="4" creationId="{42606201-5103-4444-A681-579EB68D443C}"/>
          </ac:spMkLst>
        </pc:spChg>
        <pc:picChg chg="add mod">
          <ac:chgData name="Thomas Stensitzki" userId="75cafe6b-2f2a-469b-85c4-eec3b9c972ba" providerId="ADAL" clId="{13A7DD84-EBC7-44DF-A4B8-478E332BAF16}" dt="2021-08-05T16:46:59.405" v="657" actId="1076"/>
          <ac:picMkLst>
            <pc:docMk/>
            <pc:sldMk cId="2819505311" sldId="493"/>
            <ac:picMk id="5122" creationId="{48B9E9CF-EC75-47A3-9400-56151FD8B6E7}"/>
          </ac:picMkLst>
        </pc:picChg>
        <pc:picChg chg="add mod">
          <ac:chgData name="Thomas Stensitzki" userId="75cafe6b-2f2a-469b-85c4-eec3b9c972ba" providerId="ADAL" clId="{13A7DD84-EBC7-44DF-A4B8-478E332BAF16}" dt="2021-08-05T16:47:20.275" v="663" actId="1076"/>
          <ac:picMkLst>
            <pc:docMk/>
            <pc:sldMk cId="2819505311" sldId="493"/>
            <ac:picMk id="5124" creationId="{7234D255-8952-4E9E-8EC1-9EF604151553}"/>
          </ac:picMkLst>
        </pc:picChg>
      </pc:sldChg>
      <pc:sldChg chg="addSp delSp modSp new mod modClrScheme modAnim chgLayout modNotesTx">
        <pc:chgData name="Thomas Stensitzki" userId="75cafe6b-2f2a-469b-85c4-eec3b9c972ba" providerId="ADAL" clId="{13A7DD84-EBC7-44DF-A4B8-478E332BAF16}" dt="2021-08-05T16:42:05.804" v="577"/>
        <pc:sldMkLst>
          <pc:docMk/>
          <pc:sldMk cId="900203790" sldId="494"/>
        </pc:sldMkLst>
        <pc:spChg chg="mod ord">
          <ac:chgData name="Thomas Stensitzki" userId="75cafe6b-2f2a-469b-85c4-eec3b9c972ba" providerId="ADAL" clId="{13A7DD84-EBC7-44DF-A4B8-478E332BAF16}" dt="2021-08-05T16:40:43.153" v="566" actId="700"/>
          <ac:spMkLst>
            <pc:docMk/>
            <pc:sldMk cId="900203790" sldId="494"/>
            <ac:spMk id="2" creationId="{56BF7A1E-D40C-4898-A8CB-ADA4F3BA657B}"/>
          </ac:spMkLst>
        </pc:spChg>
        <pc:spChg chg="del">
          <ac:chgData name="Thomas Stensitzki" userId="75cafe6b-2f2a-469b-85c4-eec3b9c972ba" providerId="ADAL" clId="{13A7DD84-EBC7-44DF-A4B8-478E332BAF16}" dt="2021-08-05T16:40:43.153" v="566" actId="700"/>
          <ac:spMkLst>
            <pc:docMk/>
            <pc:sldMk cId="900203790" sldId="494"/>
            <ac:spMk id="3" creationId="{F5C857EC-2563-4D35-B02F-52521105D61F}"/>
          </ac:spMkLst>
        </pc:spChg>
        <pc:picChg chg="add mod">
          <ac:chgData name="Thomas Stensitzki" userId="75cafe6b-2f2a-469b-85c4-eec3b9c972ba" providerId="ADAL" clId="{13A7DD84-EBC7-44DF-A4B8-478E332BAF16}" dt="2021-08-05T16:41:09.158" v="571" actId="14100"/>
          <ac:picMkLst>
            <pc:docMk/>
            <pc:sldMk cId="900203790" sldId="494"/>
            <ac:picMk id="3074" creationId="{9F24576B-4732-4D78-BD2F-59B8EEC14336}"/>
          </ac:picMkLst>
        </pc:picChg>
        <pc:picChg chg="add mod">
          <ac:chgData name="Thomas Stensitzki" userId="75cafe6b-2f2a-469b-85c4-eec3b9c972ba" providerId="ADAL" clId="{13A7DD84-EBC7-44DF-A4B8-478E332BAF16}" dt="2021-08-05T16:41:28.820" v="575" actId="14100"/>
          <ac:picMkLst>
            <pc:docMk/>
            <pc:sldMk cId="900203790" sldId="494"/>
            <ac:picMk id="3076" creationId="{905BD15B-7BD4-4DBE-A18F-04FB2D44551F}"/>
          </ac:picMkLst>
        </pc:picChg>
      </pc:sldChg>
      <pc:sldChg chg="addSp modSp new mod modAnim">
        <pc:chgData name="Thomas Stensitzki" userId="75cafe6b-2f2a-469b-85c4-eec3b9c972ba" providerId="ADAL" clId="{13A7DD84-EBC7-44DF-A4B8-478E332BAF16}" dt="2021-08-05T16:45:06.300" v="632"/>
        <pc:sldMkLst>
          <pc:docMk/>
          <pc:sldMk cId="2871162903" sldId="495"/>
        </pc:sldMkLst>
        <pc:spChg chg="mod">
          <ac:chgData name="Thomas Stensitzki" userId="75cafe6b-2f2a-469b-85c4-eec3b9c972ba" providerId="ADAL" clId="{13A7DD84-EBC7-44DF-A4B8-478E332BAF16}" dt="2021-08-05T16:42:57.926" v="601"/>
          <ac:spMkLst>
            <pc:docMk/>
            <pc:sldMk cId="2871162903" sldId="495"/>
            <ac:spMk id="2" creationId="{15C4489B-6A08-49A2-8CCF-F8592E44419F}"/>
          </ac:spMkLst>
        </pc:spChg>
        <pc:spChg chg="add mod">
          <ac:chgData name="Thomas Stensitzki" userId="75cafe6b-2f2a-469b-85c4-eec3b9c972ba" providerId="ADAL" clId="{13A7DD84-EBC7-44DF-A4B8-478E332BAF16}" dt="2021-08-05T16:44:40.118" v="618" actId="1076"/>
          <ac:spMkLst>
            <pc:docMk/>
            <pc:sldMk cId="2871162903" sldId="495"/>
            <ac:spMk id="6" creationId="{A011C0D1-A81B-4EC0-BFE3-117919143D5F}"/>
          </ac:spMkLst>
        </pc:spChg>
        <pc:picChg chg="add mod">
          <ac:chgData name="Thomas Stensitzki" userId="75cafe6b-2f2a-469b-85c4-eec3b9c972ba" providerId="ADAL" clId="{13A7DD84-EBC7-44DF-A4B8-478E332BAF16}" dt="2021-08-05T16:43:28.400" v="605" actId="1582"/>
          <ac:picMkLst>
            <pc:docMk/>
            <pc:sldMk cId="2871162903" sldId="495"/>
            <ac:picMk id="3" creationId="{BA854DDC-5027-4D56-B9FC-F22CFF2DA0E4}"/>
          </ac:picMkLst>
        </pc:picChg>
        <pc:picChg chg="add mod">
          <ac:chgData name="Thomas Stensitzki" userId="75cafe6b-2f2a-469b-85c4-eec3b9c972ba" providerId="ADAL" clId="{13A7DD84-EBC7-44DF-A4B8-478E332BAF16}" dt="2021-08-05T16:44:15.602" v="613" actId="1076"/>
          <ac:picMkLst>
            <pc:docMk/>
            <pc:sldMk cId="2871162903" sldId="495"/>
            <ac:picMk id="4098" creationId="{55B18317-2B4E-4C63-89B8-0ED48B2B1AA1}"/>
          </ac:picMkLst>
        </pc:picChg>
        <pc:picChg chg="add mod">
          <ac:chgData name="Thomas Stensitzki" userId="75cafe6b-2f2a-469b-85c4-eec3b9c972ba" providerId="ADAL" clId="{13A7DD84-EBC7-44DF-A4B8-478E332BAF16}" dt="2021-08-05T16:44:26.633" v="616" actId="1076"/>
          <ac:picMkLst>
            <pc:docMk/>
            <pc:sldMk cId="2871162903" sldId="495"/>
            <ac:picMk id="4100" creationId="{9AF05ECE-8E7A-4AC0-A561-A769FD378C58}"/>
          </ac:picMkLst>
        </pc:picChg>
      </pc:sldChg>
      <pc:sldChg chg="addSp modSp new mod">
        <pc:chgData name="Thomas Stensitzki" userId="75cafe6b-2f2a-469b-85c4-eec3b9c972ba" providerId="ADAL" clId="{13A7DD84-EBC7-44DF-A4B8-478E332BAF16}" dt="2021-08-05T16:59:11.539" v="911" actId="790"/>
        <pc:sldMkLst>
          <pc:docMk/>
          <pc:sldMk cId="503783842" sldId="496"/>
        </pc:sldMkLst>
        <pc:spChg chg="mod">
          <ac:chgData name="Thomas Stensitzki" userId="75cafe6b-2f2a-469b-85c4-eec3b9c972ba" providerId="ADAL" clId="{13A7DD84-EBC7-44DF-A4B8-478E332BAF16}" dt="2021-08-05T16:56:28.552" v="886"/>
          <ac:spMkLst>
            <pc:docMk/>
            <pc:sldMk cId="503783842" sldId="496"/>
            <ac:spMk id="2" creationId="{B7F35375-0E29-4118-B455-EB8E2CA1CC5A}"/>
          </ac:spMkLst>
        </pc:spChg>
        <pc:spChg chg="add mod">
          <ac:chgData name="Thomas Stensitzki" userId="75cafe6b-2f2a-469b-85c4-eec3b9c972ba" providerId="ADAL" clId="{13A7DD84-EBC7-44DF-A4B8-478E332BAF16}" dt="2021-08-05T16:59:11.539" v="911" actId="790"/>
          <ac:spMkLst>
            <pc:docMk/>
            <pc:sldMk cId="503783842" sldId="496"/>
            <ac:spMk id="4" creationId="{FB7B6BF2-BF6B-4413-8036-CE968BC9F52A}"/>
          </ac:spMkLst>
        </pc:spChg>
        <pc:picChg chg="add mod modCrop">
          <ac:chgData name="Thomas Stensitzki" userId="75cafe6b-2f2a-469b-85c4-eec3b9c972ba" providerId="ADAL" clId="{13A7DD84-EBC7-44DF-A4B8-478E332BAF16}" dt="2021-08-05T16:57:26.373" v="894" actId="732"/>
          <ac:picMkLst>
            <pc:docMk/>
            <pc:sldMk cId="503783842" sldId="496"/>
            <ac:picMk id="3" creationId="{99397DF0-DADB-4409-B39C-78F6B6EEB051}"/>
          </ac:picMkLst>
        </pc:picChg>
      </pc:sldChg>
      <pc:sldChg chg="addSp delSp modSp new mod modClrScheme modAnim chgLayout">
        <pc:chgData name="Thomas Stensitzki" userId="75cafe6b-2f2a-469b-85c4-eec3b9c972ba" providerId="ADAL" clId="{13A7DD84-EBC7-44DF-A4B8-478E332BAF16}" dt="2021-08-05T17:05:08.071" v="988"/>
        <pc:sldMkLst>
          <pc:docMk/>
          <pc:sldMk cId="1558837248" sldId="497"/>
        </pc:sldMkLst>
        <pc:spChg chg="del mod ord">
          <ac:chgData name="Thomas Stensitzki" userId="75cafe6b-2f2a-469b-85c4-eec3b9c972ba" providerId="ADAL" clId="{13A7DD84-EBC7-44DF-A4B8-478E332BAF16}" dt="2021-08-05T17:02:44.111" v="966" actId="700"/>
          <ac:spMkLst>
            <pc:docMk/>
            <pc:sldMk cId="1558837248" sldId="497"/>
            <ac:spMk id="2" creationId="{69C51ED4-3940-4F14-8B0D-AA4601891FB8}"/>
          </ac:spMkLst>
        </pc:spChg>
        <pc:spChg chg="del">
          <ac:chgData name="Thomas Stensitzki" userId="75cafe6b-2f2a-469b-85c4-eec3b9c972ba" providerId="ADAL" clId="{13A7DD84-EBC7-44DF-A4B8-478E332BAF16}" dt="2021-08-05T17:02:44.111" v="966" actId="700"/>
          <ac:spMkLst>
            <pc:docMk/>
            <pc:sldMk cId="1558837248" sldId="497"/>
            <ac:spMk id="3" creationId="{FB1E46B9-CD68-45B3-8D97-0E2AB0527B7E}"/>
          </ac:spMkLst>
        </pc:spChg>
        <pc:spChg chg="add mod ord">
          <ac:chgData name="Thomas Stensitzki" userId="75cafe6b-2f2a-469b-85c4-eec3b9c972ba" providerId="ADAL" clId="{13A7DD84-EBC7-44DF-A4B8-478E332BAF16}" dt="2021-08-05T17:03:03.097" v="970" actId="14100"/>
          <ac:spMkLst>
            <pc:docMk/>
            <pc:sldMk cId="1558837248" sldId="497"/>
            <ac:spMk id="4" creationId="{89E5E786-9479-4281-A319-525DF43CE462}"/>
          </ac:spMkLst>
        </pc:spChg>
        <pc:picChg chg="add mod">
          <ac:chgData name="Thomas Stensitzki" userId="75cafe6b-2f2a-469b-85c4-eec3b9c972ba" providerId="ADAL" clId="{13A7DD84-EBC7-44DF-A4B8-478E332BAF16}" dt="2021-08-05T17:03:33.862" v="976" actId="1076"/>
          <ac:picMkLst>
            <pc:docMk/>
            <pc:sldMk cId="1558837248" sldId="497"/>
            <ac:picMk id="6146" creationId="{9A16EA35-B6EC-41E2-9608-1AA88EBC50F4}"/>
          </ac:picMkLst>
        </pc:picChg>
        <pc:picChg chg="add mod">
          <ac:chgData name="Thomas Stensitzki" userId="75cafe6b-2f2a-469b-85c4-eec3b9c972ba" providerId="ADAL" clId="{13A7DD84-EBC7-44DF-A4B8-478E332BAF16}" dt="2021-08-05T17:03:43.313" v="978" actId="1582"/>
          <ac:picMkLst>
            <pc:docMk/>
            <pc:sldMk cId="1558837248" sldId="497"/>
            <ac:picMk id="6148" creationId="{CC357F81-EE87-468F-96BF-BBE453B5A62E}"/>
          </ac:picMkLst>
        </pc:picChg>
        <pc:picChg chg="add mod">
          <ac:chgData name="Thomas Stensitzki" userId="75cafe6b-2f2a-469b-85c4-eec3b9c972ba" providerId="ADAL" clId="{13A7DD84-EBC7-44DF-A4B8-478E332BAF16}" dt="2021-08-05T17:04:44.398" v="986" actId="1076"/>
          <ac:picMkLst>
            <pc:docMk/>
            <pc:sldMk cId="1558837248" sldId="497"/>
            <ac:picMk id="6150" creationId="{995EC3C0-E0B3-4717-BB9A-A538D12F17B4}"/>
          </ac:picMkLst>
        </pc:picChg>
      </pc:sldChg>
      <pc:sldChg chg="modSp add mod ord">
        <pc:chgData name="Thomas Stensitzki" userId="75cafe6b-2f2a-469b-85c4-eec3b9c972ba" providerId="ADAL" clId="{13A7DD84-EBC7-44DF-A4B8-478E332BAF16}" dt="2021-08-10T16:57:13.622" v="1508" actId="14100"/>
        <pc:sldMkLst>
          <pc:docMk/>
          <pc:sldMk cId="4139680906" sldId="498"/>
        </pc:sldMkLst>
        <pc:spChg chg="mod">
          <ac:chgData name="Thomas Stensitzki" userId="75cafe6b-2f2a-469b-85c4-eec3b9c972ba" providerId="ADAL" clId="{13A7DD84-EBC7-44DF-A4B8-478E332BAF16}" dt="2021-08-10T16:57:13.622" v="1508" actId="14100"/>
          <ac:spMkLst>
            <pc:docMk/>
            <pc:sldMk cId="4139680906" sldId="498"/>
            <ac:spMk id="2" creationId="{909DC09D-B9A6-4493-9A72-1CA7ECB1F5CA}"/>
          </ac:spMkLst>
        </pc:spChg>
        <pc:spChg chg="mod">
          <ac:chgData name="Thomas Stensitzki" userId="75cafe6b-2f2a-469b-85c4-eec3b9c972ba" providerId="ADAL" clId="{13A7DD84-EBC7-44DF-A4B8-478E332BAF16}" dt="2021-08-10T16:57:05.903" v="1507" actId="20577"/>
          <ac:spMkLst>
            <pc:docMk/>
            <pc:sldMk cId="4139680906" sldId="498"/>
            <ac:spMk id="5" creationId="{C24DACB5-1BEC-4C86-9652-BAFD8DE56FEF}"/>
          </ac:spMkLst>
        </pc:spChg>
      </pc:sldChg>
      <pc:sldChg chg="addSp delSp modSp new mod modAnim modNotesTx">
        <pc:chgData name="Thomas Stensitzki" userId="75cafe6b-2f2a-469b-85c4-eec3b9c972ba" providerId="ADAL" clId="{13A7DD84-EBC7-44DF-A4B8-478E332BAF16}" dt="2021-08-10T16:54:10.286" v="1332"/>
        <pc:sldMkLst>
          <pc:docMk/>
          <pc:sldMk cId="1091876782" sldId="499"/>
        </pc:sldMkLst>
        <pc:spChg chg="mod">
          <ac:chgData name="Thomas Stensitzki" userId="75cafe6b-2f2a-469b-85c4-eec3b9c972ba" providerId="ADAL" clId="{13A7DD84-EBC7-44DF-A4B8-478E332BAF16}" dt="2021-08-05T17:18:42.160" v="1084"/>
          <ac:spMkLst>
            <pc:docMk/>
            <pc:sldMk cId="1091876782" sldId="499"/>
            <ac:spMk id="2" creationId="{D33506D9-1D44-4E8B-9B82-65AFBD9BDE53}"/>
          </ac:spMkLst>
        </pc:spChg>
        <pc:picChg chg="add mod">
          <ac:chgData name="Thomas Stensitzki" userId="75cafe6b-2f2a-469b-85c4-eec3b9c972ba" providerId="ADAL" clId="{13A7DD84-EBC7-44DF-A4B8-478E332BAF16}" dt="2021-08-05T17:22:21.389" v="1147" actId="1440"/>
          <ac:picMkLst>
            <pc:docMk/>
            <pc:sldMk cId="1091876782" sldId="499"/>
            <ac:picMk id="3" creationId="{EE4A2AB9-39AD-49DF-A297-C13FE0D693CD}"/>
          </ac:picMkLst>
        </pc:picChg>
        <pc:picChg chg="add mod">
          <ac:chgData name="Thomas Stensitzki" userId="75cafe6b-2f2a-469b-85c4-eec3b9c972ba" providerId="ADAL" clId="{13A7DD84-EBC7-44DF-A4B8-478E332BAF16}" dt="2021-08-05T17:22:25.461" v="1148" actId="1440"/>
          <ac:picMkLst>
            <pc:docMk/>
            <pc:sldMk cId="1091876782" sldId="499"/>
            <ac:picMk id="5" creationId="{D4104401-2A14-415F-9B7B-602DA7B40BAE}"/>
          </ac:picMkLst>
        </pc:picChg>
        <pc:picChg chg="add del mod">
          <ac:chgData name="Thomas Stensitzki" userId="75cafe6b-2f2a-469b-85c4-eec3b9c972ba" providerId="ADAL" clId="{13A7DD84-EBC7-44DF-A4B8-478E332BAF16}" dt="2021-08-05T17:19:49.825" v="1092" actId="478"/>
          <ac:picMkLst>
            <pc:docMk/>
            <pc:sldMk cId="1091876782" sldId="499"/>
            <ac:picMk id="8194" creationId="{67D65A69-A83B-43A4-BE74-BD7EC1B02204}"/>
          </ac:picMkLst>
        </pc:picChg>
        <pc:picChg chg="add mod">
          <ac:chgData name="Thomas Stensitzki" userId="75cafe6b-2f2a-469b-85c4-eec3b9c972ba" providerId="ADAL" clId="{13A7DD84-EBC7-44DF-A4B8-478E332BAF16}" dt="2021-08-05T17:22:14.998" v="1146" actId="1440"/>
          <ac:picMkLst>
            <pc:docMk/>
            <pc:sldMk cId="1091876782" sldId="499"/>
            <ac:picMk id="8196" creationId="{D6510E23-D3DC-46EF-806A-43289CE1280D}"/>
          </ac:picMkLst>
        </pc:picChg>
      </pc:sldChg>
      <pc:sldChg chg="addSp modSp new mod modNotesTx">
        <pc:chgData name="Thomas Stensitzki" userId="75cafe6b-2f2a-469b-85c4-eec3b9c972ba" providerId="ADAL" clId="{13A7DD84-EBC7-44DF-A4B8-478E332BAF16}" dt="2021-08-05T17:24:57.099" v="1178"/>
        <pc:sldMkLst>
          <pc:docMk/>
          <pc:sldMk cId="3233405587" sldId="500"/>
        </pc:sldMkLst>
        <pc:spChg chg="mod">
          <ac:chgData name="Thomas Stensitzki" userId="75cafe6b-2f2a-469b-85c4-eec3b9c972ba" providerId="ADAL" clId="{13A7DD84-EBC7-44DF-A4B8-478E332BAF16}" dt="2021-08-05T17:24:04.114" v="1170" actId="1076"/>
          <ac:spMkLst>
            <pc:docMk/>
            <pc:sldMk cId="3233405587" sldId="500"/>
            <ac:spMk id="2" creationId="{DA4C3CC7-19B9-4B6A-80D5-2768276B32DF}"/>
          </ac:spMkLst>
        </pc:spChg>
        <pc:picChg chg="add mod">
          <ac:chgData name="Thomas Stensitzki" userId="75cafe6b-2f2a-469b-85c4-eec3b9c972ba" providerId="ADAL" clId="{13A7DD84-EBC7-44DF-A4B8-478E332BAF16}" dt="2021-08-05T17:24:15.381" v="1173" actId="1440"/>
          <ac:picMkLst>
            <pc:docMk/>
            <pc:sldMk cId="3233405587" sldId="500"/>
            <ac:picMk id="10242" creationId="{A09CCC85-CE71-4434-B3D8-BB730F4BC6D3}"/>
          </ac:picMkLst>
        </pc:picChg>
      </pc:sldChg>
      <pc:sldChg chg="addSp delSp modSp add del mod">
        <pc:chgData name="Thomas Stensitzki" userId="75cafe6b-2f2a-469b-85c4-eec3b9c972ba" providerId="ADAL" clId="{13A7DD84-EBC7-44DF-A4B8-478E332BAF16}" dt="2021-08-05T17:22:31.063" v="1149" actId="47"/>
        <pc:sldMkLst>
          <pc:docMk/>
          <pc:sldMk cId="3953422346" sldId="500"/>
        </pc:sldMkLst>
        <pc:picChg chg="del">
          <ac:chgData name="Thomas Stensitzki" userId="75cafe6b-2f2a-469b-85c4-eec3b9c972ba" providerId="ADAL" clId="{13A7DD84-EBC7-44DF-A4B8-478E332BAF16}" dt="2021-08-05T17:20:03.055" v="1094" actId="478"/>
          <ac:picMkLst>
            <pc:docMk/>
            <pc:sldMk cId="3953422346" sldId="500"/>
            <ac:picMk id="3" creationId="{EE4A2AB9-39AD-49DF-A297-C13FE0D693CD}"/>
          </ac:picMkLst>
        </pc:picChg>
        <pc:picChg chg="add mod">
          <ac:chgData name="Thomas Stensitzki" userId="75cafe6b-2f2a-469b-85c4-eec3b9c972ba" providerId="ADAL" clId="{13A7DD84-EBC7-44DF-A4B8-478E332BAF16}" dt="2021-08-05T17:20:09.279" v="1097" actId="1076"/>
          <ac:picMkLst>
            <pc:docMk/>
            <pc:sldMk cId="3953422346" sldId="500"/>
            <ac:picMk id="9218" creationId="{B71FA1C6-0A05-4403-8027-4AABA67B905B}"/>
          </ac:picMkLst>
        </pc:picChg>
      </pc:sldChg>
      <pc:sldChg chg="modSp add mod ord">
        <pc:chgData name="Thomas Stensitzki" userId="75cafe6b-2f2a-469b-85c4-eec3b9c972ba" providerId="ADAL" clId="{13A7DD84-EBC7-44DF-A4B8-478E332BAF16}" dt="2021-08-10T16:52:35.276" v="1212" actId="1035"/>
        <pc:sldMkLst>
          <pc:docMk/>
          <pc:sldMk cId="1828632953" sldId="501"/>
        </pc:sldMkLst>
        <pc:spChg chg="mod">
          <ac:chgData name="Thomas Stensitzki" userId="75cafe6b-2f2a-469b-85c4-eec3b9c972ba" providerId="ADAL" clId="{13A7DD84-EBC7-44DF-A4B8-478E332BAF16}" dt="2021-08-10T16:52:35.276" v="1212" actId="1035"/>
          <ac:spMkLst>
            <pc:docMk/>
            <pc:sldMk cId="1828632953" sldId="501"/>
            <ac:spMk id="2" creationId="{909DC09D-B9A6-4493-9A72-1CA7ECB1F5CA}"/>
          </ac:spMkLst>
        </pc:spChg>
      </pc:sldChg>
      <pc:sldChg chg="modSp add mod">
        <pc:chgData name="Thomas Stensitzki" userId="75cafe6b-2f2a-469b-85c4-eec3b9c972ba" providerId="ADAL" clId="{13A7DD84-EBC7-44DF-A4B8-478E332BAF16}" dt="2021-08-10T16:52:53.743" v="1245" actId="14100"/>
        <pc:sldMkLst>
          <pc:docMk/>
          <pc:sldMk cId="705434850" sldId="502"/>
        </pc:sldMkLst>
        <pc:spChg chg="mod">
          <ac:chgData name="Thomas Stensitzki" userId="75cafe6b-2f2a-469b-85c4-eec3b9c972ba" providerId="ADAL" clId="{13A7DD84-EBC7-44DF-A4B8-478E332BAF16}" dt="2021-08-10T16:52:53.743" v="1245" actId="14100"/>
          <ac:spMkLst>
            <pc:docMk/>
            <pc:sldMk cId="705434850" sldId="502"/>
            <ac:spMk id="2" creationId="{909DC09D-B9A6-4493-9A72-1CA7ECB1F5CA}"/>
          </ac:spMkLst>
        </pc:spChg>
      </pc:sldChg>
      <pc:sldChg chg="modSp add mod ord">
        <pc:chgData name="Thomas Stensitzki" userId="75cafe6b-2f2a-469b-85c4-eec3b9c972ba" providerId="ADAL" clId="{13A7DD84-EBC7-44DF-A4B8-478E332BAF16}" dt="2021-08-10T16:53:11.242" v="1273" actId="14100"/>
        <pc:sldMkLst>
          <pc:docMk/>
          <pc:sldMk cId="2116552428" sldId="503"/>
        </pc:sldMkLst>
        <pc:spChg chg="mod">
          <ac:chgData name="Thomas Stensitzki" userId="75cafe6b-2f2a-469b-85c4-eec3b9c972ba" providerId="ADAL" clId="{13A7DD84-EBC7-44DF-A4B8-478E332BAF16}" dt="2021-08-10T16:53:11.242" v="1273" actId="14100"/>
          <ac:spMkLst>
            <pc:docMk/>
            <pc:sldMk cId="2116552428" sldId="503"/>
            <ac:spMk id="2" creationId="{909DC09D-B9A6-4493-9A72-1CA7ECB1F5CA}"/>
          </ac:spMkLst>
        </pc:spChg>
      </pc:sldChg>
      <pc:sldChg chg="modSp add mod ord">
        <pc:chgData name="Thomas Stensitzki" userId="75cafe6b-2f2a-469b-85c4-eec3b9c972ba" providerId="ADAL" clId="{13A7DD84-EBC7-44DF-A4B8-478E332BAF16}" dt="2021-08-10T16:53:21.263" v="1291" actId="1036"/>
        <pc:sldMkLst>
          <pc:docMk/>
          <pc:sldMk cId="2167590192" sldId="504"/>
        </pc:sldMkLst>
        <pc:spChg chg="mod">
          <ac:chgData name="Thomas Stensitzki" userId="75cafe6b-2f2a-469b-85c4-eec3b9c972ba" providerId="ADAL" clId="{13A7DD84-EBC7-44DF-A4B8-478E332BAF16}" dt="2021-08-10T16:53:21.263" v="1291" actId="1036"/>
          <ac:spMkLst>
            <pc:docMk/>
            <pc:sldMk cId="2167590192" sldId="504"/>
            <ac:spMk id="2" creationId="{909DC09D-B9A6-4493-9A72-1CA7ECB1F5CA}"/>
          </ac:spMkLst>
        </pc:spChg>
      </pc:sldChg>
      <pc:sldChg chg="modSp add mod ord">
        <pc:chgData name="Thomas Stensitzki" userId="75cafe6b-2f2a-469b-85c4-eec3b9c972ba" providerId="ADAL" clId="{13A7DD84-EBC7-44DF-A4B8-478E332BAF16}" dt="2021-08-10T16:53:40.039" v="1328" actId="14100"/>
        <pc:sldMkLst>
          <pc:docMk/>
          <pc:sldMk cId="2730644169" sldId="505"/>
        </pc:sldMkLst>
        <pc:spChg chg="mod">
          <ac:chgData name="Thomas Stensitzki" userId="75cafe6b-2f2a-469b-85c4-eec3b9c972ba" providerId="ADAL" clId="{13A7DD84-EBC7-44DF-A4B8-478E332BAF16}" dt="2021-08-10T16:53:40.039" v="1328" actId="14100"/>
          <ac:spMkLst>
            <pc:docMk/>
            <pc:sldMk cId="2730644169" sldId="505"/>
            <ac:spMk id="2" creationId="{909DC09D-B9A6-4493-9A72-1CA7ECB1F5CA}"/>
          </ac:spMkLst>
        </pc:spChg>
      </pc:sldChg>
      <pc:sldChg chg="modSp add mod ord">
        <pc:chgData name="Thomas Stensitzki" userId="75cafe6b-2f2a-469b-85c4-eec3b9c972ba" providerId="ADAL" clId="{13A7DD84-EBC7-44DF-A4B8-478E332BAF16}" dt="2021-08-10T16:56:27.659" v="1473" actId="20577"/>
        <pc:sldMkLst>
          <pc:docMk/>
          <pc:sldMk cId="1492262341" sldId="506"/>
        </pc:sldMkLst>
        <pc:spChg chg="mod">
          <ac:chgData name="Thomas Stensitzki" userId="75cafe6b-2f2a-469b-85c4-eec3b9c972ba" providerId="ADAL" clId="{13A7DD84-EBC7-44DF-A4B8-478E332BAF16}" dt="2021-08-10T16:55:06.419" v="1379" actId="14100"/>
          <ac:spMkLst>
            <pc:docMk/>
            <pc:sldMk cId="1492262341" sldId="506"/>
            <ac:spMk id="2" creationId="{909DC09D-B9A6-4493-9A72-1CA7ECB1F5CA}"/>
          </ac:spMkLst>
        </pc:spChg>
        <pc:spChg chg="mod">
          <ac:chgData name="Thomas Stensitzki" userId="75cafe6b-2f2a-469b-85c4-eec3b9c972ba" providerId="ADAL" clId="{13A7DD84-EBC7-44DF-A4B8-478E332BAF16}" dt="2021-08-10T16:56:27.659" v="1473" actId="20577"/>
          <ac:spMkLst>
            <pc:docMk/>
            <pc:sldMk cId="1492262341" sldId="506"/>
            <ac:spMk id="5" creationId="{C24DACB5-1BEC-4C86-9652-BAFD8DE56FEF}"/>
          </ac:spMkLst>
        </pc:spChg>
      </pc:sldChg>
      <pc:sldChg chg="modSp add mod">
        <pc:chgData name="Thomas Stensitzki" userId="75cafe6b-2f2a-469b-85c4-eec3b9c972ba" providerId="ADAL" clId="{13A7DD84-EBC7-44DF-A4B8-478E332BAF16}" dt="2021-08-10T16:56:24.464" v="1472" actId="20577"/>
        <pc:sldMkLst>
          <pc:docMk/>
          <pc:sldMk cId="2246989815" sldId="507"/>
        </pc:sldMkLst>
        <pc:spChg chg="mod">
          <ac:chgData name="Thomas Stensitzki" userId="75cafe6b-2f2a-469b-85c4-eec3b9c972ba" providerId="ADAL" clId="{13A7DD84-EBC7-44DF-A4B8-478E332BAF16}" dt="2021-08-10T16:55:22.616" v="1387" actId="1035"/>
          <ac:spMkLst>
            <pc:docMk/>
            <pc:sldMk cId="2246989815" sldId="507"/>
            <ac:spMk id="2" creationId="{909DC09D-B9A6-4493-9A72-1CA7ECB1F5CA}"/>
          </ac:spMkLst>
        </pc:spChg>
        <pc:spChg chg="mod">
          <ac:chgData name="Thomas Stensitzki" userId="75cafe6b-2f2a-469b-85c4-eec3b9c972ba" providerId="ADAL" clId="{13A7DD84-EBC7-44DF-A4B8-478E332BAF16}" dt="2021-08-10T16:56:24.464" v="1472" actId="20577"/>
          <ac:spMkLst>
            <pc:docMk/>
            <pc:sldMk cId="2246989815" sldId="507"/>
            <ac:spMk id="5" creationId="{C24DACB5-1BEC-4C86-9652-BAFD8DE56FEF}"/>
          </ac:spMkLst>
        </pc:spChg>
      </pc:sldChg>
      <pc:sldChg chg="modSp add mod">
        <pc:chgData name="Thomas Stensitzki" userId="75cafe6b-2f2a-469b-85c4-eec3b9c972ba" providerId="ADAL" clId="{13A7DD84-EBC7-44DF-A4B8-478E332BAF16}" dt="2021-08-10T16:56:19.865" v="1471" actId="20577"/>
        <pc:sldMkLst>
          <pc:docMk/>
          <pc:sldMk cId="389331669" sldId="508"/>
        </pc:sldMkLst>
        <pc:spChg chg="mod">
          <ac:chgData name="Thomas Stensitzki" userId="75cafe6b-2f2a-469b-85c4-eec3b9c972ba" providerId="ADAL" clId="{13A7DD84-EBC7-44DF-A4B8-478E332BAF16}" dt="2021-08-10T16:55:35.133" v="1417" actId="1036"/>
          <ac:spMkLst>
            <pc:docMk/>
            <pc:sldMk cId="389331669" sldId="508"/>
            <ac:spMk id="2" creationId="{909DC09D-B9A6-4493-9A72-1CA7ECB1F5CA}"/>
          </ac:spMkLst>
        </pc:spChg>
        <pc:spChg chg="mod">
          <ac:chgData name="Thomas Stensitzki" userId="75cafe6b-2f2a-469b-85c4-eec3b9c972ba" providerId="ADAL" clId="{13A7DD84-EBC7-44DF-A4B8-478E332BAF16}" dt="2021-08-10T16:56:19.865" v="1471" actId="20577"/>
          <ac:spMkLst>
            <pc:docMk/>
            <pc:sldMk cId="389331669" sldId="508"/>
            <ac:spMk id="5" creationId="{C24DACB5-1BEC-4C86-9652-BAFD8DE56FEF}"/>
          </ac:spMkLst>
        </pc:spChg>
      </pc:sldChg>
      <pc:sldChg chg="modSp add mod ord">
        <pc:chgData name="Thomas Stensitzki" userId="75cafe6b-2f2a-469b-85c4-eec3b9c972ba" providerId="ADAL" clId="{13A7DD84-EBC7-44DF-A4B8-478E332BAF16}" dt="2021-08-10T16:56:16.455" v="1470" actId="20577"/>
        <pc:sldMkLst>
          <pc:docMk/>
          <pc:sldMk cId="3227978394" sldId="509"/>
        </pc:sldMkLst>
        <pc:spChg chg="mod">
          <ac:chgData name="Thomas Stensitzki" userId="75cafe6b-2f2a-469b-85c4-eec3b9c972ba" providerId="ADAL" clId="{13A7DD84-EBC7-44DF-A4B8-478E332BAF16}" dt="2021-08-10T16:55:54.443" v="1442" actId="1036"/>
          <ac:spMkLst>
            <pc:docMk/>
            <pc:sldMk cId="3227978394" sldId="509"/>
            <ac:spMk id="2" creationId="{909DC09D-B9A6-4493-9A72-1CA7ECB1F5CA}"/>
          </ac:spMkLst>
        </pc:spChg>
        <pc:spChg chg="mod">
          <ac:chgData name="Thomas Stensitzki" userId="75cafe6b-2f2a-469b-85c4-eec3b9c972ba" providerId="ADAL" clId="{13A7DD84-EBC7-44DF-A4B8-478E332BAF16}" dt="2021-08-10T16:56:16.455" v="1470" actId="20577"/>
          <ac:spMkLst>
            <pc:docMk/>
            <pc:sldMk cId="3227978394" sldId="509"/>
            <ac:spMk id="5" creationId="{C24DACB5-1BEC-4C86-9652-BAFD8DE56FEF}"/>
          </ac:spMkLst>
        </pc:spChg>
      </pc:sldChg>
      <pc:sldChg chg="modSp add mod">
        <pc:chgData name="Thomas Stensitzki" userId="75cafe6b-2f2a-469b-85c4-eec3b9c972ba" providerId="ADAL" clId="{13A7DD84-EBC7-44DF-A4B8-478E332BAF16}" dt="2021-08-10T16:56:13.257" v="1469" actId="20577"/>
        <pc:sldMkLst>
          <pc:docMk/>
          <pc:sldMk cId="222762613" sldId="510"/>
        </pc:sldMkLst>
        <pc:spChg chg="mod">
          <ac:chgData name="Thomas Stensitzki" userId="75cafe6b-2f2a-469b-85c4-eec3b9c972ba" providerId="ADAL" clId="{13A7DD84-EBC7-44DF-A4B8-478E332BAF16}" dt="2021-08-10T16:56:10.651" v="1468" actId="14100"/>
          <ac:spMkLst>
            <pc:docMk/>
            <pc:sldMk cId="222762613" sldId="510"/>
            <ac:spMk id="2" creationId="{909DC09D-B9A6-4493-9A72-1CA7ECB1F5CA}"/>
          </ac:spMkLst>
        </pc:spChg>
        <pc:spChg chg="mod">
          <ac:chgData name="Thomas Stensitzki" userId="75cafe6b-2f2a-469b-85c4-eec3b9c972ba" providerId="ADAL" clId="{13A7DD84-EBC7-44DF-A4B8-478E332BAF16}" dt="2021-08-10T16:56:13.257" v="1469" actId="20577"/>
          <ac:spMkLst>
            <pc:docMk/>
            <pc:sldMk cId="222762613" sldId="510"/>
            <ac:spMk id="5" creationId="{C24DACB5-1BEC-4C86-9652-BAFD8DE56FEF}"/>
          </ac:spMkLst>
        </pc:spChg>
      </pc:sldChg>
      <pc:sldChg chg="modSp add mod">
        <pc:chgData name="Thomas Stensitzki" userId="75cafe6b-2f2a-469b-85c4-eec3b9c972ba" providerId="ADAL" clId="{13A7DD84-EBC7-44DF-A4B8-478E332BAF16}" dt="2021-08-10T16:56:51.530" v="1502" actId="1035"/>
        <pc:sldMkLst>
          <pc:docMk/>
          <pc:sldMk cId="1154144205" sldId="511"/>
        </pc:sldMkLst>
        <pc:spChg chg="mod">
          <ac:chgData name="Thomas Stensitzki" userId="75cafe6b-2f2a-469b-85c4-eec3b9c972ba" providerId="ADAL" clId="{13A7DD84-EBC7-44DF-A4B8-478E332BAF16}" dt="2021-08-10T16:56:51.530" v="1502" actId="1035"/>
          <ac:spMkLst>
            <pc:docMk/>
            <pc:sldMk cId="1154144205" sldId="511"/>
            <ac:spMk id="2" creationId="{909DC09D-B9A6-4493-9A72-1CA7ECB1F5CA}"/>
          </ac:spMkLst>
        </pc:spChg>
      </pc:sldChg>
      <pc:sldChg chg="modSp add mod">
        <pc:chgData name="Thomas Stensitzki" userId="75cafe6b-2f2a-469b-85c4-eec3b9c972ba" providerId="ADAL" clId="{13A7DD84-EBC7-44DF-A4B8-478E332BAF16}" dt="2021-08-10T16:57:27.205" v="1511" actId="14100"/>
        <pc:sldMkLst>
          <pc:docMk/>
          <pc:sldMk cId="409371138" sldId="512"/>
        </pc:sldMkLst>
        <pc:spChg chg="mod">
          <ac:chgData name="Thomas Stensitzki" userId="75cafe6b-2f2a-469b-85c4-eec3b9c972ba" providerId="ADAL" clId="{13A7DD84-EBC7-44DF-A4B8-478E332BAF16}" dt="2021-08-10T16:57:27.205" v="1511" actId="14100"/>
          <ac:spMkLst>
            <pc:docMk/>
            <pc:sldMk cId="409371138" sldId="512"/>
            <ac:spMk id="2" creationId="{909DC09D-B9A6-4493-9A72-1CA7ECB1F5CA}"/>
          </ac:spMkLst>
        </pc:spChg>
      </pc:sldChg>
      <pc:sldChg chg="addSp modSp new mod">
        <pc:chgData name="Thomas Stensitzki" userId="75cafe6b-2f2a-469b-85c4-eec3b9c972ba" providerId="ADAL" clId="{13A7DD84-EBC7-44DF-A4B8-478E332BAF16}" dt="2021-08-12T08:25:12.450" v="1635" actId="255"/>
        <pc:sldMkLst>
          <pc:docMk/>
          <pc:sldMk cId="2923837414" sldId="513"/>
        </pc:sldMkLst>
        <pc:spChg chg="mod">
          <ac:chgData name="Thomas Stensitzki" userId="75cafe6b-2f2a-469b-85c4-eec3b9c972ba" providerId="ADAL" clId="{13A7DD84-EBC7-44DF-A4B8-478E332BAF16}" dt="2021-08-12T08:21:38.595" v="1578" actId="20577"/>
          <ac:spMkLst>
            <pc:docMk/>
            <pc:sldMk cId="2923837414" sldId="513"/>
            <ac:spMk id="2" creationId="{BE2F18A5-78AE-405E-A20F-1654BB71EEC0}"/>
          </ac:spMkLst>
        </pc:spChg>
        <pc:spChg chg="mod">
          <ac:chgData name="Thomas Stensitzki" userId="75cafe6b-2f2a-469b-85c4-eec3b9c972ba" providerId="ADAL" clId="{13A7DD84-EBC7-44DF-A4B8-478E332BAF16}" dt="2021-08-12T08:25:12.450" v="1635" actId="255"/>
          <ac:spMkLst>
            <pc:docMk/>
            <pc:sldMk cId="2923837414" sldId="513"/>
            <ac:spMk id="3" creationId="{0EF91AAF-22C9-467A-BB36-B9178FCA5D28}"/>
          </ac:spMkLst>
        </pc:spChg>
        <pc:picChg chg="add mod">
          <ac:chgData name="Thomas Stensitzki" userId="75cafe6b-2f2a-469b-85c4-eec3b9c972ba" providerId="ADAL" clId="{13A7DD84-EBC7-44DF-A4B8-478E332BAF16}" dt="2021-08-12T08:23:34.516" v="1619" actId="1440"/>
          <ac:picMkLst>
            <pc:docMk/>
            <pc:sldMk cId="2923837414" sldId="513"/>
            <ac:picMk id="5" creationId="{4E13512F-C714-449D-B13D-17EE7BDEB782}"/>
          </ac:picMkLst>
        </pc:picChg>
      </pc:sldChg>
    </pc:docChg>
  </pc:docChgLst>
  <pc:docChgLst>
    <pc:chgData name="Thomas Stensitzki" userId="75cafe6b-2f2a-469b-85c4-eec3b9c972ba" providerId="ADAL" clId="{07CCC4F7-7258-4B53-AE42-73541D3C572D}"/>
    <pc:docChg chg="undo custSel addSld delSld modSld sldOrd delSection modSection">
      <pc:chgData name="Thomas Stensitzki" userId="75cafe6b-2f2a-469b-85c4-eec3b9c972ba" providerId="ADAL" clId="{07CCC4F7-7258-4B53-AE42-73541D3C572D}" dt="2024-05-04T10:56:50.431" v="3400" actId="20577"/>
      <pc:docMkLst>
        <pc:docMk/>
      </pc:docMkLst>
      <pc:sldChg chg="modSp mod modTransition">
        <pc:chgData name="Thomas Stensitzki" userId="75cafe6b-2f2a-469b-85c4-eec3b9c972ba" providerId="ADAL" clId="{07CCC4F7-7258-4B53-AE42-73541D3C572D}" dt="2024-04-25T07:12:49.206" v="1511"/>
        <pc:sldMkLst>
          <pc:docMk/>
          <pc:sldMk cId="671489701" sldId="256"/>
        </pc:sldMkLst>
        <pc:spChg chg="mod">
          <ac:chgData name="Thomas Stensitzki" userId="75cafe6b-2f2a-469b-85c4-eec3b9c972ba" providerId="ADAL" clId="{07CCC4F7-7258-4B53-AE42-73541D3C572D}" dt="2024-04-13T10:40:17.801" v="32" actId="6549"/>
          <ac:spMkLst>
            <pc:docMk/>
            <pc:sldMk cId="671489701" sldId="256"/>
            <ac:spMk id="3" creationId="{CBA95633-B02D-4A15-A8B1-A38E0A70FD27}"/>
          </ac:spMkLst>
        </pc:spChg>
      </pc:sldChg>
      <pc:sldChg chg="modSp mod modTransition">
        <pc:chgData name="Thomas Stensitzki" userId="75cafe6b-2f2a-469b-85c4-eec3b9c972ba" providerId="ADAL" clId="{07CCC4F7-7258-4B53-AE42-73541D3C572D}" dt="2024-04-25T07:23:46.869" v="2447" actId="2165"/>
        <pc:sldMkLst>
          <pc:docMk/>
          <pc:sldMk cId="2855324227" sldId="257"/>
        </pc:sldMkLst>
        <pc:graphicFrameChg chg="modGraphic">
          <ac:chgData name="Thomas Stensitzki" userId="75cafe6b-2f2a-469b-85c4-eec3b9c972ba" providerId="ADAL" clId="{07CCC4F7-7258-4B53-AE42-73541D3C572D}" dt="2024-04-25T07:23:46.869" v="2447" actId="2165"/>
          <ac:graphicFrameMkLst>
            <pc:docMk/>
            <pc:sldMk cId="2855324227" sldId="257"/>
            <ac:graphicFrameMk id="6" creationId="{0F955DCC-462D-431D-BBDE-26F10687D590}"/>
          </ac:graphicFrameMkLst>
        </pc:graphicFrameChg>
      </pc:sldChg>
      <pc:sldChg chg="modSp mod modTransition">
        <pc:chgData name="Thomas Stensitzki" userId="75cafe6b-2f2a-469b-85c4-eec3b9c972ba" providerId="ADAL" clId="{07CCC4F7-7258-4B53-AE42-73541D3C572D}" dt="2024-04-25T07:12:49.206" v="1511"/>
        <pc:sldMkLst>
          <pc:docMk/>
          <pc:sldMk cId="3332792154" sldId="258"/>
        </pc:sldMkLst>
        <pc:spChg chg="mod">
          <ac:chgData name="Thomas Stensitzki" userId="75cafe6b-2f2a-469b-85c4-eec3b9c972ba" providerId="ADAL" clId="{07CCC4F7-7258-4B53-AE42-73541D3C572D}" dt="2024-04-13T10:43:00.089" v="162" actId="6549"/>
          <ac:spMkLst>
            <pc:docMk/>
            <pc:sldMk cId="3332792154" sldId="258"/>
            <ac:spMk id="3" creationId="{3A5A44EB-7FB9-473A-8ED3-C49DDD2E65AB}"/>
          </ac:spMkLst>
        </pc:spChg>
      </pc:sldChg>
      <pc:sldChg chg="modTransition">
        <pc:chgData name="Thomas Stensitzki" userId="75cafe6b-2f2a-469b-85c4-eec3b9c972ba" providerId="ADAL" clId="{07CCC4F7-7258-4B53-AE42-73541D3C572D}" dt="2024-04-25T07:12:49.206" v="1511"/>
        <pc:sldMkLst>
          <pc:docMk/>
          <pc:sldMk cId="1545829058" sldId="259"/>
        </pc:sldMkLst>
      </pc:sldChg>
      <pc:sldChg chg="addSp modSp mod modTransition setBg">
        <pc:chgData name="Thomas Stensitzki" userId="75cafe6b-2f2a-469b-85c4-eec3b9c972ba" providerId="ADAL" clId="{07CCC4F7-7258-4B53-AE42-73541D3C572D}" dt="2024-05-03T06:29:56.121" v="3396" actId="6549"/>
        <pc:sldMkLst>
          <pc:docMk/>
          <pc:sldMk cId="2698998357" sldId="260"/>
        </pc:sldMkLst>
        <pc:spChg chg="mod">
          <ac:chgData name="Thomas Stensitzki" userId="75cafe6b-2f2a-469b-85c4-eec3b9c972ba" providerId="ADAL" clId="{07CCC4F7-7258-4B53-AE42-73541D3C572D}" dt="2024-05-03T06:29:56.121" v="3396" actId="6549"/>
          <ac:spMkLst>
            <pc:docMk/>
            <pc:sldMk cId="2698998357" sldId="260"/>
            <ac:spMk id="4" creationId="{F3A15CBD-C746-44A3-A4F0-4898CE2F02E6}"/>
          </ac:spMkLst>
        </pc:spChg>
        <pc:spChg chg="mod">
          <ac:chgData name="Thomas Stensitzki" userId="75cafe6b-2f2a-469b-85c4-eec3b9c972ba" providerId="ADAL" clId="{07CCC4F7-7258-4B53-AE42-73541D3C572D}" dt="2024-04-13T10:44:46.146" v="170" actId="2711"/>
          <ac:spMkLst>
            <pc:docMk/>
            <pc:sldMk cId="2698998357" sldId="260"/>
            <ac:spMk id="5" creationId="{F3459BE7-1731-4733-A912-12977C68CFD6}"/>
          </ac:spMkLst>
        </pc:spChg>
        <pc:spChg chg="add mod">
          <ac:chgData name="Thomas Stensitzki" userId="75cafe6b-2f2a-469b-85c4-eec3b9c972ba" providerId="ADAL" clId="{07CCC4F7-7258-4B53-AE42-73541D3C572D}" dt="2024-04-13T10:47:42.824" v="243"/>
          <ac:spMkLst>
            <pc:docMk/>
            <pc:sldMk cId="2698998357" sldId="260"/>
            <ac:spMk id="6" creationId="{B4319870-BBF5-98CC-E89C-54B3AC5C5C75}"/>
          </ac:spMkLst>
        </pc:spChg>
        <pc:spChg chg="add">
          <ac:chgData name="Thomas Stensitzki" userId="75cafe6b-2f2a-469b-85c4-eec3b9c972ba" providerId="ADAL" clId="{07CCC4F7-7258-4B53-AE42-73541D3C572D}" dt="2024-04-13T10:44:31.212" v="168" actId="26606"/>
          <ac:spMkLst>
            <pc:docMk/>
            <pc:sldMk cId="2698998357" sldId="260"/>
            <ac:spMk id="10" creationId="{1DF91F20-B96F-4F77-AC3E-2CDD3BAA10C2}"/>
          </ac:spMkLst>
        </pc:spChg>
        <pc:spChg chg="add">
          <ac:chgData name="Thomas Stensitzki" userId="75cafe6b-2f2a-469b-85c4-eec3b9c972ba" providerId="ADAL" clId="{07CCC4F7-7258-4B53-AE42-73541D3C572D}" dt="2024-04-13T10:44:31.212" v="168" actId="26606"/>
          <ac:spMkLst>
            <pc:docMk/>
            <pc:sldMk cId="2698998357" sldId="260"/>
            <ac:spMk id="12" creationId="{C3D487F7-9050-4871-B351-34A72ADB296C}"/>
          </ac:spMkLst>
        </pc:spChg>
        <pc:spChg chg="add">
          <ac:chgData name="Thomas Stensitzki" userId="75cafe6b-2f2a-469b-85c4-eec3b9c972ba" providerId="ADAL" clId="{07CCC4F7-7258-4B53-AE42-73541D3C572D}" dt="2024-04-13T10:44:31.212" v="168" actId="26606"/>
          <ac:spMkLst>
            <pc:docMk/>
            <pc:sldMk cId="2698998357" sldId="260"/>
            <ac:spMk id="14" creationId="{F43C27DD-EF6A-4C48-9669-C2970E71A814}"/>
          </ac:spMkLst>
        </pc:spChg>
        <pc:spChg chg="add">
          <ac:chgData name="Thomas Stensitzki" userId="75cafe6b-2f2a-469b-85c4-eec3b9c972ba" providerId="ADAL" clId="{07CCC4F7-7258-4B53-AE42-73541D3C572D}" dt="2024-04-13T10:44:31.212" v="168" actId="26606"/>
          <ac:spMkLst>
            <pc:docMk/>
            <pc:sldMk cId="2698998357" sldId="260"/>
            <ac:spMk id="16" creationId="{C84384FE-1C88-4CAA-8FB8-2313A3AE734D}"/>
          </ac:spMkLst>
        </pc:spChg>
        <pc:spChg chg="add">
          <ac:chgData name="Thomas Stensitzki" userId="75cafe6b-2f2a-469b-85c4-eec3b9c972ba" providerId="ADAL" clId="{07CCC4F7-7258-4B53-AE42-73541D3C572D}" dt="2024-04-13T10:44:31.212" v="168" actId="26606"/>
          <ac:spMkLst>
            <pc:docMk/>
            <pc:sldMk cId="2698998357" sldId="260"/>
            <ac:spMk id="18" creationId="{87B6A113-58CD-406C-BCE4-6E1F1F2BE696}"/>
          </ac:spMkLst>
        </pc:spChg>
        <pc:spChg chg="add">
          <ac:chgData name="Thomas Stensitzki" userId="75cafe6b-2f2a-469b-85c4-eec3b9c972ba" providerId="ADAL" clId="{07CCC4F7-7258-4B53-AE42-73541D3C572D}" dt="2024-04-13T10:44:31.212" v="168" actId="26606"/>
          <ac:spMkLst>
            <pc:docMk/>
            <pc:sldMk cId="2698998357" sldId="260"/>
            <ac:spMk id="20" creationId="{05A1AA86-B7E6-4C02-AA34-F1A25CD4CCBD}"/>
          </ac:spMkLst>
        </pc:spChg>
        <pc:picChg chg="mod">
          <ac:chgData name="Thomas Stensitzki" userId="75cafe6b-2f2a-469b-85c4-eec3b9c972ba" providerId="ADAL" clId="{07CCC4F7-7258-4B53-AE42-73541D3C572D}" dt="2024-04-13T10:44:31.212" v="168" actId="26606"/>
          <ac:picMkLst>
            <pc:docMk/>
            <pc:sldMk cId="2698998357" sldId="260"/>
            <ac:picMk id="2" creationId="{2D4F20BA-957A-E4A8-5973-4395A784304B}"/>
          </ac:picMkLst>
        </pc:picChg>
        <pc:picChg chg="add mod">
          <ac:chgData name="Thomas Stensitzki" userId="75cafe6b-2f2a-469b-85c4-eec3b9c972ba" providerId="ADAL" clId="{07CCC4F7-7258-4B53-AE42-73541D3C572D}" dt="2024-04-13T10:45:41.459" v="182" actId="14100"/>
          <ac:picMkLst>
            <pc:docMk/>
            <pc:sldMk cId="2698998357" sldId="260"/>
            <ac:picMk id="3" creationId="{C238D38B-E0A5-0149-AE47-F37690A7AA6A}"/>
          </ac:picMkLst>
        </pc:picChg>
      </pc:sldChg>
      <pc:sldChg chg="mod modTransition modShow">
        <pc:chgData name="Thomas Stensitzki" userId="75cafe6b-2f2a-469b-85c4-eec3b9c972ba" providerId="ADAL" clId="{07CCC4F7-7258-4B53-AE42-73541D3C572D}" dt="2024-04-25T07:12:49.206" v="1511"/>
        <pc:sldMkLst>
          <pc:docMk/>
          <pc:sldMk cId="4007670073" sldId="268"/>
        </pc:sldMkLst>
      </pc:sldChg>
      <pc:sldChg chg="modSp mod modTransition">
        <pc:chgData name="Thomas Stensitzki" userId="75cafe6b-2f2a-469b-85c4-eec3b9c972ba" providerId="ADAL" clId="{07CCC4F7-7258-4B53-AE42-73541D3C572D}" dt="2024-05-04T10:56:50.431" v="3400" actId="20577"/>
        <pc:sldMkLst>
          <pc:docMk/>
          <pc:sldMk cId="2721051844" sldId="269"/>
        </pc:sldMkLst>
        <pc:spChg chg="mod">
          <ac:chgData name="Thomas Stensitzki" userId="75cafe6b-2f2a-469b-85c4-eec3b9c972ba" providerId="ADAL" clId="{07CCC4F7-7258-4B53-AE42-73541D3C572D}" dt="2024-05-04T10:56:50.431" v="3400" actId="20577"/>
          <ac:spMkLst>
            <pc:docMk/>
            <pc:sldMk cId="2721051844" sldId="269"/>
            <ac:spMk id="5" creationId="{C24DACB5-1BEC-4C86-9652-BAFD8DE56FEF}"/>
          </ac:spMkLst>
        </pc:spChg>
      </pc:sldChg>
      <pc:sldChg chg="addSp modSp mod ord modTransition setBg modShow">
        <pc:chgData name="Thomas Stensitzki" userId="75cafe6b-2f2a-469b-85c4-eec3b9c972ba" providerId="ADAL" clId="{07CCC4F7-7258-4B53-AE42-73541D3C572D}" dt="2024-04-25T07:12:49.206" v="1511"/>
        <pc:sldMkLst>
          <pc:docMk/>
          <pc:sldMk cId="1928334901" sldId="295"/>
        </pc:sldMkLst>
        <pc:spChg chg="add mod">
          <ac:chgData name="Thomas Stensitzki" userId="75cafe6b-2f2a-469b-85c4-eec3b9c972ba" providerId="ADAL" clId="{07CCC4F7-7258-4B53-AE42-73541D3C572D}" dt="2024-04-13T10:47:39.661" v="242"/>
          <ac:spMkLst>
            <pc:docMk/>
            <pc:sldMk cId="1928334901" sldId="295"/>
            <ac:spMk id="2" creationId="{427F8C4A-102A-0947-1433-DC8D572885AB}"/>
          </ac:spMkLst>
        </pc:spChg>
        <pc:spChg chg="mod">
          <ac:chgData name="Thomas Stensitzki" userId="75cafe6b-2f2a-469b-85c4-eec3b9c972ba" providerId="ADAL" clId="{07CCC4F7-7258-4B53-AE42-73541D3C572D}" dt="2024-04-13T10:43:51.616" v="167" actId="2711"/>
          <ac:spMkLst>
            <pc:docMk/>
            <pc:sldMk cId="1928334901" sldId="295"/>
            <ac:spMk id="4" creationId="{F3A15CBD-C746-44A3-A4F0-4898CE2F02E6}"/>
          </ac:spMkLst>
        </pc:spChg>
        <pc:spChg chg="mod">
          <ac:chgData name="Thomas Stensitzki" userId="75cafe6b-2f2a-469b-85c4-eec3b9c972ba" providerId="ADAL" clId="{07CCC4F7-7258-4B53-AE42-73541D3C572D}" dt="2024-04-13T10:43:30.019" v="165" actId="26606"/>
          <ac:spMkLst>
            <pc:docMk/>
            <pc:sldMk cId="1928334901" sldId="295"/>
            <ac:spMk id="5" creationId="{F3459BE7-1731-4733-A912-12977C68CFD6}"/>
          </ac:spMkLst>
        </pc:spChg>
        <pc:spChg chg="add">
          <ac:chgData name="Thomas Stensitzki" userId="75cafe6b-2f2a-469b-85c4-eec3b9c972ba" providerId="ADAL" clId="{07CCC4F7-7258-4B53-AE42-73541D3C572D}" dt="2024-04-13T10:43:30.019" v="165" actId="26606"/>
          <ac:spMkLst>
            <pc:docMk/>
            <pc:sldMk cId="1928334901" sldId="295"/>
            <ac:spMk id="10" creationId="{577D6B2E-37A3-429E-A37C-F30ED6487282}"/>
          </ac:spMkLst>
        </pc:spChg>
        <pc:spChg chg="add">
          <ac:chgData name="Thomas Stensitzki" userId="75cafe6b-2f2a-469b-85c4-eec3b9c972ba" providerId="ADAL" clId="{07CCC4F7-7258-4B53-AE42-73541D3C572D}" dt="2024-04-13T10:43:30.019" v="165" actId="26606"/>
          <ac:spMkLst>
            <pc:docMk/>
            <pc:sldMk cId="1928334901" sldId="295"/>
            <ac:spMk id="12" creationId="{5CEAD642-85CF-4750-8432-7C80C901F001}"/>
          </ac:spMkLst>
        </pc:spChg>
        <pc:spChg chg="add">
          <ac:chgData name="Thomas Stensitzki" userId="75cafe6b-2f2a-469b-85c4-eec3b9c972ba" providerId="ADAL" clId="{07CCC4F7-7258-4B53-AE42-73541D3C572D}" dt="2024-04-13T10:43:30.019" v="165" actId="26606"/>
          <ac:spMkLst>
            <pc:docMk/>
            <pc:sldMk cId="1928334901" sldId="295"/>
            <ac:spMk id="14" creationId="{FA33EEAE-15D5-4119-8C1E-89D943F911EF}"/>
          </ac:spMkLst>
        </pc:spChg>
        <pc:spChg chg="add">
          <ac:chgData name="Thomas Stensitzki" userId="75cafe6b-2f2a-469b-85c4-eec3b9c972ba" providerId="ADAL" clId="{07CCC4F7-7258-4B53-AE42-73541D3C572D}" dt="2024-04-13T10:43:30.019" v="165" actId="26606"/>
          <ac:spMkLst>
            <pc:docMk/>
            <pc:sldMk cId="1928334901" sldId="295"/>
            <ac:spMk id="16" creationId="{730D8B3B-9B80-4025-B934-26DC7D7CD231}"/>
          </ac:spMkLst>
        </pc:spChg>
        <pc:spChg chg="add">
          <ac:chgData name="Thomas Stensitzki" userId="75cafe6b-2f2a-469b-85c4-eec3b9c972ba" providerId="ADAL" clId="{07CCC4F7-7258-4B53-AE42-73541D3C572D}" dt="2024-04-13T10:43:30.019" v="165" actId="26606"/>
          <ac:spMkLst>
            <pc:docMk/>
            <pc:sldMk cId="1928334901" sldId="295"/>
            <ac:spMk id="18" creationId="{1064D5D5-227B-4F66-9AEA-46F570E793BD}"/>
          </ac:spMkLst>
        </pc:spChg>
        <pc:spChg chg="add">
          <ac:chgData name="Thomas Stensitzki" userId="75cafe6b-2f2a-469b-85c4-eec3b9c972ba" providerId="ADAL" clId="{07CCC4F7-7258-4B53-AE42-73541D3C572D}" dt="2024-04-13T10:43:30.019" v="165" actId="26606"/>
          <ac:spMkLst>
            <pc:docMk/>
            <pc:sldMk cId="1928334901" sldId="295"/>
            <ac:spMk id="20" creationId="{646B67A4-D328-4747-A82B-65E84FA46368}"/>
          </ac:spMkLst>
        </pc:spChg>
        <pc:spChg chg="add">
          <ac:chgData name="Thomas Stensitzki" userId="75cafe6b-2f2a-469b-85c4-eec3b9c972ba" providerId="ADAL" clId="{07CCC4F7-7258-4B53-AE42-73541D3C572D}" dt="2024-04-13T10:43:30.019" v="165" actId="26606"/>
          <ac:spMkLst>
            <pc:docMk/>
            <pc:sldMk cId="1928334901" sldId="295"/>
            <ac:spMk id="22" creationId="{B5A1B09C-1565-46F8-B70F-621C5EB48A09}"/>
          </ac:spMkLst>
        </pc:spChg>
        <pc:spChg chg="add">
          <ac:chgData name="Thomas Stensitzki" userId="75cafe6b-2f2a-469b-85c4-eec3b9c972ba" providerId="ADAL" clId="{07CCC4F7-7258-4B53-AE42-73541D3C572D}" dt="2024-04-13T10:43:30.019" v="165" actId="26606"/>
          <ac:spMkLst>
            <pc:docMk/>
            <pc:sldMk cId="1928334901" sldId="295"/>
            <ac:spMk id="24" creationId="{8C516CC8-80AC-446C-A56E-9F54B7210402}"/>
          </ac:spMkLst>
        </pc:spChg>
      </pc:sldChg>
      <pc:sldChg chg="modTransition">
        <pc:chgData name="Thomas Stensitzki" userId="75cafe6b-2f2a-469b-85c4-eec3b9c972ba" providerId="ADAL" clId="{07CCC4F7-7258-4B53-AE42-73541D3C572D}" dt="2024-04-25T07:12:49.206" v="1511"/>
        <pc:sldMkLst>
          <pc:docMk/>
          <pc:sldMk cId="2814967912" sldId="311"/>
        </pc:sldMkLst>
      </pc:sldChg>
      <pc:sldChg chg="modSp mod modTransition">
        <pc:chgData name="Thomas Stensitzki" userId="75cafe6b-2f2a-469b-85c4-eec3b9c972ba" providerId="ADAL" clId="{07CCC4F7-7258-4B53-AE42-73541D3C572D}" dt="2024-04-25T07:12:49.206" v="1511"/>
        <pc:sldMkLst>
          <pc:docMk/>
          <pc:sldMk cId="2227487991" sldId="378"/>
        </pc:sldMkLst>
        <pc:spChg chg="mod">
          <ac:chgData name="Thomas Stensitzki" userId="75cafe6b-2f2a-469b-85c4-eec3b9c972ba" providerId="ADAL" clId="{07CCC4F7-7258-4B53-AE42-73541D3C572D}" dt="2024-04-23T13:46:25.505" v="543"/>
          <ac:spMkLst>
            <pc:docMk/>
            <pc:sldMk cId="2227487991" sldId="378"/>
            <ac:spMk id="5" creationId="{C24DACB5-1BEC-4C86-9652-BAFD8DE56FEF}"/>
          </ac:spMkLst>
        </pc:spChg>
      </pc:sldChg>
      <pc:sldChg chg="del">
        <pc:chgData name="Thomas Stensitzki" userId="75cafe6b-2f2a-469b-85c4-eec3b9c972ba" providerId="ADAL" clId="{07CCC4F7-7258-4B53-AE42-73541D3C572D}" dt="2024-04-13T10:42:11.659" v="118" actId="18676"/>
        <pc:sldMkLst>
          <pc:docMk/>
          <pc:sldMk cId="2395924320" sldId="514"/>
        </pc:sldMkLst>
      </pc:sldChg>
      <pc:sldChg chg="modTransition">
        <pc:chgData name="Thomas Stensitzki" userId="75cafe6b-2f2a-469b-85c4-eec3b9c972ba" providerId="ADAL" clId="{07CCC4F7-7258-4B53-AE42-73541D3C572D}" dt="2024-04-25T07:12:49.206" v="1511"/>
        <pc:sldMkLst>
          <pc:docMk/>
          <pc:sldMk cId="2791634409" sldId="560"/>
        </pc:sldMkLst>
      </pc:sldChg>
      <pc:sldChg chg="mod modTransition modShow">
        <pc:chgData name="Thomas Stensitzki" userId="75cafe6b-2f2a-469b-85c4-eec3b9c972ba" providerId="ADAL" clId="{07CCC4F7-7258-4B53-AE42-73541D3C572D}" dt="2024-04-25T07:12:49.206" v="1511"/>
        <pc:sldMkLst>
          <pc:docMk/>
          <pc:sldMk cId="1962477249" sldId="659"/>
        </pc:sldMkLst>
      </pc:sldChg>
      <pc:sldChg chg="del modTransition">
        <pc:chgData name="Thomas Stensitzki" userId="75cafe6b-2f2a-469b-85c4-eec3b9c972ba" providerId="ADAL" clId="{07CCC4F7-7258-4B53-AE42-73541D3C572D}" dt="2024-05-03T06:20:53.439" v="3377" actId="47"/>
        <pc:sldMkLst>
          <pc:docMk/>
          <pc:sldMk cId="4212332529" sldId="661"/>
        </pc:sldMkLst>
      </pc:sldChg>
      <pc:sldChg chg="modTransition">
        <pc:chgData name="Thomas Stensitzki" userId="75cafe6b-2f2a-469b-85c4-eec3b9c972ba" providerId="ADAL" clId="{07CCC4F7-7258-4B53-AE42-73541D3C572D}" dt="2024-04-25T07:12:49.206" v="1511"/>
        <pc:sldMkLst>
          <pc:docMk/>
          <pc:sldMk cId="980172925" sldId="741"/>
        </pc:sldMkLst>
      </pc:sldChg>
      <pc:sldChg chg="modSp mod modTransition">
        <pc:chgData name="Thomas Stensitzki" userId="75cafe6b-2f2a-469b-85c4-eec3b9c972ba" providerId="ADAL" clId="{07CCC4F7-7258-4B53-AE42-73541D3C572D}" dt="2024-04-25T07:12:49.206" v="1511"/>
        <pc:sldMkLst>
          <pc:docMk/>
          <pc:sldMk cId="3637612548" sldId="766"/>
        </pc:sldMkLst>
        <pc:spChg chg="mod">
          <ac:chgData name="Thomas Stensitzki" userId="75cafe6b-2f2a-469b-85c4-eec3b9c972ba" providerId="ADAL" clId="{07CCC4F7-7258-4B53-AE42-73541D3C572D}" dt="2024-04-23T14:07:53.804" v="1138"/>
          <ac:spMkLst>
            <pc:docMk/>
            <pc:sldMk cId="3637612548" sldId="766"/>
            <ac:spMk id="5" creationId="{C24DACB5-1BEC-4C86-9652-BAFD8DE56FEF}"/>
          </ac:spMkLst>
        </pc:spChg>
      </pc:sldChg>
      <pc:sldChg chg="del modTransition">
        <pc:chgData name="Thomas Stensitzki" userId="75cafe6b-2f2a-469b-85c4-eec3b9c972ba" providerId="ADAL" clId="{07CCC4F7-7258-4B53-AE42-73541D3C572D}" dt="2024-05-03T06:20:53.439" v="3377" actId="47"/>
        <pc:sldMkLst>
          <pc:docMk/>
          <pc:sldMk cId="300984612" sldId="774"/>
        </pc:sldMkLst>
      </pc:sldChg>
      <pc:sldChg chg="modTransition">
        <pc:chgData name="Thomas Stensitzki" userId="75cafe6b-2f2a-469b-85c4-eec3b9c972ba" providerId="ADAL" clId="{07CCC4F7-7258-4B53-AE42-73541D3C572D}" dt="2024-04-25T07:12:49.206" v="1511"/>
        <pc:sldMkLst>
          <pc:docMk/>
          <pc:sldMk cId="3196266039" sldId="785"/>
        </pc:sldMkLst>
      </pc:sldChg>
      <pc:sldChg chg="del">
        <pc:chgData name="Thomas Stensitzki" userId="75cafe6b-2f2a-469b-85c4-eec3b9c972ba" providerId="ADAL" clId="{07CCC4F7-7258-4B53-AE42-73541D3C572D}" dt="2024-04-13T10:41:42.624" v="111" actId="47"/>
        <pc:sldMkLst>
          <pc:docMk/>
          <pc:sldMk cId="3349389137" sldId="786"/>
        </pc:sldMkLst>
      </pc:sldChg>
      <pc:sldChg chg="del">
        <pc:chgData name="Thomas Stensitzki" userId="75cafe6b-2f2a-469b-85c4-eec3b9c972ba" providerId="ADAL" clId="{07CCC4F7-7258-4B53-AE42-73541D3C572D}" dt="2024-04-13T10:41:42.624" v="111" actId="47"/>
        <pc:sldMkLst>
          <pc:docMk/>
          <pc:sldMk cId="3901722862" sldId="787"/>
        </pc:sldMkLst>
      </pc:sldChg>
      <pc:sldChg chg="del">
        <pc:chgData name="Thomas Stensitzki" userId="75cafe6b-2f2a-469b-85c4-eec3b9c972ba" providerId="ADAL" clId="{07CCC4F7-7258-4B53-AE42-73541D3C572D}" dt="2024-04-13T10:41:36.023" v="110" actId="47"/>
        <pc:sldMkLst>
          <pc:docMk/>
          <pc:sldMk cId="3204083669" sldId="788"/>
        </pc:sldMkLst>
      </pc:sldChg>
      <pc:sldChg chg="del">
        <pc:chgData name="Thomas Stensitzki" userId="75cafe6b-2f2a-469b-85c4-eec3b9c972ba" providerId="ADAL" clId="{07CCC4F7-7258-4B53-AE42-73541D3C572D}" dt="2024-04-13T10:41:36.023" v="110" actId="47"/>
        <pc:sldMkLst>
          <pc:docMk/>
          <pc:sldMk cId="1317890510" sldId="789"/>
        </pc:sldMkLst>
      </pc:sldChg>
      <pc:sldChg chg="del">
        <pc:chgData name="Thomas Stensitzki" userId="75cafe6b-2f2a-469b-85c4-eec3b9c972ba" providerId="ADAL" clId="{07CCC4F7-7258-4B53-AE42-73541D3C572D}" dt="2024-04-13T10:41:36.023" v="110" actId="47"/>
        <pc:sldMkLst>
          <pc:docMk/>
          <pc:sldMk cId="2940968406" sldId="790"/>
        </pc:sldMkLst>
      </pc:sldChg>
      <pc:sldChg chg="del">
        <pc:chgData name="Thomas Stensitzki" userId="75cafe6b-2f2a-469b-85c4-eec3b9c972ba" providerId="ADAL" clId="{07CCC4F7-7258-4B53-AE42-73541D3C572D}" dt="2024-04-13T10:41:42.624" v="111" actId="47"/>
        <pc:sldMkLst>
          <pc:docMk/>
          <pc:sldMk cId="546959564" sldId="791"/>
        </pc:sldMkLst>
      </pc:sldChg>
      <pc:sldChg chg="del">
        <pc:chgData name="Thomas Stensitzki" userId="75cafe6b-2f2a-469b-85c4-eec3b9c972ba" providerId="ADAL" clId="{07CCC4F7-7258-4B53-AE42-73541D3C572D}" dt="2024-04-13T10:41:36.023" v="110" actId="47"/>
        <pc:sldMkLst>
          <pc:docMk/>
          <pc:sldMk cId="193933266" sldId="792"/>
        </pc:sldMkLst>
      </pc:sldChg>
      <pc:sldChg chg="del">
        <pc:chgData name="Thomas Stensitzki" userId="75cafe6b-2f2a-469b-85c4-eec3b9c972ba" providerId="ADAL" clId="{07CCC4F7-7258-4B53-AE42-73541D3C572D}" dt="2024-04-13T10:41:36.023" v="110" actId="47"/>
        <pc:sldMkLst>
          <pc:docMk/>
          <pc:sldMk cId="3166382124" sldId="793"/>
        </pc:sldMkLst>
      </pc:sldChg>
      <pc:sldChg chg="del">
        <pc:chgData name="Thomas Stensitzki" userId="75cafe6b-2f2a-469b-85c4-eec3b9c972ba" providerId="ADAL" clId="{07CCC4F7-7258-4B53-AE42-73541D3C572D}" dt="2024-04-13T10:41:42.624" v="111" actId="47"/>
        <pc:sldMkLst>
          <pc:docMk/>
          <pc:sldMk cId="1298245871" sldId="794"/>
        </pc:sldMkLst>
      </pc:sldChg>
      <pc:sldChg chg="del">
        <pc:chgData name="Thomas Stensitzki" userId="75cafe6b-2f2a-469b-85c4-eec3b9c972ba" providerId="ADAL" clId="{07CCC4F7-7258-4B53-AE42-73541D3C572D}" dt="2024-04-13T10:41:36.023" v="110" actId="47"/>
        <pc:sldMkLst>
          <pc:docMk/>
          <pc:sldMk cId="4022423974" sldId="795"/>
        </pc:sldMkLst>
      </pc:sldChg>
      <pc:sldChg chg="del">
        <pc:chgData name="Thomas Stensitzki" userId="75cafe6b-2f2a-469b-85c4-eec3b9c972ba" providerId="ADAL" clId="{07CCC4F7-7258-4B53-AE42-73541D3C572D}" dt="2024-04-13T10:41:36.023" v="110" actId="47"/>
        <pc:sldMkLst>
          <pc:docMk/>
          <pc:sldMk cId="29584537" sldId="796"/>
        </pc:sldMkLst>
      </pc:sldChg>
      <pc:sldChg chg="del">
        <pc:chgData name="Thomas Stensitzki" userId="75cafe6b-2f2a-469b-85c4-eec3b9c972ba" providerId="ADAL" clId="{07CCC4F7-7258-4B53-AE42-73541D3C572D}" dt="2024-04-13T10:41:42.624" v="111" actId="47"/>
        <pc:sldMkLst>
          <pc:docMk/>
          <pc:sldMk cId="2878585668" sldId="797"/>
        </pc:sldMkLst>
      </pc:sldChg>
      <pc:sldChg chg="del">
        <pc:chgData name="Thomas Stensitzki" userId="75cafe6b-2f2a-469b-85c4-eec3b9c972ba" providerId="ADAL" clId="{07CCC4F7-7258-4B53-AE42-73541D3C572D}" dt="2024-04-13T10:41:42.624" v="111" actId="47"/>
        <pc:sldMkLst>
          <pc:docMk/>
          <pc:sldMk cId="1816593351" sldId="798"/>
        </pc:sldMkLst>
      </pc:sldChg>
      <pc:sldChg chg="del">
        <pc:chgData name="Thomas Stensitzki" userId="75cafe6b-2f2a-469b-85c4-eec3b9c972ba" providerId="ADAL" clId="{07CCC4F7-7258-4B53-AE42-73541D3C572D}" dt="2024-04-13T10:41:27.240" v="109" actId="47"/>
        <pc:sldMkLst>
          <pc:docMk/>
          <pc:sldMk cId="637214480" sldId="799"/>
        </pc:sldMkLst>
      </pc:sldChg>
      <pc:sldChg chg="modSp del mod">
        <pc:chgData name="Thomas Stensitzki" userId="75cafe6b-2f2a-469b-85c4-eec3b9c972ba" providerId="ADAL" clId="{07CCC4F7-7258-4B53-AE42-73541D3C572D}" dt="2024-04-13T10:46:09.257" v="192" actId="47"/>
        <pc:sldMkLst>
          <pc:docMk/>
          <pc:sldMk cId="2236025408" sldId="800"/>
        </pc:sldMkLst>
        <pc:spChg chg="mod">
          <ac:chgData name="Thomas Stensitzki" userId="75cafe6b-2f2a-469b-85c4-eec3b9c972ba" providerId="ADAL" clId="{07CCC4F7-7258-4B53-AE42-73541D3C572D}" dt="2024-04-13T10:41:49.835" v="114" actId="20577"/>
          <ac:spMkLst>
            <pc:docMk/>
            <pc:sldMk cId="2236025408" sldId="800"/>
            <ac:spMk id="4" creationId="{F3A15CBD-C746-44A3-A4F0-4898CE2F02E6}"/>
          </ac:spMkLst>
        </pc:spChg>
        <pc:spChg chg="mod">
          <ac:chgData name="Thomas Stensitzki" userId="75cafe6b-2f2a-469b-85c4-eec3b9c972ba" providerId="ADAL" clId="{07CCC4F7-7258-4B53-AE42-73541D3C572D}" dt="2024-04-13T10:41:53.712" v="117" actId="20577"/>
          <ac:spMkLst>
            <pc:docMk/>
            <pc:sldMk cId="2236025408" sldId="800"/>
            <ac:spMk id="5" creationId="{F3459BE7-1731-4733-A912-12977C68CFD6}"/>
          </ac:spMkLst>
        </pc:spChg>
      </pc:sldChg>
      <pc:sldChg chg="del">
        <pc:chgData name="Thomas Stensitzki" userId="75cafe6b-2f2a-469b-85c4-eec3b9c972ba" providerId="ADAL" clId="{07CCC4F7-7258-4B53-AE42-73541D3C572D}" dt="2024-04-13T10:41:36.023" v="110" actId="47"/>
        <pc:sldMkLst>
          <pc:docMk/>
          <pc:sldMk cId="1384083710" sldId="801"/>
        </pc:sldMkLst>
      </pc:sldChg>
      <pc:sldChg chg="addSp modSp add del mod ord modTransition modShow">
        <pc:chgData name="Thomas Stensitzki" userId="75cafe6b-2f2a-469b-85c4-eec3b9c972ba" providerId="ADAL" clId="{07CCC4F7-7258-4B53-AE42-73541D3C572D}" dt="2024-05-03T06:20:53.439" v="3377" actId="47"/>
        <pc:sldMkLst>
          <pc:docMk/>
          <pc:sldMk cId="3192556974" sldId="801"/>
        </pc:sldMkLst>
        <pc:spChg chg="mod">
          <ac:chgData name="Thomas Stensitzki" userId="75cafe6b-2f2a-469b-85c4-eec3b9c972ba" providerId="ADAL" clId="{07CCC4F7-7258-4B53-AE42-73541D3C572D}" dt="2024-04-13T10:46:04.326" v="188" actId="20577"/>
          <ac:spMkLst>
            <pc:docMk/>
            <pc:sldMk cId="3192556974" sldId="801"/>
            <ac:spMk id="4" creationId="{F3A15CBD-C746-44A3-A4F0-4898CE2F02E6}"/>
          </ac:spMkLst>
        </pc:spChg>
        <pc:spChg chg="mod">
          <ac:chgData name="Thomas Stensitzki" userId="75cafe6b-2f2a-469b-85c4-eec3b9c972ba" providerId="ADAL" clId="{07CCC4F7-7258-4B53-AE42-73541D3C572D}" dt="2024-04-13T10:46:07.218" v="191" actId="20577"/>
          <ac:spMkLst>
            <pc:docMk/>
            <pc:sldMk cId="3192556974" sldId="801"/>
            <ac:spMk id="5" creationId="{F3459BE7-1731-4733-A912-12977C68CFD6}"/>
          </ac:spMkLst>
        </pc:spChg>
        <pc:spChg chg="add mod">
          <ac:chgData name="Thomas Stensitzki" userId="75cafe6b-2f2a-469b-85c4-eec3b9c972ba" providerId="ADAL" clId="{07CCC4F7-7258-4B53-AE42-73541D3C572D}" dt="2024-04-13T10:47:37.037" v="241"/>
          <ac:spMkLst>
            <pc:docMk/>
            <pc:sldMk cId="3192556974" sldId="801"/>
            <ac:spMk id="6" creationId="{384F6988-11E3-E412-6F17-A8E1698C816B}"/>
          </ac:spMkLst>
        </pc:spChg>
      </pc:sldChg>
      <pc:sldChg chg="addSp modSp add mod ord modTransition">
        <pc:chgData name="Thomas Stensitzki" userId="75cafe6b-2f2a-469b-85c4-eec3b9c972ba" providerId="ADAL" clId="{07CCC4F7-7258-4B53-AE42-73541D3C572D}" dt="2024-04-25T07:12:49.206" v="1511"/>
        <pc:sldMkLst>
          <pc:docMk/>
          <pc:sldMk cId="894278463" sldId="802"/>
        </pc:sldMkLst>
        <pc:spChg chg="mod">
          <ac:chgData name="Thomas Stensitzki" userId="75cafe6b-2f2a-469b-85c4-eec3b9c972ba" providerId="ADAL" clId="{07CCC4F7-7258-4B53-AE42-73541D3C572D}" dt="2024-04-13T10:46:37.424" v="197" actId="14100"/>
          <ac:spMkLst>
            <pc:docMk/>
            <pc:sldMk cId="894278463" sldId="802"/>
            <ac:spMk id="4" creationId="{F3A15CBD-C746-44A3-A4F0-4898CE2F02E6}"/>
          </ac:spMkLst>
        </pc:spChg>
        <pc:spChg chg="mod">
          <ac:chgData name="Thomas Stensitzki" userId="75cafe6b-2f2a-469b-85c4-eec3b9c972ba" providerId="ADAL" clId="{07CCC4F7-7258-4B53-AE42-73541D3C572D}" dt="2024-04-13T10:46:52.845" v="228" actId="20577"/>
          <ac:spMkLst>
            <pc:docMk/>
            <pc:sldMk cId="894278463" sldId="802"/>
            <ac:spMk id="5" creationId="{F3459BE7-1731-4733-A912-12977C68CFD6}"/>
          </ac:spMkLst>
        </pc:spChg>
        <pc:spChg chg="add mod">
          <ac:chgData name="Thomas Stensitzki" userId="75cafe6b-2f2a-469b-85c4-eec3b9c972ba" providerId="ADAL" clId="{07CCC4F7-7258-4B53-AE42-73541D3C572D}" dt="2024-04-13T10:47:08.503" v="239" actId="1038"/>
          <ac:spMkLst>
            <pc:docMk/>
            <pc:sldMk cId="894278463" sldId="802"/>
            <ac:spMk id="6" creationId="{600961AA-14F1-DE21-25E2-ADA3197DB246}"/>
          </ac:spMkLst>
        </pc:spChg>
        <pc:spChg chg="add mod">
          <ac:chgData name="Thomas Stensitzki" userId="75cafe6b-2f2a-469b-85c4-eec3b9c972ba" providerId="ADAL" clId="{07CCC4F7-7258-4B53-AE42-73541D3C572D}" dt="2024-04-13T10:47:34.397" v="240"/>
          <ac:spMkLst>
            <pc:docMk/>
            <pc:sldMk cId="894278463" sldId="802"/>
            <ac:spMk id="7" creationId="{8DF7C088-00D2-48E3-52D4-5E1AA09C31AC}"/>
          </ac:spMkLst>
        </pc:spChg>
      </pc:sldChg>
      <pc:sldChg chg="del">
        <pc:chgData name="Thomas Stensitzki" userId="75cafe6b-2f2a-469b-85c4-eec3b9c972ba" providerId="ADAL" clId="{07CCC4F7-7258-4B53-AE42-73541D3C572D}" dt="2024-04-13T10:41:36.023" v="110" actId="47"/>
        <pc:sldMkLst>
          <pc:docMk/>
          <pc:sldMk cId="3277662355" sldId="802"/>
        </pc:sldMkLst>
      </pc:sldChg>
      <pc:sldChg chg="del">
        <pc:chgData name="Thomas Stensitzki" userId="75cafe6b-2f2a-469b-85c4-eec3b9c972ba" providerId="ADAL" clId="{07CCC4F7-7258-4B53-AE42-73541D3C572D}" dt="2024-04-13T10:41:36.023" v="110" actId="47"/>
        <pc:sldMkLst>
          <pc:docMk/>
          <pc:sldMk cId="1639868060" sldId="803"/>
        </pc:sldMkLst>
      </pc:sldChg>
      <pc:sldChg chg="modSp add mod ord modTransition">
        <pc:chgData name="Thomas Stensitzki" userId="75cafe6b-2f2a-469b-85c4-eec3b9c972ba" providerId="ADAL" clId="{07CCC4F7-7258-4B53-AE42-73541D3C572D}" dt="2024-04-25T07:12:49.206" v="1511"/>
        <pc:sldMkLst>
          <pc:docMk/>
          <pc:sldMk cId="3568981752" sldId="803"/>
        </pc:sldMkLst>
        <pc:spChg chg="mod">
          <ac:chgData name="Thomas Stensitzki" userId="75cafe6b-2f2a-469b-85c4-eec3b9c972ba" providerId="ADAL" clId="{07CCC4F7-7258-4B53-AE42-73541D3C572D}" dt="2024-04-13T10:48:18.223" v="259" actId="20577"/>
          <ac:spMkLst>
            <pc:docMk/>
            <pc:sldMk cId="3568981752" sldId="803"/>
            <ac:spMk id="4" creationId="{F3A15CBD-C746-44A3-A4F0-4898CE2F02E6}"/>
          </ac:spMkLst>
        </pc:spChg>
      </pc:sldChg>
      <pc:sldChg chg="del">
        <pc:chgData name="Thomas Stensitzki" userId="75cafe6b-2f2a-469b-85c4-eec3b9c972ba" providerId="ADAL" clId="{07CCC4F7-7258-4B53-AE42-73541D3C572D}" dt="2024-04-13T10:41:36.023" v="110" actId="47"/>
        <pc:sldMkLst>
          <pc:docMk/>
          <pc:sldMk cId="837969311" sldId="804"/>
        </pc:sldMkLst>
      </pc:sldChg>
      <pc:sldChg chg="addSp delSp modSp new mod modTransition modClrScheme chgLayout">
        <pc:chgData name="Thomas Stensitzki" userId="75cafe6b-2f2a-469b-85c4-eec3b9c972ba" providerId="ADAL" clId="{07CCC4F7-7258-4B53-AE42-73541D3C572D}" dt="2024-04-25T07:12:49.206" v="1511"/>
        <pc:sldMkLst>
          <pc:docMk/>
          <pc:sldMk cId="2524595556" sldId="804"/>
        </pc:sldMkLst>
        <pc:spChg chg="mod ord">
          <ac:chgData name="Thomas Stensitzki" userId="75cafe6b-2f2a-469b-85c4-eec3b9c972ba" providerId="ADAL" clId="{07CCC4F7-7258-4B53-AE42-73541D3C572D}" dt="2024-04-23T13:25:27.723" v="328" actId="700"/>
          <ac:spMkLst>
            <pc:docMk/>
            <pc:sldMk cId="2524595556" sldId="804"/>
            <ac:spMk id="2" creationId="{13478771-6B09-7F0E-7594-388DF536E995}"/>
          </ac:spMkLst>
        </pc:spChg>
        <pc:spChg chg="del">
          <ac:chgData name="Thomas Stensitzki" userId="75cafe6b-2f2a-469b-85c4-eec3b9c972ba" providerId="ADAL" clId="{07CCC4F7-7258-4B53-AE42-73541D3C572D}" dt="2024-04-23T13:23:56.318" v="319" actId="478"/>
          <ac:spMkLst>
            <pc:docMk/>
            <pc:sldMk cId="2524595556" sldId="804"/>
            <ac:spMk id="3" creationId="{6C686B9D-DFFB-F934-8444-37015D1358D4}"/>
          </ac:spMkLst>
        </pc:spChg>
        <pc:spChg chg="add del">
          <ac:chgData name="Thomas Stensitzki" userId="75cafe6b-2f2a-469b-85c4-eec3b9c972ba" providerId="ADAL" clId="{07CCC4F7-7258-4B53-AE42-73541D3C572D}" dt="2024-04-23T13:24:03.751" v="322" actId="22"/>
          <ac:spMkLst>
            <pc:docMk/>
            <pc:sldMk cId="2524595556" sldId="804"/>
            <ac:spMk id="5" creationId="{F6129D62-5632-1F44-01AC-D4D1E95F5BCA}"/>
          </ac:spMkLst>
        </pc:spChg>
        <pc:spChg chg="add mod ord">
          <ac:chgData name="Thomas Stensitzki" userId="75cafe6b-2f2a-469b-85c4-eec3b9c972ba" providerId="ADAL" clId="{07CCC4F7-7258-4B53-AE42-73541D3C572D}" dt="2024-04-23T13:29:24.375" v="492" actId="20577"/>
          <ac:spMkLst>
            <pc:docMk/>
            <pc:sldMk cId="2524595556" sldId="804"/>
            <ac:spMk id="7" creationId="{BB1E2ADF-0647-665C-94CC-741DF1DBBC70}"/>
          </ac:spMkLst>
        </pc:spChg>
        <pc:picChg chg="add mod">
          <ac:chgData name="Thomas Stensitzki" userId="75cafe6b-2f2a-469b-85c4-eec3b9c972ba" providerId="ADAL" clId="{07CCC4F7-7258-4B53-AE42-73541D3C572D}" dt="2024-04-23T13:24:51.773" v="327" actId="1440"/>
          <ac:picMkLst>
            <pc:docMk/>
            <pc:sldMk cId="2524595556" sldId="804"/>
            <ac:picMk id="6" creationId="{257DED24-A600-D4C6-88C0-3E90854F2D77}"/>
          </ac:picMkLst>
        </pc:picChg>
      </pc:sldChg>
      <pc:sldChg chg="modSp add mod modTransition">
        <pc:chgData name="Thomas Stensitzki" userId="75cafe6b-2f2a-469b-85c4-eec3b9c972ba" providerId="ADAL" clId="{07CCC4F7-7258-4B53-AE42-73541D3C572D}" dt="2024-04-25T07:12:49.206" v="1511"/>
        <pc:sldMkLst>
          <pc:docMk/>
          <pc:sldMk cId="2467610224" sldId="805"/>
        </pc:sldMkLst>
        <pc:picChg chg="mod">
          <ac:chgData name="Thomas Stensitzki" userId="75cafe6b-2f2a-469b-85c4-eec3b9c972ba" providerId="ADAL" clId="{07CCC4F7-7258-4B53-AE42-73541D3C572D}" dt="2024-04-23T13:24:49.607" v="326" actId="1440"/>
          <ac:picMkLst>
            <pc:docMk/>
            <pc:sldMk cId="2467610224" sldId="805"/>
            <ac:picMk id="6" creationId="{257DED24-A600-D4C6-88C0-3E90854F2D77}"/>
          </ac:picMkLst>
        </pc:picChg>
      </pc:sldChg>
      <pc:sldChg chg="del">
        <pc:chgData name="Thomas Stensitzki" userId="75cafe6b-2f2a-469b-85c4-eec3b9c972ba" providerId="ADAL" clId="{07CCC4F7-7258-4B53-AE42-73541D3C572D}" dt="2024-04-13T10:41:42.624" v="111" actId="47"/>
        <pc:sldMkLst>
          <pc:docMk/>
          <pc:sldMk cId="3723091307" sldId="805"/>
        </pc:sldMkLst>
      </pc:sldChg>
      <pc:sldChg chg="del">
        <pc:chgData name="Thomas Stensitzki" userId="75cafe6b-2f2a-469b-85c4-eec3b9c972ba" providerId="ADAL" clId="{07CCC4F7-7258-4B53-AE42-73541D3C572D}" dt="2024-04-13T10:41:42.624" v="111" actId="47"/>
        <pc:sldMkLst>
          <pc:docMk/>
          <pc:sldMk cId="2299597820" sldId="806"/>
        </pc:sldMkLst>
      </pc:sldChg>
      <pc:sldChg chg="addSp delSp modSp new mod modTransition modClrScheme chgLayout">
        <pc:chgData name="Thomas Stensitzki" userId="75cafe6b-2f2a-469b-85c4-eec3b9c972ba" providerId="ADAL" clId="{07CCC4F7-7258-4B53-AE42-73541D3C572D}" dt="2024-04-25T07:27:59.356" v="2944" actId="20577"/>
        <pc:sldMkLst>
          <pc:docMk/>
          <pc:sldMk cId="3183214917" sldId="806"/>
        </pc:sldMkLst>
        <pc:spChg chg="del mod ord">
          <ac:chgData name="Thomas Stensitzki" userId="75cafe6b-2f2a-469b-85c4-eec3b9c972ba" providerId="ADAL" clId="{07CCC4F7-7258-4B53-AE42-73541D3C572D}" dt="2024-04-23T13:27:10.959" v="439" actId="700"/>
          <ac:spMkLst>
            <pc:docMk/>
            <pc:sldMk cId="3183214917" sldId="806"/>
            <ac:spMk id="2" creationId="{18E2FE33-892C-E8BD-9384-5CAA140CC49E}"/>
          </ac:spMkLst>
        </pc:spChg>
        <pc:spChg chg="add mod ord">
          <ac:chgData name="Thomas Stensitzki" userId="75cafe6b-2f2a-469b-85c4-eec3b9c972ba" providerId="ADAL" clId="{07CCC4F7-7258-4B53-AE42-73541D3C572D}" dt="2024-04-23T13:27:47.869" v="467" actId="20577"/>
          <ac:spMkLst>
            <pc:docMk/>
            <pc:sldMk cId="3183214917" sldId="806"/>
            <ac:spMk id="3" creationId="{390A9FDD-F70F-8A44-00AE-7C71206B5C85}"/>
          </ac:spMkLst>
        </pc:spChg>
        <pc:spChg chg="add mod ord">
          <ac:chgData name="Thomas Stensitzki" userId="75cafe6b-2f2a-469b-85c4-eec3b9c972ba" providerId="ADAL" clId="{07CCC4F7-7258-4B53-AE42-73541D3C572D}" dt="2024-04-25T07:27:59.356" v="2944" actId="20577"/>
          <ac:spMkLst>
            <pc:docMk/>
            <pc:sldMk cId="3183214917" sldId="806"/>
            <ac:spMk id="4" creationId="{A01B4CCC-7DDF-CA8C-2C47-D7FEF23F5A4E}"/>
          </ac:spMkLst>
        </pc:spChg>
        <pc:spChg chg="add mod">
          <ac:chgData name="Thomas Stensitzki" userId="75cafe6b-2f2a-469b-85c4-eec3b9c972ba" providerId="ADAL" clId="{07CCC4F7-7258-4B53-AE42-73541D3C572D}" dt="2024-04-23T14:29:25.907" v="1452" actId="790"/>
          <ac:spMkLst>
            <pc:docMk/>
            <pc:sldMk cId="3183214917" sldId="806"/>
            <ac:spMk id="5" creationId="{2B0E1930-84D6-E6F7-BDAA-78E581BAF312}"/>
          </ac:spMkLst>
        </pc:spChg>
      </pc:sldChg>
      <pc:sldChg chg="modSp new mod modTransition">
        <pc:chgData name="Thomas Stensitzki" userId="75cafe6b-2f2a-469b-85c4-eec3b9c972ba" providerId="ADAL" clId="{07CCC4F7-7258-4B53-AE42-73541D3C572D}" dt="2024-04-25T07:16:56.876" v="1909" actId="20577"/>
        <pc:sldMkLst>
          <pc:docMk/>
          <pc:sldMk cId="2015235239" sldId="807"/>
        </pc:sldMkLst>
        <pc:spChg chg="mod">
          <ac:chgData name="Thomas Stensitzki" userId="75cafe6b-2f2a-469b-85c4-eec3b9c972ba" providerId="ADAL" clId="{07CCC4F7-7258-4B53-AE42-73541D3C572D}" dt="2024-04-23T13:30:08.293" v="498"/>
          <ac:spMkLst>
            <pc:docMk/>
            <pc:sldMk cId="2015235239" sldId="807"/>
            <ac:spMk id="2" creationId="{CB0E1287-4214-3C20-F539-22E7A47A61DD}"/>
          </ac:spMkLst>
        </pc:spChg>
        <pc:spChg chg="mod">
          <ac:chgData name="Thomas Stensitzki" userId="75cafe6b-2f2a-469b-85c4-eec3b9c972ba" providerId="ADAL" clId="{07CCC4F7-7258-4B53-AE42-73541D3C572D}" dt="2024-04-25T07:16:56.876" v="1909" actId="20577"/>
          <ac:spMkLst>
            <pc:docMk/>
            <pc:sldMk cId="2015235239" sldId="807"/>
            <ac:spMk id="3" creationId="{38DA84FD-5E8C-5F4D-D385-FE9D2942E0B2}"/>
          </ac:spMkLst>
        </pc:spChg>
      </pc:sldChg>
      <pc:sldChg chg="del">
        <pc:chgData name="Thomas Stensitzki" userId="75cafe6b-2f2a-469b-85c4-eec3b9c972ba" providerId="ADAL" clId="{07CCC4F7-7258-4B53-AE42-73541D3C572D}" dt="2024-04-13T10:41:42.624" v="111" actId="47"/>
        <pc:sldMkLst>
          <pc:docMk/>
          <pc:sldMk cId="2929813273" sldId="807"/>
        </pc:sldMkLst>
      </pc:sldChg>
      <pc:sldChg chg="del">
        <pc:chgData name="Thomas Stensitzki" userId="75cafe6b-2f2a-469b-85c4-eec3b9c972ba" providerId="ADAL" clId="{07CCC4F7-7258-4B53-AE42-73541D3C572D}" dt="2024-04-13T10:41:42.624" v="111" actId="47"/>
        <pc:sldMkLst>
          <pc:docMk/>
          <pc:sldMk cId="1048868386" sldId="808"/>
        </pc:sldMkLst>
      </pc:sldChg>
      <pc:sldChg chg="addSp delSp modSp new mod modTransition modNotesTx">
        <pc:chgData name="Thomas Stensitzki" userId="75cafe6b-2f2a-469b-85c4-eec3b9c972ba" providerId="ADAL" clId="{07CCC4F7-7258-4B53-AE42-73541D3C572D}" dt="2024-04-25T07:12:49.206" v="1511"/>
        <pc:sldMkLst>
          <pc:docMk/>
          <pc:sldMk cId="1336987650" sldId="808"/>
        </pc:sldMkLst>
        <pc:spChg chg="mod">
          <ac:chgData name="Thomas Stensitzki" userId="75cafe6b-2f2a-469b-85c4-eec3b9c972ba" providerId="ADAL" clId="{07CCC4F7-7258-4B53-AE42-73541D3C572D}" dt="2024-04-23T13:40:10.322" v="503"/>
          <ac:spMkLst>
            <pc:docMk/>
            <pc:sldMk cId="1336987650" sldId="808"/>
            <ac:spMk id="2" creationId="{FC4AD31B-A676-6717-D5EF-96BC2AC68770}"/>
          </ac:spMkLst>
        </pc:spChg>
        <pc:spChg chg="del">
          <ac:chgData name="Thomas Stensitzki" userId="75cafe6b-2f2a-469b-85c4-eec3b9c972ba" providerId="ADAL" clId="{07CCC4F7-7258-4B53-AE42-73541D3C572D}" dt="2024-04-23T13:40:35.427" v="505" actId="478"/>
          <ac:spMkLst>
            <pc:docMk/>
            <pc:sldMk cId="1336987650" sldId="808"/>
            <ac:spMk id="3" creationId="{25C0D802-01C5-305E-2538-4FEA7DDFD9E4}"/>
          </ac:spMkLst>
        </pc:spChg>
        <pc:spChg chg="add mod">
          <ac:chgData name="Thomas Stensitzki" userId="75cafe6b-2f2a-469b-85c4-eec3b9c972ba" providerId="ADAL" clId="{07CCC4F7-7258-4B53-AE42-73541D3C572D}" dt="2024-04-23T13:42:04.573" v="521" actId="1582"/>
          <ac:spMkLst>
            <pc:docMk/>
            <pc:sldMk cId="1336987650" sldId="808"/>
            <ac:spMk id="5" creationId="{68CD22DD-49EE-0A81-5FCE-C5563EDD6B69}"/>
          </ac:spMkLst>
        </pc:spChg>
        <pc:picChg chg="add mod modCrop">
          <ac:chgData name="Thomas Stensitzki" userId="75cafe6b-2f2a-469b-85c4-eec3b9c972ba" providerId="ADAL" clId="{07CCC4F7-7258-4B53-AE42-73541D3C572D}" dt="2024-04-23T13:41:33.844" v="518" actId="1076"/>
          <ac:picMkLst>
            <pc:docMk/>
            <pc:sldMk cId="1336987650" sldId="808"/>
            <ac:picMk id="4" creationId="{6029647E-25C6-6E20-7B96-6669B42FD67F}"/>
          </ac:picMkLst>
        </pc:picChg>
      </pc:sldChg>
      <pc:sldChg chg="del">
        <pc:chgData name="Thomas Stensitzki" userId="75cafe6b-2f2a-469b-85c4-eec3b9c972ba" providerId="ADAL" clId="{07CCC4F7-7258-4B53-AE42-73541D3C572D}" dt="2024-04-13T10:41:42.624" v="111" actId="47"/>
        <pc:sldMkLst>
          <pc:docMk/>
          <pc:sldMk cId="2277331612" sldId="809"/>
        </pc:sldMkLst>
      </pc:sldChg>
      <pc:sldChg chg="modSp new mod modTransition modShow modNotesTx">
        <pc:chgData name="Thomas Stensitzki" userId="75cafe6b-2f2a-469b-85c4-eec3b9c972ba" providerId="ADAL" clId="{07CCC4F7-7258-4B53-AE42-73541D3C572D}" dt="2024-04-25T07:12:49.206" v="1511"/>
        <pc:sldMkLst>
          <pc:docMk/>
          <pc:sldMk cId="3210161048" sldId="809"/>
        </pc:sldMkLst>
        <pc:spChg chg="mod">
          <ac:chgData name="Thomas Stensitzki" userId="75cafe6b-2f2a-469b-85c4-eec3b9c972ba" providerId="ADAL" clId="{07CCC4F7-7258-4B53-AE42-73541D3C572D}" dt="2024-04-23T13:43:07.738" v="523"/>
          <ac:spMkLst>
            <pc:docMk/>
            <pc:sldMk cId="3210161048" sldId="809"/>
            <ac:spMk id="2" creationId="{3D61F653-FA7E-3277-A46B-7C988F0922B0}"/>
          </ac:spMkLst>
        </pc:spChg>
      </pc:sldChg>
      <pc:sldChg chg="addSp delSp modSp new mod modTransition modClrScheme chgLayout modNotesTx">
        <pc:chgData name="Thomas Stensitzki" userId="75cafe6b-2f2a-469b-85c4-eec3b9c972ba" providerId="ADAL" clId="{07CCC4F7-7258-4B53-AE42-73541D3C572D}" dt="2024-04-25T07:12:49.206" v="1511"/>
        <pc:sldMkLst>
          <pc:docMk/>
          <pc:sldMk cId="164179660" sldId="810"/>
        </pc:sldMkLst>
        <pc:spChg chg="mod ord">
          <ac:chgData name="Thomas Stensitzki" userId="75cafe6b-2f2a-469b-85c4-eec3b9c972ba" providerId="ADAL" clId="{07CCC4F7-7258-4B53-AE42-73541D3C572D}" dt="2024-04-23T13:44:54.331" v="533" actId="700"/>
          <ac:spMkLst>
            <pc:docMk/>
            <pc:sldMk cId="164179660" sldId="810"/>
            <ac:spMk id="2" creationId="{A2AB6EC2-1863-0463-4E05-656DFD6DD1CA}"/>
          </ac:spMkLst>
        </pc:spChg>
        <pc:spChg chg="del">
          <ac:chgData name="Thomas Stensitzki" userId="75cafe6b-2f2a-469b-85c4-eec3b9c972ba" providerId="ADAL" clId="{07CCC4F7-7258-4B53-AE42-73541D3C572D}" dt="2024-04-23T13:44:54.331" v="533" actId="700"/>
          <ac:spMkLst>
            <pc:docMk/>
            <pc:sldMk cId="164179660" sldId="810"/>
            <ac:spMk id="3" creationId="{AD70ED71-79F6-3896-3EF7-B6E4A9F0FA52}"/>
          </ac:spMkLst>
        </pc:spChg>
        <pc:spChg chg="add del">
          <ac:chgData name="Thomas Stensitzki" userId="75cafe6b-2f2a-469b-85c4-eec3b9c972ba" providerId="ADAL" clId="{07CCC4F7-7258-4B53-AE42-73541D3C572D}" dt="2024-04-23T13:45:18.202" v="539" actId="22"/>
          <ac:spMkLst>
            <pc:docMk/>
            <pc:sldMk cId="164179660" sldId="810"/>
            <ac:spMk id="6" creationId="{11BAC918-4500-CBD1-C979-A4E32AB96FED}"/>
          </ac:spMkLst>
        </pc:spChg>
        <pc:picChg chg="add mod">
          <ac:chgData name="Thomas Stensitzki" userId="75cafe6b-2f2a-469b-85c4-eec3b9c972ba" providerId="ADAL" clId="{07CCC4F7-7258-4B53-AE42-73541D3C572D}" dt="2024-04-23T13:45:07.796" v="537" actId="1440"/>
          <ac:picMkLst>
            <pc:docMk/>
            <pc:sldMk cId="164179660" sldId="810"/>
            <ac:picMk id="4" creationId="{365A4A02-4FF1-C904-8D97-56723721C580}"/>
          </ac:picMkLst>
        </pc:picChg>
      </pc:sldChg>
      <pc:sldChg chg="del">
        <pc:chgData name="Thomas Stensitzki" userId="75cafe6b-2f2a-469b-85c4-eec3b9c972ba" providerId="ADAL" clId="{07CCC4F7-7258-4B53-AE42-73541D3C572D}" dt="2024-04-13T10:41:42.624" v="111" actId="47"/>
        <pc:sldMkLst>
          <pc:docMk/>
          <pc:sldMk cId="2767561560" sldId="810"/>
        </pc:sldMkLst>
      </pc:sldChg>
      <pc:sldChg chg="addSp modSp new mod modTransition">
        <pc:chgData name="Thomas Stensitzki" userId="75cafe6b-2f2a-469b-85c4-eec3b9c972ba" providerId="ADAL" clId="{07CCC4F7-7258-4B53-AE42-73541D3C572D}" dt="2024-04-25T07:12:49.206" v="1511"/>
        <pc:sldMkLst>
          <pc:docMk/>
          <pc:sldMk cId="4171092045" sldId="811"/>
        </pc:sldMkLst>
        <pc:spChg chg="mod">
          <ac:chgData name="Thomas Stensitzki" userId="75cafe6b-2f2a-469b-85c4-eec3b9c972ba" providerId="ADAL" clId="{07CCC4F7-7258-4B53-AE42-73541D3C572D}" dt="2024-04-23T13:46:45.860" v="548" actId="14100"/>
          <ac:spMkLst>
            <pc:docMk/>
            <pc:sldMk cId="4171092045" sldId="811"/>
            <ac:spMk id="2" creationId="{4EDFAF65-E700-923C-E920-00568DC60878}"/>
          </ac:spMkLst>
        </pc:spChg>
        <pc:spChg chg="add mod">
          <ac:chgData name="Thomas Stensitzki" userId="75cafe6b-2f2a-469b-85c4-eec3b9c972ba" providerId="ADAL" clId="{07CCC4F7-7258-4B53-AE42-73541D3C572D}" dt="2024-04-23T13:47:47.463" v="555" actId="14100"/>
          <ac:spMkLst>
            <pc:docMk/>
            <pc:sldMk cId="4171092045" sldId="811"/>
            <ac:spMk id="3" creationId="{5AFE2DF4-E6A8-FF01-97AD-03D9AEA31314}"/>
          </ac:spMkLst>
        </pc:spChg>
        <pc:picChg chg="add mod">
          <ac:chgData name="Thomas Stensitzki" userId="75cafe6b-2f2a-469b-85c4-eec3b9c972ba" providerId="ADAL" clId="{07CCC4F7-7258-4B53-AE42-73541D3C572D}" dt="2024-04-23T13:46:54.370" v="551" actId="1440"/>
          <ac:picMkLst>
            <pc:docMk/>
            <pc:sldMk cId="4171092045" sldId="811"/>
            <ac:picMk id="1026" creationId="{282F2D7A-0E9B-9F0C-00E1-00E91F993A77}"/>
          </ac:picMkLst>
        </pc:picChg>
      </pc:sldChg>
      <pc:sldChg chg="modSp add mod ord modTransition">
        <pc:chgData name="Thomas Stensitzki" userId="75cafe6b-2f2a-469b-85c4-eec3b9c972ba" providerId="ADAL" clId="{07CCC4F7-7258-4B53-AE42-73541D3C572D}" dt="2024-04-25T07:12:49.206" v="1511"/>
        <pc:sldMkLst>
          <pc:docMk/>
          <pc:sldMk cId="3104404612" sldId="812"/>
        </pc:sldMkLst>
        <pc:spChg chg="mod">
          <ac:chgData name="Thomas Stensitzki" userId="75cafe6b-2f2a-469b-85c4-eec3b9c972ba" providerId="ADAL" clId="{07CCC4F7-7258-4B53-AE42-73541D3C572D}" dt="2024-04-23T14:31:03.830" v="1459"/>
          <ac:spMkLst>
            <pc:docMk/>
            <pc:sldMk cId="3104404612" sldId="812"/>
            <ac:spMk id="5" creationId="{C24DACB5-1BEC-4C86-9652-BAFD8DE56FEF}"/>
          </ac:spMkLst>
        </pc:spChg>
      </pc:sldChg>
      <pc:sldChg chg="addSp modSp new mod modTransition modAnim">
        <pc:chgData name="Thomas Stensitzki" userId="75cafe6b-2f2a-469b-85c4-eec3b9c972ba" providerId="ADAL" clId="{07CCC4F7-7258-4B53-AE42-73541D3C572D}" dt="2024-04-25T07:12:49.206" v="1511"/>
        <pc:sldMkLst>
          <pc:docMk/>
          <pc:sldMk cId="3224943857" sldId="813"/>
        </pc:sldMkLst>
        <pc:spChg chg="mod">
          <ac:chgData name="Thomas Stensitzki" userId="75cafe6b-2f2a-469b-85c4-eec3b9c972ba" providerId="ADAL" clId="{07CCC4F7-7258-4B53-AE42-73541D3C572D}" dt="2024-04-23T13:48:25.125" v="561"/>
          <ac:spMkLst>
            <pc:docMk/>
            <pc:sldMk cId="3224943857" sldId="813"/>
            <ac:spMk id="2" creationId="{46F4E6CD-3036-E36A-4251-6B3D713A3200}"/>
          </ac:spMkLst>
        </pc:spChg>
        <pc:spChg chg="add mod ord">
          <ac:chgData name="Thomas Stensitzki" userId="75cafe6b-2f2a-469b-85c4-eec3b9c972ba" providerId="ADAL" clId="{07CCC4F7-7258-4B53-AE42-73541D3C572D}" dt="2024-04-23T13:52:08.213" v="593" actId="14100"/>
          <ac:spMkLst>
            <pc:docMk/>
            <pc:sldMk cId="3224943857" sldId="813"/>
            <ac:spMk id="6" creationId="{07F5596A-E492-D134-BD55-6693C6181F8C}"/>
          </ac:spMkLst>
        </pc:spChg>
        <pc:picChg chg="add mod">
          <ac:chgData name="Thomas Stensitzki" userId="75cafe6b-2f2a-469b-85c4-eec3b9c972ba" providerId="ADAL" clId="{07CCC4F7-7258-4B53-AE42-73541D3C572D}" dt="2024-04-23T13:49:20.463" v="570" actId="1076"/>
          <ac:picMkLst>
            <pc:docMk/>
            <pc:sldMk cId="3224943857" sldId="813"/>
            <ac:picMk id="3" creationId="{E76CFD9D-95CD-19C4-71FF-FB2B3A88FFE3}"/>
          </ac:picMkLst>
        </pc:picChg>
        <pc:picChg chg="add mod">
          <ac:chgData name="Thomas Stensitzki" userId="75cafe6b-2f2a-469b-85c4-eec3b9c972ba" providerId="ADAL" clId="{07CCC4F7-7258-4B53-AE42-73541D3C572D}" dt="2024-04-23T13:49:41.804" v="573" actId="14826"/>
          <ac:picMkLst>
            <pc:docMk/>
            <pc:sldMk cId="3224943857" sldId="813"/>
            <ac:picMk id="4" creationId="{181F685A-449F-1FEC-48D5-0EA05440A244}"/>
          </ac:picMkLst>
        </pc:picChg>
        <pc:picChg chg="add mod">
          <ac:chgData name="Thomas Stensitzki" userId="75cafe6b-2f2a-469b-85c4-eec3b9c972ba" providerId="ADAL" clId="{07CCC4F7-7258-4B53-AE42-73541D3C572D}" dt="2024-04-23T13:50:36.447" v="579" actId="1076"/>
          <ac:picMkLst>
            <pc:docMk/>
            <pc:sldMk cId="3224943857" sldId="813"/>
            <ac:picMk id="5" creationId="{0CD4BD48-6591-7FA1-9101-B3DFFD7F08BA}"/>
          </ac:picMkLst>
        </pc:picChg>
        <pc:picChg chg="add mod">
          <ac:chgData name="Thomas Stensitzki" userId="75cafe6b-2f2a-469b-85c4-eec3b9c972ba" providerId="ADAL" clId="{07CCC4F7-7258-4B53-AE42-73541D3C572D}" dt="2024-04-23T13:51:35.037" v="587" actId="167"/>
          <ac:picMkLst>
            <pc:docMk/>
            <pc:sldMk cId="3224943857" sldId="813"/>
            <ac:picMk id="2050" creationId="{D5818AC7-3FD7-901D-3C1F-AB875A599F1E}"/>
          </ac:picMkLst>
        </pc:picChg>
      </pc:sldChg>
      <pc:sldChg chg="addSp modSp new mod modTransition modNotesTx">
        <pc:chgData name="Thomas Stensitzki" userId="75cafe6b-2f2a-469b-85c4-eec3b9c972ba" providerId="ADAL" clId="{07CCC4F7-7258-4B53-AE42-73541D3C572D}" dt="2024-04-25T07:12:49.206" v="1511"/>
        <pc:sldMkLst>
          <pc:docMk/>
          <pc:sldMk cId="1847631795" sldId="814"/>
        </pc:sldMkLst>
        <pc:spChg chg="mod">
          <ac:chgData name="Thomas Stensitzki" userId="75cafe6b-2f2a-469b-85c4-eec3b9c972ba" providerId="ADAL" clId="{07CCC4F7-7258-4B53-AE42-73541D3C572D}" dt="2024-04-23T13:56:07.259" v="633"/>
          <ac:spMkLst>
            <pc:docMk/>
            <pc:sldMk cId="1847631795" sldId="814"/>
            <ac:spMk id="2" creationId="{B1F5F249-20AE-084E-0937-4EF481735628}"/>
          </ac:spMkLst>
        </pc:spChg>
        <pc:spChg chg="mod">
          <ac:chgData name="Thomas Stensitzki" userId="75cafe6b-2f2a-469b-85c4-eec3b9c972ba" providerId="ADAL" clId="{07CCC4F7-7258-4B53-AE42-73541D3C572D}" dt="2024-04-23T13:57:41.561" v="687" actId="20577"/>
          <ac:spMkLst>
            <pc:docMk/>
            <pc:sldMk cId="1847631795" sldId="814"/>
            <ac:spMk id="3" creationId="{AA6D3400-340E-0494-3C24-5E2C179AA150}"/>
          </ac:spMkLst>
        </pc:spChg>
        <pc:spChg chg="add mod">
          <ac:chgData name="Thomas Stensitzki" userId="75cafe6b-2f2a-469b-85c4-eec3b9c972ba" providerId="ADAL" clId="{07CCC4F7-7258-4B53-AE42-73541D3C572D}" dt="2024-04-23T14:00:24.557" v="797" actId="1076"/>
          <ac:spMkLst>
            <pc:docMk/>
            <pc:sldMk cId="1847631795" sldId="814"/>
            <ac:spMk id="5" creationId="{76A5AED0-1CCA-759E-B253-8F9837733449}"/>
          </ac:spMkLst>
        </pc:spChg>
        <pc:graphicFrameChg chg="add mod modGraphic">
          <ac:chgData name="Thomas Stensitzki" userId="75cafe6b-2f2a-469b-85c4-eec3b9c972ba" providerId="ADAL" clId="{07CCC4F7-7258-4B53-AE42-73541D3C572D}" dt="2024-04-23T13:59:28.637" v="753" actId="1076"/>
          <ac:graphicFrameMkLst>
            <pc:docMk/>
            <pc:sldMk cId="1847631795" sldId="814"/>
            <ac:graphicFrameMk id="4" creationId="{64409703-5763-0BF8-253C-6B7154AD953B}"/>
          </ac:graphicFrameMkLst>
        </pc:graphicFrameChg>
      </pc:sldChg>
      <pc:sldChg chg="addSp delSp modSp new mod modTransition">
        <pc:chgData name="Thomas Stensitzki" userId="75cafe6b-2f2a-469b-85c4-eec3b9c972ba" providerId="ADAL" clId="{07CCC4F7-7258-4B53-AE42-73541D3C572D}" dt="2024-04-25T07:12:49.206" v="1511"/>
        <pc:sldMkLst>
          <pc:docMk/>
          <pc:sldMk cId="3199360383" sldId="815"/>
        </pc:sldMkLst>
        <pc:spChg chg="mod">
          <ac:chgData name="Thomas Stensitzki" userId="75cafe6b-2f2a-469b-85c4-eec3b9c972ba" providerId="ADAL" clId="{07CCC4F7-7258-4B53-AE42-73541D3C572D}" dt="2024-04-23T14:02:13.224" v="805" actId="404"/>
          <ac:spMkLst>
            <pc:docMk/>
            <pc:sldMk cId="3199360383" sldId="815"/>
            <ac:spMk id="2" creationId="{8ECD0A28-E565-09C0-763C-EFB9AC97FD9F}"/>
          </ac:spMkLst>
        </pc:spChg>
        <pc:spChg chg="mod">
          <ac:chgData name="Thomas Stensitzki" userId="75cafe6b-2f2a-469b-85c4-eec3b9c972ba" providerId="ADAL" clId="{07CCC4F7-7258-4B53-AE42-73541D3C572D}" dt="2024-04-23T14:06:05.364" v="1096" actId="20577"/>
          <ac:spMkLst>
            <pc:docMk/>
            <pc:sldMk cId="3199360383" sldId="815"/>
            <ac:spMk id="3" creationId="{688A7E4F-8E58-964F-0C26-6F2F97025A93}"/>
          </ac:spMkLst>
        </pc:spChg>
        <pc:spChg chg="add del mod">
          <ac:chgData name="Thomas Stensitzki" userId="75cafe6b-2f2a-469b-85c4-eec3b9c972ba" providerId="ADAL" clId="{07CCC4F7-7258-4B53-AE42-73541D3C572D}" dt="2024-04-23T14:06:43.830" v="1101" actId="478"/>
          <ac:spMkLst>
            <pc:docMk/>
            <pc:sldMk cId="3199360383" sldId="815"/>
            <ac:spMk id="4" creationId="{454F698E-B3FC-2F54-797F-B754F50448FB}"/>
          </ac:spMkLst>
        </pc:spChg>
        <pc:spChg chg="add mod">
          <ac:chgData name="Thomas Stensitzki" userId="75cafe6b-2f2a-469b-85c4-eec3b9c972ba" providerId="ADAL" clId="{07CCC4F7-7258-4B53-AE42-73541D3C572D}" dt="2024-04-23T14:07:23.545" v="1136" actId="1076"/>
          <ac:spMkLst>
            <pc:docMk/>
            <pc:sldMk cId="3199360383" sldId="815"/>
            <ac:spMk id="5" creationId="{C77B81F7-E896-B7E7-7424-4C785CC2E4DA}"/>
          </ac:spMkLst>
        </pc:spChg>
      </pc:sldChg>
      <pc:sldChg chg="addSp delSp modSp new mod modTransition modNotesTx">
        <pc:chgData name="Thomas Stensitzki" userId="75cafe6b-2f2a-469b-85c4-eec3b9c972ba" providerId="ADAL" clId="{07CCC4F7-7258-4B53-AE42-73541D3C572D}" dt="2024-04-25T07:12:49.206" v="1511"/>
        <pc:sldMkLst>
          <pc:docMk/>
          <pc:sldMk cId="3604949292" sldId="816"/>
        </pc:sldMkLst>
        <pc:spChg chg="mod">
          <ac:chgData name="Thomas Stensitzki" userId="75cafe6b-2f2a-469b-85c4-eec3b9c972ba" providerId="ADAL" clId="{07CCC4F7-7258-4B53-AE42-73541D3C572D}" dt="2024-04-23T14:08:19.207" v="1140"/>
          <ac:spMkLst>
            <pc:docMk/>
            <pc:sldMk cId="3604949292" sldId="816"/>
            <ac:spMk id="2" creationId="{0CDC1775-6EB2-B7A0-2178-B23209C28563}"/>
          </ac:spMkLst>
        </pc:spChg>
        <pc:spChg chg="del">
          <ac:chgData name="Thomas Stensitzki" userId="75cafe6b-2f2a-469b-85c4-eec3b9c972ba" providerId="ADAL" clId="{07CCC4F7-7258-4B53-AE42-73541D3C572D}" dt="2024-04-23T14:08:44.433" v="1142" actId="478"/>
          <ac:spMkLst>
            <pc:docMk/>
            <pc:sldMk cId="3604949292" sldId="816"/>
            <ac:spMk id="3" creationId="{C4391C04-6063-BAFA-3051-4C551E32921F}"/>
          </ac:spMkLst>
        </pc:spChg>
        <pc:spChg chg="add mod">
          <ac:chgData name="Thomas Stensitzki" userId="75cafe6b-2f2a-469b-85c4-eec3b9c972ba" providerId="ADAL" clId="{07CCC4F7-7258-4B53-AE42-73541D3C572D}" dt="2024-04-23T14:09:52.902" v="1149" actId="790"/>
          <ac:spMkLst>
            <pc:docMk/>
            <pc:sldMk cId="3604949292" sldId="816"/>
            <ac:spMk id="4" creationId="{3ED5BA20-214A-FE09-D163-FD91A20D0A9B}"/>
          </ac:spMkLst>
        </pc:spChg>
        <pc:picChg chg="add mod">
          <ac:chgData name="Thomas Stensitzki" userId="75cafe6b-2f2a-469b-85c4-eec3b9c972ba" providerId="ADAL" clId="{07CCC4F7-7258-4B53-AE42-73541D3C572D}" dt="2024-04-23T14:09:09.910" v="1147" actId="1440"/>
          <ac:picMkLst>
            <pc:docMk/>
            <pc:sldMk cId="3604949292" sldId="816"/>
            <ac:picMk id="4098" creationId="{3277C5A0-EB9F-3DD3-882B-75B10D0E67B5}"/>
          </ac:picMkLst>
        </pc:picChg>
      </pc:sldChg>
      <pc:sldChg chg="addSp modSp new mod modTransition modClrScheme chgLayout">
        <pc:chgData name="Thomas Stensitzki" userId="75cafe6b-2f2a-469b-85c4-eec3b9c972ba" providerId="ADAL" clId="{07CCC4F7-7258-4B53-AE42-73541D3C572D}" dt="2024-05-03T06:20:04.281" v="3375" actId="6549"/>
        <pc:sldMkLst>
          <pc:docMk/>
          <pc:sldMk cId="1185517944" sldId="817"/>
        </pc:sldMkLst>
        <pc:spChg chg="mod ord">
          <ac:chgData name="Thomas Stensitzki" userId="75cafe6b-2f2a-469b-85c4-eec3b9c972ba" providerId="ADAL" clId="{07CCC4F7-7258-4B53-AE42-73541D3C572D}" dt="2024-04-23T14:11:30.515" v="1154" actId="700"/>
          <ac:spMkLst>
            <pc:docMk/>
            <pc:sldMk cId="1185517944" sldId="817"/>
            <ac:spMk id="2" creationId="{619891EA-A665-5B2F-1917-8D1C034413F2}"/>
          </ac:spMkLst>
        </pc:spChg>
        <pc:spChg chg="add mod ord">
          <ac:chgData name="Thomas Stensitzki" userId="75cafe6b-2f2a-469b-85c4-eec3b9c972ba" providerId="ADAL" clId="{07CCC4F7-7258-4B53-AE42-73541D3C572D}" dt="2024-05-03T06:20:04.281" v="3375" actId="6549"/>
          <ac:spMkLst>
            <pc:docMk/>
            <pc:sldMk cId="1185517944" sldId="817"/>
            <ac:spMk id="3" creationId="{F4D4EDB3-DE7C-7DF8-95F2-307477F145E9}"/>
          </ac:spMkLst>
        </pc:spChg>
      </pc:sldChg>
      <pc:sldChg chg="modSp add mod ord modTransition">
        <pc:chgData name="Thomas Stensitzki" userId="75cafe6b-2f2a-469b-85c4-eec3b9c972ba" providerId="ADAL" clId="{07CCC4F7-7258-4B53-AE42-73541D3C572D}" dt="2024-04-25T07:12:58.867" v="1513"/>
        <pc:sldMkLst>
          <pc:docMk/>
          <pc:sldMk cId="368700699" sldId="818"/>
        </pc:sldMkLst>
        <pc:spChg chg="mod">
          <ac:chgData name="Thomas Stensitzki" userId="75cafe6b-2f2a-469b-85c4-eec3b9c972ba" providerId="ADAL" clId="{07CCC4F7-7258-4B53-AE42-73541D3C572D}" dt="2024-04-23T14:12:52.308" v="1160" actId="14100"/>
          <ac:spMkLst>
            <pc:docMk/>
            <pc:sldMk cId="368700699" sldId="818"/>
            <ac:spMk id="2" creationId="{909DC09D-B9A6-4493-9A72-1CA7ECB1F5CA}"/>
          </ac:spMkLst>
        </pc:spChg>
        <pc:spChg chg="mod">
          <ac:chgData name="Thomas Stensitzki" userId="75cafe6b-2f2a-469b-85c4-eec3b9c972ba" providerId="ADAL" clId="{07CCC4F7-7258-4B53-AE42-73541D3C572D}" dt="2024-04-23T14:23:17.839" v="1327"/>
          <ac:spMkLst>
            <pc:docMk/>
            <pc:sldMk cId="368700699" sldId="818"/>
            <ac:spMk id="5" creationId="{C24DACB5-1BEC-4C86-9652-BAFD8DE56FEF}"/>
          </ac:spMkLst>
        </pc:spChg>
      </pc:sldChg>
      <pc:sldChg chg="addSp delSp modSp new mod modTransition chgLayout modNotesTx">
        <pc:chgData name="Thomas Stensitzki" userId="75cafe6b-2f2a-469b-85c4-eec3b9c972ba" providerId="ADAL" clId="{07CCC4F7-7258-4B53-AE42-73541D3C572D}" dt="2024-04-25T07:12:49.206" v="1511"/>
        <pc:sldMkLst>
          <pc:docMk/>
          <pc:sldMk cId="2682008780" sldId="819"/>
        </pc:sldMkLst>
        <pc:spChg chg="mod ord">
          <ac:chgData name="Thomas Stensitzki" userId="75cafe6b-2f2a-469b-85c4-eec3b9c972ba" providerId="ADAL" clId="{07CCC4F7-7258-4B53-AE42-73541D3C572D}" dt="2024-04-23T14:20:35.090" v="1270" actId="700"/>
          <ac:spMkLst>
            <pc:docMk/>
            <pc:sldMk cId="2682008780" sldId="819"/>
            <ac:spMk id="2" creationId="{644856F2-7886-1B13-5749-F4A8C34CBB03}"/>
          </ac:spMkLst>
        </pc:spChg>
        <pc:spChg chg="del">
          <ac:chgData name="Thomas Stensitzki" userId="75cafe6b-2f2a-469b-85c4-eec3b9c972ba" providerId="ADAL" clId="{07CCC4F7-7258-4B53-AE42-73541D3C572D}" dt="2024-04-23T14:13:38.048" v="1164" actId="478"/>
          <ac:spMkLst>
            <pc:docMk/>
            <pc:sldMk cId="2682008780" sldId="819"/>
            <ac:spMk id="3" creationId="{57A4113F-B562-BED2-33AC-50DB73477074}"/>
          </ac:spMkLst>
        </pc:spChg>
        <pc:spChg chg="add del">
          <ac:chgData name="Thomas Stensitzki" userId="75cafe6b-2f2a-469b-85c4-eec3b9c972ba" providerId="ADAL" clId="{07CCC4F7-7258-4B53-AE42-73541D3C572D}" dt="2024-04-23T14:14:04.379" v="1172" actId="22"/>
          <ac:spMkLst>
            <pc:docMk/>
            <pc:sldMk cId="2682008780" sldId="819"/>
            <ac:spMk id="6" creationId="{F7A5EED2-55C7-382A-3715-C79F8BBB0153}"/>
          </ac:spMkLst>
        </pc:spChg>
        <pc:spChg chg="add mod">
          <ac:chgData name="Thomas Stensitzki" userId="75cafe6b-2f2a-469b-85c4-eec3b9c972ba" providerId="ADAL" clId="{07CCC4F7-7258-4B53-AE42-73541D3C572D}" dt="2024-04-23T14:15:51.437" v="1186" actId="14100"/>
          <ac:spMkLst>
            <pc:docMk/>
            <pc:sldMk cId="2682008780" sldId="819"/>
            <ac:spMk id="7" creationId="{B4C304FE-001A-9767-E4BB-F2DD005B50EF}"/>
          </ac:spMkLst>
        </pc:spChg>
        <pc:spChg chg="add del mod">
          <ac:chgData name="Thomas Stensitzki" userId="75cafe6b-2f2a-469b-85c4-eec3b9c972ba" providerId="ADAL" clId="{07CCC4F7-7258-4B53-AE42-73541D3C572D}" dt="2024-04-23T14:16:00.619" v="1189" actId="478"/>
          <ac:spMkLst>
            <pc:docMk/>
            <pc:sldMk cId="2682008780" sldId="819"/>
            <ac:spMk id="8" creationId="{4020D945-49FD-966A-70C0-C2CC023F8366}"/>
          </ac:spMkLst>
        </pc:spChg>
        <pc:spChg chg="add mod ord">
          <ac:chgData name="Thomas Stensitzki" userId="75cafe6b-2f2a-469b-85c4-eec3b9c972ba" providerId="ADAL" clId="{07CCC4F7-7258-4B53-AE42-73541D3C572D}" dt="2024-04-23T14:21:41.701" v="1324" actId="6549"/>
          <ac:spMkLst>
            <pc:docMk/>
            <pc:sldMk cId="2682008780" sldId="819"/>
            <ac:spMk id="9" creationId="{47A84E4E-E805-538C-EDDF-3B5F90A48090}"/>
          </ac:spMkLst>
        </pc:spChg>
        <pc:spChg chg="add mod">
          <ac:chgData name="Thomas Stensitzki" userId="75cafe6b-2f2a-469b-85c4-eec3b9c972ba" providerId="ADAL" clId="{07CCC4F7-7258-4B53-AE42-73541D3C572D}" dt="2024-04-23T14:21:52.929" v="1325"/>
          <ac:spMkLst>
            <pc:docMk/>
            <pc:sldMk cId="2682008780" sldId="819"/>
            <ac:spMk id="10" creationId="{234942D6-99EF-14E0-B106-6D868C758AED}"/>
          </ac:spMkLst>
        </pc:spChg>
        <pc:picChg chg="add del mod">
          <ac:chgData name="Thomas Stensitzki" userId="75cafe6b-2f2a-469b-85c4-eec3b9c972ba" providerId="ADAL" clId="{07CCC4F7-7258-4B53-AE42-73541D3C572D}" dt="2024-04-23T14:14:01.229" v="1170" actId="478"/>
          <ac:picMkLst>
            <pc:docMk/>
            <pc:sldMk cId="2682008780" sldId="819"/>
            <ac:picMk id="4" creationId="{06A2326D-0DBD-1D0F-D36C-3CA3615891A8}"/>
          </ac:picMkLst>
        </pc:picChg>
        <pc:picChg chg="add mod">
          <ac:chgData name="Thomas Stensitzki" userId="75cafe6b-2f2a-469b-85c4-eec3b9c972ba" providerId="ADAL" clId="{07CCC4F7-7258-4B53-AE42-73541D3C572D}" dt="2024-04-23T14:16:22.670" v="1192" actId="1440"/>
          <ac:picMkLst>
            <pc:docMk/>
            <pc:sldMk cId="2682008780" sldId="819"/>
            <ac:picMk id="6146" creationId="{6072D694-3E18-A60F-BE5C-E6074517FB0B}"/>
          </ac:picMkLst>
        </pc:picChg>
        <pc:picChg chg="add mod">
          <ac:chgData name="Thomas Stensitzki" userId="75cafe6b-2f2a-469b-85c4-eec3b9c972ba" providerId="ADAL" clId="{07CCC4F7-7258-4B53-AE42-73541D3C572D}" dt="2024-04-23T14:16:22.670" v="1192" actId="1440"/>
          <ac:picMkLst>
            <pc:docMk/>
            <pc:sldMk cId="2682008780" sldId="819"/>
            <ac:picMk id="6148" creationId="{AA2DC2A1-FE4E-2185-AE9B-2557F52985EB}"/>
          </ac:picMkLst>
        </pc:picChg>
        <pc:picChg chg="add mod">
          <ac:chgData name="Thomas Stensitzki" userId="75cafe6b-2f2a-469b-85c4-eec3b9c972ba" providerId="ADAL" clId="{07CCC4F7-7258-4B53-AE42-73541D3C572D}" dt="2024-04-23T14:16:22.670" v="1192" actId="1440"/>
          <ac:picMkLst>
            <pc:docMk/>
            <pc:sldMk cId="2682008780" sldId="819"/>
            <ac:picMk id="6150" creationId="{6FCD6FA5-CF12-61A3-7A38-A2699D72DB33}"/>
          </ac:picMkLst>
        </pc:picChg>
      </pc:sldChg>
      <pc:sldChg chg="addSp delSp modSp new mod modTransition modClrScheme chgLayout">
        <pc:chgData name="Thomas Stensitzki" userId="75cafe6b-2f2a-469b-85c4-eec3b9c972ba" providerId="ADAL" clId="{07CCC4F7-7258-4B53-AE42-73541D3C572D}" dt="2024-04-25T07:12:49.206" v="1511"/>
        <pc:sldMkLst>
          <pc:docMk/>
          <pc:sldMk cId="1880600279" sldId="820"/>
        </pc:sldMkLst>
        <pc:spChg chg="mod ord">
          <ac:chgData name="Thomas Stensitzki" userId="75cafe6b-2f2a-469b-85c4-eec3b9c972ba" providerId="ADAL" clId="{07CCC4F7-7258-4B53-AE42-73541D3C572D}" dt="2024-04-23T14:19:26.595" v="1263" actId="700"/>
          <ac:spMkLst>
            <pc:docMk/>
            <pc:sldMk cId="1880600279" sldId="820"/>
            <ac:spMk id="2" creationId="{3B3C9AF9-28AF-9969-5B95-17A2F77C13F8}"/>
          </ac:spMkLst>
        </pc:spChg>
        <pc:spChg chg="mod ord">
          <ac:chgData name="Thomas Stensitzki" userId="75cafe6b-2f2a-469b-85c4-eec3b9c972ba" providerId="ADAL" clId="{07CCC4F7-7258-4B53-AE42-73541D3C572D}" dt="2024-04-23T14:19:50.818" v="1265" actId="6549"/>
          <ac:spMkLst>
            <pc:docMk/>
            <pc:sldMk cId="1880600279" sldId="820"/>
            <ac:spMk id="3" creationId="{7D28E0FD-A206-F5C9-9492-319C6C1DF67D}"/>
          </ac:spMkLst>
        </pc:spChg>
        <pc:spChg chg="add del mod">
          <ac:chgData name="Thomas Stensitzki" userId="75cafe6b-2f2a-469b-85c4-eec3b9c972ba" providerId="ADAL" clId="{07CCC4F7-7258-4B53-AE42-73541D3C572D}" dt="2024-04-23T14:18:24.276" v="1245" actId="478"/>
          <ac:spMkLst>
            <pc:docMk/>
            <pc:sldMk cId="1880600279" sldId="820"/>
            <ac:spMk id="4" creationId="{8E28C576-B7F2-D01A-20F4-854655A47BFA}"/>
          </ac:spMkLst>
        </pc:spChg>
        <pc:spChg chg="add del mod">
          <ac:chgData name="Thomas Stensitzki" userId="75cafe6b-2f2a-469b-85c4-eec3b9c972ba" providerId="ADAL" clId="{07CCC4F7-7258-4B53-AE42-73541D3C572D}" dt="2024-04-23T14:18:53.446" v="1257" actId="478"/>
          <ac:spMkLst>
            <pc:docMk/>
            <pc:sldMk cId="1880600279" sldId="820"/>
            <ac:spMk id="5" creationId="{F2AFAF11-0508-4652-9AD3-F26A439ADEF2}"/>
          </ac:spMkLst>
        </pc:spChg>
        <pc:spChg chg="add del mod">
          <ac:chgData name="Thomas Stensitzki" userId="75cafe6b-2f2a-469b-85c4-eec3b9c972ba" providerId="ADAL" clId="{07CCC4F7-7258-4B53-AE42-73541D3C572D}" dt="2024-04-23T14:19:07.058" v="1261" actId="478"/>
          <ac:spMkLst>
            <pc:docMk/>
            <pc:sldMk cId="1880600279" sldId="820"/>
            <ac:spMk id="6" creationId="{624D7057-0258-6456-FD2A-DDAFED3CBE45}"/>
          </ac:spMkLst>
        </pc:spChg>
        <pc:spChg chg="add mod ord">
          <ac:chgData name="Thomas Stensitzki" userId="75cafe6b-2f2a-469b-85c4-eec3b9c972ba" providerId="ADAL" clId="{07CCC4F7-7258-4B53-AE42-73541D3C572D}" dt="2024-04-23T14:20:14.995" v="1269" actId="404"/>
          <ac:spMkLst>
            <pc:docMk/>
            <pc:sldMk cId="1880600279" sldId="820"/>
            <ac:spMk id="7" creationId="{0DE86F7B-80F3-0597-E1FC-7CBB12E7F216}"/>
          </ac:spMkLst>
        </pc:spChg>
      </pc:sldChg>
      <pc:sldChg chg="modSp new mod modTransition">
        <pc:chgData name="Thomas Stensitzki" userId="75cafe6b-2f2a-469b-85c4-eec3b9c972ba" providerId="ADAL" clId="{07CCC4F7-7258-4B53-AE42-73541D3C572D}" dt="2024-04-25T07:22:53.368" v="2428" actId="20577"/>
        <pc:sldMkLst>
          <pc:docMk/>
          <pc:sldMk cId="3338332906" sldId="821"/>
        </pc:sldMkLst>
        <pc:spChg chg="mod">
          <ac:chgData name="Thomas Stensitzki" userId="75cafe6b-2f2a-469b-85c4-eec3b9c972ba" providerId="ADAL" clId="{07CCC4F7-7258-4B53-AE42-73541D3C572D}" dt="2024-04-23T14:23:22.457" v="1328"/>
          <ac:spMkLst>
            <pc:docMk/>
            <pc:sldMk cId="3338332906" sldId="821"/>
            <ac:spMk id="2" creationId="{F6937244-D3A3-83D8-E9B3-B12712EB4F4D}"/>
          </ac:spMkLst>
        </pc:spChg>
        <pc:spChg chg="mod">
          <ac:chgData name="Thomas Stensitzki" userId="75cafe6b-2f2a-469b-85c4-eec3b9c972ba" providerId="ADAL" clId="{07CCC4F7-7258-4B53-AE42-73541D3C572D}" dt="2024-04-25T07:22:53.368" v="2428" actId="20577"/>
          <ac:spMkLst>
            <pc:docMk/>
            <pc:sldMk cId="3338332906" sldId="821"/>
            <ac:spMk id="3" creationId="{325CA7F3-3904-679E-0DEF-58A01B71B29C}"/>
          </ac:spMkLst>
        </pc:spChg>
      </pc:sldChg>
      <pc:sldChg chg="addSp modSp new mod modTransition">
        <pc:chgData name="Thomas Stensitzki" userId="75cafe6b-2f2a-469b-85c4-eec3b9c972ba" providerId="ADAL" clId="{07CCC4F7-7258-4B53-AE42-73541D3C572D}" dt="2024-04-25T07:12:49.206" v="1511"/>
        <pc:sldMkLst>
          <pc:docMk/>
          <pc:sldMk cId="3846293989" sldId="822"/>
        </pc:sldMkLst>
        <pc:spChg chg="mod">
          <ac:chgData name="Thomas Stensitzki" userId="75cafe6b-2f2a-469b-85c4-eec3b9c972ba" providerId="ADAL" clId="{07CCC4F7-7258-4B53-AE42-73541D3C572D}" dt="2024-04-23T14:24:53.551" v="1336" actId="20577"/>
          <ac:spMkLst>
            <pc:docMk/>
            <pc:sldMk cId="3846293989" sldId="822"/>
            <ac:spMk id="2" creationId="{E698DC51-FCC1-E245-755A-EC278E6AFCA5}"/>
          </ac:spMkLst>
        </pc:spChg>
        <pc:spChg chg="mod">
          <ac:chgData name="Thomas Stensitzki" userId="75cafe6b-2f2a-469b-85c4-eec3b9c972ba" providerId="ADAL" clId="{07CCC4F7-7258-4B53-AE42-73541D3C572D}" dt="2024-04-23T14:28:37.234" v="1451" actId="20577"/>
          <ac:spMkLst>
            <pc:docMk/>
            <pc:sldMk cId="3846293989" sldId="822"/>
            <ac:spMk id="3" creationId="{2FF3467A-BC2D-BA04-461E-68DF6B85711F}"/>
          </ac:spMkLst>
        </pc:spChg>
        <pc:spChg chg="add mod">
          <ac:chgData name="Thomas Stensitzki" userId="75cafe6b-2f2a-469b-85c4-eec3b9c972ba" providerId="ADAL" clId="{07CCC4F7-7258-4B53-AE42-73541D3C572D}" dt="2024-04-23T14:29:31.881" v="1453"/>
          <ac:spMkLst>
            <pc:docMk/>
            <pc:sldMk cId="3846293989" sldId="822"/>
            <ac:spMk id="8" creationId="{5DE417E8-55D9-4E04-69FB-86CE9398FC94}"/>
          </ac:spMkLst>
        </pc:spChg>
        <pc:spChg chg="add mod">
          <ac:chgData name="Thomas Stensitzki" userId="75cafe6b-2f2a-469b-85c4-eec3b9c972ba" providerId="ADAL" clId="{07CCC4F7-7258-4B53-AE42-73541D3C572D}" dt="2024-04-23T14:30:12.305" v="1457" actId="14100"/>
          <ac:spMkLst>
            <pc:docMk/>
            <pc:sldMk cId="3846293989" sldId="822"/>
            <ac:spMk id="9" creationId="{692D53E8-A966-6D0D-91AA-30917AF874E7}"/>
          </ac:spMkLst>
        </pc:spChg>
        <pc:picChg chg="add mod">
          <ac:chgData name="Thomas Stensitzki" userId="75cafe6b-2f2a-469b-85c4-eec3b9c972ba" providerId="ADAL" clId="{07CCC4F7-7258-4B53-AE42-73541D3C572D}" dt="2024-04-23T14:26:45.872" v="1339" actId="1440"/>
          <ac:picMkLst>
            <pc:docMk/>
            <pc:sldMk cId="3846293989" sldId="822"/>
            <ac:picMk id="5" creationId="{23638845-E81B-E5AB-F307-95656BD97B70}"/>
          </ac:picMkLst>
        </pc:picChg>
        <pc:picChg chg="add mod">
          <ac:chgData name="Thomas Stensitzki" userId="75cafe6b-2f2a-469b-85c4-eec3b9c972ba" providerId="ADAL" clId="{07CCC4F7-7258-4B53-AE42-73541D3C572D}" dt="2024-04-23T14:27:26.823" v="1342" actId="1440"/>
          <ac:picMkLst>
            <pc:docMk/>
            <pc:sldMk cId="3846293989" sldId="822"/>
            <ac:picMk id="7" creationId="{50BE4445-4FE5-4C40-C918-6233E4EAB51A}"/>
          </ac:picMkLst>
        </pc:picChg>
      </pc:sldChg>
      <pc:sldChg chg="addSp delSp modSp new mod modTransition modClrScheme chgLayout">
        <pc:chgData name="Thomas Stensitzki" userId="75cafe6b-2f2a-469b-85c4-eec3b9c972ba" providerId="ADAL" clId="{07CCC4F7-7258-4B53-AE42-73541D3C572D}" dt="2024-04-25T07:12:49.206" v="1511"/>
        <pc:sldMkLst>
          <pc:docMk/>
          <pc:sldMk cId="2231810275" sldId="823"/>
        </pc:sldMkLst>
        <pc:spChg chg="mod ord">
          <ac:chgData name="Thomas Stensitzki" userId="75cafe6b-2f2a-469b-85c4-eec3b9c972ba" providerId="ADAL" clId="{07CCC4F7-7258-4B53-AE42-73541D3C572D}" dt="2024-04-23T14:31:20.555" v="1462" actId="700"/>
          <ac:spMkLst>
            <pc:docMk/>
            <pc:sldMk cId="2231810275" sldId="823"/>
            <ac:spMk id="2" creationId="{0599EA8C-BD46-ADCC-D874-57F80E2A0D90}"/>
          </ac:spMkLst>
        </pc:spChg>
        <pc:spChg chg="del">
          <ac:chgData name="Thomas Stensitzki" userId="75cafe6b-2f2a-469b-85c4-eec3b9c972ba" providerId="ADAL" clId="{07CCC4F7-7258-4B53-AE42-73541D3C572D}" dt="2024-04-23T14:31:20.555" v="1462" actId="700"/>
          <ac:spMkLst>
            <pc:docMk/>
            <pc:sldMk cId="2231810275" sldId="823"/>
            <ac:spMk id="3" creationId="{676D92EA-2EBC-4FAD-D43D-71323C58F2D2}"/>
          </ac:spMkLst>
        </pc:spChg>
        <pc:picChg chg="add mod">
          <ac:chgData name="Thomas Stensitzki" userId="75cafe6b-2f2a-469b-85c4-eec3b9c972ba" providerId="ADAL" clId="{07CCC4F7-7258-4B53-AE42-73541D3C572D}" dt="2024-04-23T14:32:54.992" v="1470" actId="1440"/>
          <ac:picMkLst>
            <pc:docMk/>
            <pc:sldMk cId="2231810275" sldId="823"/>
            <ac:picMk id="5" creationId="{45AA00A0-2299-4D61-D941-081C34943E57}"/>
          </ac:picMkLst>
        </pc:picChg>
        <pc:picChg chg="add mod">
          <ac:chgData name="Thomas Stensitzki" userId="75cafe6b-2f2a-469b-85c4-eec3b9c972ba" providerId="ADAL" clId="{07CCC4F7-7258-4B53-AE42-73541D3C572D}" dt="2024-04-23T14:31:32.865" v="1466" actId="1440"/>
          <ac:picMkLst>
            <pc:docMk/>
            <pc:sldMk cId="2231810275" sldId="823"/>
            <ac:picMk id="7170" creationId="{D5F7116B-FA24-983F-F83B-DE75A490758E}"/>
          </ac:picMkLst>
        </pc:picChg>
      </pc:sldChg>
      <pc:sldChg chg="modSp add mod ord modTransition">
        <pc:chgData name="Thomas Stensitzki" userId="75cafe6b-2f2a-469b-85c4-eec3b9c972ba" providerId="ADAL" clId="{07CCC4F7-7258-4B53-AE42-73541D3C572D}" dt="2024-04-25T07:12:49.206" v="1511"/>
        <pc:sldMkLst>
          <pc:docMk/>
          <pc:sldMk cId="2120361080" sldId="824"/>
        </pc:sldMkLst>
        <pc:spChg chg="mod">
          <ac:chgData name="Thomas Stensitzki" userId="75cafe6b-2f2a-469b-85c4-eec3b9c972ba" providerId="ADAL" clId="{07CCC4F7-7258-4B53-AE42-73541D3C572D}" dt="2024-04-25T07:08:24.577" v="1476" actId="1076"/>
          <ac:spMkLst>
            <pc:docMk/>
            <pc:sldMk cId="2120361080" sldId="824"/>
            <ac:spMk id="2" creationId="{909DC09D-B9A6-4493-9A72-1CA7ECB1F5CA}"/>
          </ac:spMkLst>
        </pc:spChg>
      </pc:sldChg>
      <pc:sldChg chg="modSp add mod ord modTransition">
        <pc:chgData name="Thomas Stensitzki" userId="75cafe6b-2f2a-469b-85c4-eec3b9c972ba" providerId="ADAL" clId="{07CCC4F7-7258-4B53-AE42-73541D3C572D}" dt="2024-04-25T07:12:49.206" v="1511"/>
        <pc:sldMkLst>
          <pc:docMk/>
          <pc:sldMk cId="1823114111" sldId="825"/>
        </pc:sldMkLst>
        <pc:spChg chg="mod">
          <ac:chgData name="Thomas Stensitzki" userId="75cafe6b-2f2a-469b-85c4-eec3b9c972ba" providerId="ADAL" clId="{07CCC4F7-7258-4B53-AE42-73541D3C572D}" dt="2024-04-25T07:08:43.194" v="1480" actId="1076"/>
          <ac:spMkLst>
            <pc:docMk/>
            <pc:sldMk cId="1823114111" sldId="825"/>
            <ac:spMk id="2" creationId="{909DC09D-B9A6-4493-9A72-1CA7ECB1F5CA}"/>
          </ac:spMkLst>
        </pc:spChg>
      </pc:sldChg>
      <pc:sldChg chg="modSp add mod ord modTransition">
        <pc:chgData name="Thomas Stensitzki" userId="75cafe6b-2f2a-469b-85c4-eec3b9c972ba" providerId="ADAL" clId="{07CCC4F7-7258-4B53-AE42-73541D3C572D}" dt="2024-04-25T07:12:49.206" v="1511"/>
        <pc:sldMkLst>
          <pc:docMk/>
          <pc:sldMk cId="1353236429" sldId="826"/>
        </pc:sldMkLst>
        <pc:spChg chg="mod">
          <ac:chgData name="Thomas Stensitzki" userId="75cafe6b-2f2a-469b-85c4-eec3b9c972ba" providerId="ADAL" clId="{07CCC4F7-7258-4B53-AE42-73541D3C572D}" dt="2024-04-25T07:09:26.457" v="1485" actId="14100"/>
          <ac:spMkLst>
            <pc:docMk/>
            <pc:sldMk cId="1353236429" sldId="826"/>
            <ac:spMk id="2" creationId="{909DC09D-B9A6-4493-9A72-1CA7ECB1F5CA}"/>
          </ac:spMkLst>
        </pc:spChg>
      </pc:sldChg>
      <pc:sldChg chg="modSp add mod ord modTransition">
        <pc:chgData name="Thomas Stensitzki" userId="75cafe6b-2f2a-469b-85c4-eec3b9c972ba" providerId="ADAL" clId="{07CCC4F7-7258-4B53-AE42-73541D3C572D}" dt="2024-04-25T07:12:49.206" v="1511"/>
        <pc:sldMkLst>
          <pc:docMk/>
          <pc:sldMk cId="2176275193" sldId="827"/>
        </pc:sldMkLst>
        <pc:spChg chg="mod">
          <ac:chgData name="Thomas Stensitzki" userId="75cafe6b-2f2a-469b-85c4-eec3b9c972ba" providerId="ADAL" clId="{07CCC4F7-7258-4B53-AE42-73541D3C572D}" dt="2024-04-25T07:10:00.245" v="1489" actId="1076"/>
          <ac:spMkLst>
            <pc:docMk/>
            <pc:sldMk cId="2176275193" sldId="827"/>
            <ac:spMk id="2" creationId="{909DC09D-B9A6-4493-9A72-1CA7ECB1F5CA}"/>
          </ac:spMkLst>
        </pc:spChg>
      </pc:sldChg>
      <pc:sldChg chg="modSp add mod ord modTransition">
        <pc:chgData name="Thomas Stensitzki" userId="75cafe6b-2f2a-469b-85c4-eec3b9c972ba" providerId="ADAL" clId="{07CCC4F7-7258-4B53-AE42-73541D3C572D}" dt="2024-04-25T07:12:49.206" v="1511"/>
        <pc:sldMkLst>
          <pc:docMk/>
          <pc:sldMk cId="2840206152" sldId="828"/>
        </pc:sldMkLst>
        <pc:spChg chg="mod">
          <ac:chgData name="Thomas Stensitzki" userId="75cafe6b-2f2a-469b-85c4-eec3b9c972ba" providerId="ADAL" clId="{07CCC4F7-7258-4B53-AE42-73541D3C572D}" dt="2024-04-25T07:10:28.430" v="1493" actId="1076"/>
          <ac:spMkLst>
            <pc:docMk/>
            <pc:sldMk cId="2840206152" sldId="828"/>
            <ac:spMk id="2" creationId="{909DC09D-B9A6-4493-9A72-1CA7ECB1F5CA}"/>
          </ac:spMkLst>
        </pc:spChg>
      </pc:sldChg>
      <pc:sldChg chg="modSp add mod modTransition">
        <pc:chgData name="Thomas Stensitzki" userId="75cafe6b-2f2a-469b-85c4-eec3b9c972ba" providerId="ADAL" clId="{07CCC4F7-7258-4B53-AE42-73541D3C572D}" dt="2024-04-25T07:12:49.206" v="1511"/>
        <pc:sldMkLst>
          <pc:docMk/>
          <pc:sldMk cId="3827794166" sldId="829"/>
        </pc:sldMkLst>
        <pc:spChg chg="mod">
          <ac:chgData name="Thomas Stensitzki" userId="75cafe6b-2f2a-469b-85c4-eec3b9c972ba" providerId="ADAL" clId="{07CCC4F7-7258-4B53-AE42-73541D3C572D}" dt="2024-04-25T07:10:35.585" v="1495" actId="1076"/>
          <ac:spMkLst>
            <pc:docMk/>
            <pc:sldMk cId="3827794166" sldId="829"/>
            <ac:spMk id="2" creationId="{909DC09D-B9A6-4493-9A72-1CA7ECB1F5CA}"/>
          </ac:spMkLst>
        </pc:spChg>
      </pc:sldChg>
      <pc:sldChg chg="modSp add mod ord modTransition">
        <pc:chgData name="Thomas Stensitzki" userId="75cafe6b-2f2a-469b-85c4-eec3b9c972ba" providerId="ADAL" clId="{07CCC4F7-7258-4B53-AE42-73541D3C572D}" dt="2024-04-25T07:12:49.206" v="1511"/>
        <pc:sldMkLst>
          <pc:docMk/>
          <pc:sldMk cId="2818200262" sldId="830"/>
        </pc:sldMkLst>
        <pc:spChg chg="mod">
          <ac:chgData name="Thomas Stensitzki" userId="75cafe6b-2f2a-469b-85c4-eec3b9c972ba" providerId="ADAL" clId="{07CCC4F7-7258-4B53-AE42-73541D3C572D}" dt="2024-04-25T07:10:57.823" v="1499" actId="1076"/>
          <ac:spMkLst>
            <pc:docMk/>
            <pc:sldMk cId="2818200262" sldId="830"/>
            <ac:spMk id="2" creationId="{909DC09D-B9A6-4493-9A72-1CA7ECB1F5CA}"/>
          </ac:spMkLst>
        </pc:spChg>
      </pc:sldChg>
      <pc:sldChg chg="modSp add mod modTransition">
        <pc:chgData name="Thomas Stensitzki" userId="75cafe6b-2f2a-469b-85c4-eec3b9c972ba" providerId="ADAL" clId="{07CCC4F7-7258-4B53-AE42-73541D3C572D}" dt="2024-04-25T07:12:49.206" v="1511"/>
        <pc:sldMkLst>
          <pc:docMk/>
          <pc:sldMk cId="346254247" sldId="831"/>
        </pc:sldMkLst>
        <pc:spChg chg="mod">
          <ac:chgData name="Thomas Stensitzki" userId="75cafe6b-2f2a-469b-85c4-eec3b9c972ba" providerId="ADAL" clId="{07CCC4F7-7258-4B53-AE42-73541D3C572D}" dt="2024-04-25T07:11:11.642" v="1501" actId="1076"/>
          <ac:spMkLst>
            <pc:docMk/>
            <pc:sldMk cId="346254247" sldId="831"/>
            <ac:spMk id="2" creationId="{909DC09D-B9A6-4493-9A72-1CA7ECB1F5CA}"/>
          </ac:spMkLst>
        </pc:spChg>
      </pc:sldChg>
      <pc:sldChg chg="modSp add mod ord modTransition">
        <pc:chgData name="Thomas Stensitzki" userId="75cafe6b-2f2a-469b-85c4-eec3b9c972ba" providerId="ADAL" clId="{07CCC4F7-7258-4B53-AE42-73541D3C572D}" dt="2024-04-25T07:12:49.206" v="1511"/>
        <pc:sldMkLst>
          <pc:docMk/>
          <pc:sldMk cId="458454798" sldId="832"/>
        </pc:sldMkLst>
        <pc:spChg chg="mod">
          <ac:chgData name="Thomas Stensitzki" userId="75cafe6b-2f2a-469b-85c4-eec3b9c972ba" providerId="ADAL" clId="{07CCC4F7-7258-4B53-AE42-73541D3C572D}" dt="2024-04-25T07:12:07.426" v="1506" actId="14100"/>
          <ac:spMkLst>
            <pc:docMk/>
            <pc:sldMk cId="458454798" sldId="832"/>
            <ac:spMk id="2" creationId="{909DC09D-B9A6-4493-9A72-1CA7ECB1F5CA}"/>
          </ac:spMkLst>
        </pc:spChg>
      </pc:sldChg>
      <pc:sldChg chg="modSp add mod ord modTransition">
        <pc:chgData name="Thomas Stensitzki" userId="75cafe6b-2f2a-469b-85c4-eec3b9c972ba" providerId="ADAL" clId="{07CCC4F7-7258-4B53-AE42-73541D3C572D}" dt="2024-04-25T07:12:49.206" v="1511"/>
        <pc:sldMkLst>
          <pc:docMk/>
          <pc:sldMk cId="2389661904" sldId="833"/>
        </pc:sldMkLst>
        <pc:spChg chg="mod">
          <ac:chgData name="Thomas Stensitzki" userId="75cafe6b-2f2a-469b-85c4-eec3b9c972ba" providerId="ADAL" clId="{07CCC4F7-7258-4B53-AE42-73541D3C572D}" dt="2024-04-25T07:12:32.853" v="1510" actId="1076"/>
          <ac:spMkLst>
            <pc:docMk/>
            <pc:sldMk cId="2389661904" sldId="833"/>
            <ac:spMk id="2" creationId="{909DC09D-B9A6-4493-9A72-1CA7ECB1F5CA}"/>
          </ac:spMkLst>
        </pc:spChg>
      </pc:sldChg>
      <pc:sldChg chg="modSp add mod ord">
        <pc:chgData name="Thomas Stensitzki" userId="75cafe6b-2f2a-469b-85c4-eec3b9c972ba" providerId="ADAL" clId="{07CCC4F7-7258-4B53-AE42-73541D3C572D}" dt="2024-04-25T07:13:14.832" v="1518" actId="14100"/>
        <pc:sldMkLst>
          <pc:docMk/>
          <pc:sldMk cId="2272736993" sldId="834"/>
        </pc:sldMkLst>
        <pc:spChg chg="mod">
          <ac:chgData name="Thomas Stensitzki" userId="75cafe6b-2f2a-469b-85c4-eec3b9c972ba" providerId="ADAL" clId="{07CCC4F7-7258-4B53-AE42-73541D3C572D}" dt="2024-04-25T07:13:14.832" v="1518" actId="14100"/>
          <ac:spMkLst>
            <pc:docMk/>
            <pc:sldMk cId="2272736993" sldId="834"/>
            <ac:spMk id="2" creationId="{909DC09D-B9A6-4493-9A72-1CA7ECB1F5CA}"/>
          </ac:spMkLst>
        </pc:spChg>
      </pc:sldChg>
      <pc:sldChg chg="modSp add mod">
        <pc:chgData name="Thomas Stensitzki" userId="75cafe6b-2f2a-469b-85c4-eec3b9c972ba" providerId="ADAL" clId="{07CCC4F7-7258-4B53-AE42-73541D3C572D}" dt="2024-04-25T07:17:10.841" v="1911" actId="1076"/>
        <pc:sldMkLst>
          <pc:docMk/>
          <pc:sldMk cId="983130127" sldId="835"/>
        </pc:sldMkLst>
        <pc:spChg chg="mod">
          <ac:chgData name="Thomas Stensitzki" userId="75cafe6b-2f2a-469b-85c4-eec3b9c972ba" providerId="ADAL" clId="{07CCC4F7-7258-4B53-AE42-73541D3C572D}" dt="2024-04-25T07:17:10.841" v="1911" actId="1076"/>
          <ac:spMkLst>
            <pc:docMk/>
            <pc:sldMk cId="983130127" sldId="835"/>
            <ac:spMk id="2" creationId="{909DC09D-B9A6-4493-9A72-1CA7ECB1F5CA}"/>
          </ac:spMkLst>
        </pc:spChg>
      </pc:sldChg>
      <pc:sldChg chg="modSp add mod">
        <pc:chgData name="Thomas Stensitzki" userId="75cafe6b-2f2a-469b-85c4-eec3b9c972ba" providerId="ADAL" clId="{07CCC4F7-7258-4B53-AE42-73541D3C572D}" dt="2024-04-25T07:17:20.610" v="1914" actId="14100"/>
        <pc:sldMkLst>
          <pc:docMk/>
          <pc:sldMk cId="2679354303" sldId="836"/>
        </pc:sldMkLst>
        <pc:spChg chg="mod">
          <ac:chgData name="Thomas Stensitzki" userId="75cafe6b-2f2a-469b-85c4-eec3b9c972ba" providerId="ADAL" clId="{07CCC4F7-7258-4B53-AE42-73541D3C572D}" dt="2024-04-25T07:17:20.610" v="1914" actId="14100"/>
          <ac:spMkLst>
            <pc:docMk/>
            <pc:sldMk cId="2679354303" sldId="836"/>
            <ac:spMk id="2" creationId="{909DC09D-B9A6-4493-9A72-1CA7ECB1F5CA}"/>
          </ac:spMkLst>
        </pc:spChg>
      </pc:sldChg>
      <pc:sldChg chg="add del ord">
        <pc:chgData name="Thomas Stensitzki" userId="75cafe6b-2f2a-469b-85c4-eec3b9c972ba" providerId="ADAL" clId="{07CCC4F7-7258-4B53-AE42-73541D3C572D}" dt="2024-04-25T07:17:29.590" v="1918" actId="47"/>
        <pc:sldMkLst>
          <pc:docMk/>
          <pc:sldMk cId="55548869" sldId="837"/>
        </pc:sldMkLst>
      </pc:sldChg>
      <pc:sldChg chg="modSp add mod ord">
        <pc:chgData name="Thomas Stensitzki" userId="75cafe6b-2f2a-469b-85c4-eec3b9c972ba" providerId="ADAL" clId="{07CCC4F7-7258-4B53-AE42-73541D3C572D}" dt="2024-04-25T07:17:39.807" v="1922" actId="1076"/>
        <pc:sldMkLst>
          <pc:docMk/>
          <pc:sldMk cId="2413236412" sldId="837"/>
        </pc:sldMkLst>
        <pc:spChg chg="mod">
          <ac:chgData name="Thomas Stensitzki" userId="75cafe6b-2f2a-469b-85c4-eec3b9c972ba" providerId="ADAL" clId="{07CCC4F7-7258-4B53-AE42-73541D3C572D}" dt="2024-04-25T07:17:39.807" v="1922" actId="1076"/>
          <ac:spMkLst>
            <pc:docMk/>
            <pc:sldMk cId="2413236412" sldId="837"/>
            <ac:spMk id="2" creationId="{909DC09D-B9A6-4493-9A72-1CA7ECB1F5CA}"/>
          </ac:spMkLst>
        </pc:spChg>
      </pc:sldChg>
      <pc:sldChg chg="modSp add mod ord">
        <pc:chgData name="Thomas Stensitzki" userId="75cafe6b-2f2a-469b-85c4-eec3b9c972ba" providerId="ADAL" clId="{07CCC4F7-7258-4B53-AE42-73541D3C572D}" dt="2024-04-25T07:17:56.591" v="1928" actId="1076"/>
        <pc:sldMkLst>
          <pc:docMk/>
          <pc:sldMk cId="549985008" sldId="838"/>
        </pc:sldMkLst>
        <pc:spChg chg="mod">
          <ac:chgData name="Thomas Stensitzki" userId="75cafe6b-2f2a-469b-85c4-eec3b9c972ba" providerId="ADAL" clId="{07CCC4F7-7258-4B53-AE42-73541D3C572D}" dt="2024-04-25T07:17:56.591" v="1928" actId="1076"/>
          <ac:spMkLst>
            <pc:docMk/>
            <pc:sldMk cId="549985008" sldId="838"/>
            <ac:spMk id="2" creationId="{909DC09D-B9A6-4493-9A72-1CA7ECB1F5CA}"/>
          </ac:spMkLst>
        </pc:spChg>
      </pc:sldChg>
      <pc:sldChg chg="modSp add mod ord">
        <pc:chgData name="Thomas Stensitzki" userId="75cafe6b-2f2a-469b-85c4-eec3b9c972ba" providerId="ADAL" clId="{07CCC4F7-7258-4B53-AE42-73541D3C572D}" dt="2024-04-25T07:18:18.445" v="1934"/>
        <pc:sldMkLst>
          <pc:docMk/>
          <pc:sldMk cId="738325284" sldId="839"/>
        </pc:sldMkLst>
        <pc:spChg chg="mod">
          <ac:chgData name="Thomas Stensitzki" userId="75cafe6b-2f2a-469b-85c4-eec3b9c972ba" providerId="ADAL" clId="{07CCC4F7-7258-4B53-AE42-73541D3C572D}" dt="2024-04-25T07:18:15.201" v="1932" actId="1076"/>
          <ac:spMkLst>
            <pc:docMk/>
            <pc:sldMk cId="738325284" sldId="839"/>
            <ac:spMk id="2" creationId="{909DC09D-B9A6-4493-9A72-1CA7ECB1F5CA}"/>
          </ac:spMkLst>
        </pc:spChg>
      </pc:sldChg>
    </pc:docChg>
  </pc:docChgLst>
  <pc:docChgLst>
    <pc:chgData name="Thomas Stensitzki" userId="75cafe6b-2f2a-469b-85c4-eec3b9c972ba" providerId="ADAL" clId="{81A95A3F-591B-4915-9F30-386F1902D115}"/>
    <pc:docChg chg="undo custSel addSld delSld modSld sldOrd addSection modSection">
      <pc:chgData name="Thomas Stensitzki" userId="75cafe6b-2f2a-469b-85c4-eec3b9c972ba" providerId="ADAL" clId="{81A95A3F-591B-4915-9F30-386F1902D115}" dt="2022-06-08T12:07:08.400" v="1302"/>
      <pc:docMkLst>
        <pc:docMk/>
      </pc:docMkLst>
      <pc:sldChg chg="modSp mod">
        <pc:chgData name="Thomas Stensitzki" userId="75cafe6b-2f2a-469b-85c4-eec3b9c972ba" providerId="ADAL" clId="{81A95A3F-591B-4915-9F30-386F1902D115}" dt="2022-06-03T06:50:50.178" v="12" actId="20577"/>
        <pc:sldMkLst>
          <pc:docMk/>
          <pc:sldMk cId="671489701" sldId="256"/>
        </pc:sldMkLst>
        <pc:spChg chg="mod">
          <ac:chgData name="Thomas Stensitzki" userId="75cafe6b-2f2a-469b-85c4-eec3b9c972ba" providerId="ADAL" clId="{81A95A3F-591B-4915-9F30-386F1902D115}" dt="2022-06-03T06:50:50.178" v="12" actId="20577"/>
          <ac:spMkLst>
            <pc:docMk/>
            <pc:sldMk cId="671489701" sldId="256"/>
            <ac:spMk id="3" creationId="{CBA95633-B02D-4A15-A8B1-A38E0A70FD27}"/>
          </ac:spMkLst>
        </pc:spChg>
      </pc:sldChg>
      <pc:sldChg chg="addSp delSp modSp mod">
        <pc:chgData name="Thomas Stensitzki" userId="75cafe6b-2f2a-469b-85c4-eec3b9c972ba" providerId="ADAL" clId="{81A95A3F-591B-4915-9F30-386F1902D115}" dt="2022-06-08T11:52:17.145" v="936" actId="6549"/>
        <pc:sldMkLst>
          <pc:docMk/>
          <pc:sldMk cId="2855324227" sldId="257"/>
        </pc:sldMkLst>
        <pc:graphicFrameChg chg="add del mod">
          <ac:chgData name="Thomas Stensitzki" userId="75cafe6b-2f2a-469b-85c4-eec3b9c972ba" providerId="ADAL" clId="{81A95A3F-591B-4915-9F30-386F1902D115}" dt="2022-06-03T06:51:52.448" v="15"/>
          <ac:graphicFrameMkLst>
            <pc:docMk/>
            <pc:sldMk cId="2855324227" sldId="257"/>
            <ac:graphicFrameMk id="3" creationId="{0FDE41B6-4C83-4347-8B81-DD50390DD070}"/>
          </ac:graphicFrameMkLst>
        </pc:graphicFrameChg>
        <pc:graphicFrameChg chg="mod modGraphic">
          <ac:chgData name="Thomas Stensitzki" userId="75cafe6b-2f2a-469b-85c4-eec3b9c972ba" providerId="ADAL" clId="{81A95A3F-591B-4915-9F30-386F1902D115}" dt="2022-06-08T11:52:17.145" v="936" actId="6549"/>
          <ac:graphicFrameMkLst>
            <pc:docMk/>
            <pc:sldMk cId="2855324227" sldId="257"/>
            <ac:graphicFrameMk id="6" creationId="{0F955DCC-462D-431D-BBDE-26F10687D590}"/>
          </ac:graphicFrameMkLst>
        </pc:graphicFrameChg>
      </pc:sldChg>
      <pc:sldChg chg="modSp mod">
        <pc:chgData name="Thomas Stensitzki" userId="75cafe6b-2f2a-469b-85c4-eec3b9c972ba" providerId="ADAL" clId="{81A95A3F-591B-4915-9F30-386F1902D115}" dt="2022-06-03T06:56:53.959" v="92" actId="20577"/>
        <pc:sldMkLst>
          <pc:docMk/>
          <pc:sldMk cId="3332792154" sldId="258"/>
        </pc:sldMkLst>
        <pc:spChg chg="mod">
          <ac:chgData name="Thomas Stensitzki" userId="75cafe6b-2f2a-469b-85c4-eec3b9c972ba" providerId="ADAL" clId="{81A95A3F-591B-4915-9F30-386F1902D115}" dt="2022-06-03T06:56:53.959" v="92" actId="20577"/>
          <ac:spMkLst>
            <pc:docMk/>
            <pc:sldMk cId="3332792154" sldId="258"/>
            <ac:spMk id="3" creationId="{3A5A44EB-7FB9-473A-8ED3-C49DDD2E65AB}"/>
          </ac:spMkLst>
        </pc:spChg>
      </pc:sldChg>
      <pc:sldChg chg="modSp mod">
        <pc:chgData name="Thomas Stensitzki" userId="75cafe6b-2f2a-469b-85c4-eec3b9c972ba" providerId="ADAL" clId="{81A95A3F-591B-4915-9F30-386F1902D115}" dt="2022-06-03T06:55:37.696" v="42" actId="20577"/>
        <pc:sldMkLst>
          <pc:docMk/>
          <pc:sldMk cId="2698998357" sldId="260"/>
        </pc:sldMkLst>
        <pc:spChg chg="mod">
          <ac:chgData name="Thomas Stensitzki" userId="75cafe6b-2f2a-469b-85c4-eec3b9c972ba" providerId="ADAL" clId="{81A95A3F-591B-4915-9F30-386F1902D115}" dt="2022-06-03T06:52:37.437" v="22"/>
          <ac:spMkLst>
            <pc:docMk/>
            <pc:sldMk cId="2698998357" sldId="260"/>
            <ac:spMk id="4" creationId="{F3A15CBD-C746-44A3-A4F0-4898CE2F02E6}"/>
          </ac:spMkLst>
        </pc:spChg>
        <pc:spChg chg="mod">
          <ac:chgData name="Thomas Stensitzki" userId="75cafe6b-2f2a-469b-85c4-eec3b9c972ba" providerId="ADAL" clId="{81A95A3F-591B-4915-9F30-386F1902D115}" dt="2022-06-03T06:55:37.696" v="42" actId="20577"/>
          <ac:spMkLst>
            <pc:docMk/>
            <pc:sldMk cId="2698998357" sldId="260"/>
            <ac:spMk id="5" creationId="{F3459BE7-1731-4733-A912-12977C68CFD6}"/>
          </ac:spMkLst>
        </pc:spChg>
      </pc:sldChg>
      <pc:sldChg chg="modSp add mod">
        <pc:chgData name="Thomas Stensitzki" userId="75cafe6b-2f2a-469b-85c4-eec3b9c972ba" providerId="ADAL" clId="{81A95A3F-591B-4915-9F30-386F1902D115}" dt="2022-06-03T08:07:25.694" v="98" actId="6549"/>
        <pc:sldMkLst>
          <pc:docMk/>
          <pc:sldMk cId="4007670073" sldId="268"/>
        </pc:sldMkLst>
        <pc:spChg chg="mod">
          <ac:chgData name="Thomas Stensitzki" userId="75cafe6b-2f2a-469b-85c4-eec3b9c972ba" providerId="ADAL" clId="{81A95A3F-591B-4915-9F30-386F1902D115}" dt="2022-06-03T08:07:25.694" v="98" actId="6549"/>
          <ac:spMkLst>
            <pc:docMk/>
            <pc:sldMk cId="4007670073" sldId="268"/>
            <ac:spMk id="5" creationId="{F3459BE7-1731-4733-A912-12977C68CFD6}"/>
          </ac:spMkLst>
        </pc:spChg>
      </pc:sldChg>
      <pc:sldChg chg="modSp mod modShow">
        <pc:chgData name="Thomas Stensitzki" userId="75cafe6b-2f2a-469b-85c4-eec3b9c972ba" providerId="ADAL" clId="{81A95A3F-591B-4915-9F30-386F1902D115}" dt="2022-06-08T09:48:57.384" v="729" actId="729"/>
        <pc:sldMkLst>
          <pc:docMk/>
          <pc:sldMk cId="2721051844" sldId="269"/>
        </pc:sldMkLst>
        <pc:spChg chg="mod">
          <ac:chgData name="Thomas Stensitzki" userId="75cafe6b-2f2a-469b-85c4-eec3b9c972ba" providerId="ADAL" clId="{81A95A3F-591B-4915-9F30-386F1902D115}" dt="2022-06-08T09:48:41.339" v="728" actId="6549"/>
          <ac:spMkLst>
            <pc:docMk/>
            <pc:sldMk cId="2721051844" sldId="269"/>
            <ac:spMk id="5" creationId="{C24DACB5-1BEC-4C86-9652-BAFD8DE56FEF}"/>
          </ac:spMkLst>
        </pc:spChg>
      </pc:sldChg>
      <pc:sldChg chg="del">
        <pc:chgData name="Thomas Stensitzki" userId="75cafe6b-2f2a-469b-85c4-eec3b9c972ba" providerId="ADAL" clId="{81A95A3F-591B-4915-9F30-386F1902D115}" dt="2022-06-08T11:51:42.055" v="921" actId="2696"/>
        <pc:sldMkLst>
          <pc:docMk/>
          <pc:sldMk cId="726195275" sldId="313"/>
        </pc:sldMkLst>
      </pc:sldChg>
      <pc:sldChg chg="modSp add mod">
        <pc:chgData name="Thomas Stensitzki" userId="75cafe6b-2f2a-469b-85c4-eec3b9c972ba" providerId="ADAL" clId="{81A95A3F-591B-4915-9F30-386F1902D115}" dt="2022-06-08T11:52:31.527" v="938" actId="14100"/>
        <pc:sldMkLst>
          <pc:docMk/>
          <pc:sldMk cId="2227487991" sldId="378"/>
        </pc:sldMkLst>
        <pc:spChg chg="mod">
          <ac:chgData name="Thomas Stensitzki" userId="75cafe6b-2f2a-469b-85c4-eec3b9c972ba" providerId="ADAL" clId="{81A95A3F-591B-4915-9F30-386F1902D115}" dt="2022-06-08T11:52:31.527" v="938" actId="14100"/>
          <ac:spMkLst>
            <pc:docMk/>
            <pc:sldMk cId="2227487991" sldId="378"/>
            <ac:spMk id="2" creationId="{909DC09D-B9A6-4493-9A72-1CA7ECB1F5CA}"/>
          </ac:spMkLst>
        </pc:spChg>
        <pc:spChg chg="mod">
          <ac:chgData name="Thomas Stensitzki" userId="75cafe6b-2f2a-469b-85c4-eec3b9c972ba" providerId="ADAL" clId="{81A95A3F-591B-4915-9F30-386F1902D115}" dt="2022-06-03T11:39:31.534" v="230"/>
          <ac:spMkLst>
            <pc:docMk/>
            <pc:sldMk cId="2227487991" sldId="378"/>
            <ac:spMk id="5" creationId="{C24DACB5-1BEC-4C86-9652-BAFD8DE56FEF}"/>
          </ac:spMkLst>
        </pc:spChg>
      </pc:sldChg>
      <pc:sldChg chg="modSp add mod">
        <pc:chgData name="Thomas Stensitzki" userId="75cafe6b-2f2a-469b-85c4-eec3b9c972ba" providerId="ADAL" clId="{81A95A3F-591B-4915-9F30-386F1902D115}" dt="2022-06-08T12:01:00.068" v="1223" actId="14100"/>
        <pc:sldMkLst>
          <pc:docMk/>
          <pc:sldMk cId="3797754622" sldId="515"/>
        </pc:sldMkLst>
        <pc:spChg chg="mod">
          <ac:chgData name="Thomas Stensitzki" userId="75cafe6b-2f2a-469b-85c4-eec3b9c972ba" providerId="ADAL" clId="{81A95A3F-591B-4915-9F30-386F1902D115}" dt="2022-06-08T12:01:00.068" v="1223" actId="14100"/>
          <ac:spMkLst>
            <pc:docMk/>
            <pc:sldMk cId="3797754622" sldId="515"/>
            <ac:spMk id="2" creationId="{909DC09D-B9A6-4493-9A72-1CA7ECB1F5CA}"/>
          </ac:spMkLst>
        </pc:spChg>
        <pc:spChg chg="mod">
          <ac:chgData name="Thomas Stensitzki" userId="75cafe6b-2f2a-469b-85c4-eec3b9c972ba" providerId="ADAL" clId="{81A95A3F-591B-4915-9F30-386F1902D115}" dt="2022-06-08T11:53:45.243" v="945" actId="108"/>
          <ac:spMkLst>
            <pc:docMk/>
            <pc:sldMk cId="3797754622" sldId="515"/>
            <ac:spMk id="5" creationId="{C24DACB5-1BEC-4C86-9652-BAFD8DE56FEF}"/>
          </ac:spMkLst>
        </pc:spChg>
      </pc:sldChg>
      <pc:sldChg chg="modSp mod modShow">
        <pc:chgData name="Thomas Stensitzki" userId="75cafe6b-2f2a-469b-85c4-eec3b9c972ba" providerId="ADAL" clId="{81A95A3F-591B-4915-9F30-386F1902D115}" dt="2022-06-08T09:55:01.520" v="920" actId="6549"/>
        <pc:sldMkLst>
          <pc:docMk/>
          <pc:sldMk cId="2791634409" sldId="560"/>
        </pc:sldMkLst>
        <pc:spChg chg="mod">
          <ac:chgData name="Thomas Stensitzki" userId="75cafe6b-2f2a-469b-85c4-eec3b9c972ba" providerId="ADAL" clId="{81A95A3F-591B-4915-9F30-386F1902D115}" dt="2022-06-08T09:55:01.520" v="920" actId="6549"/>
          <ac:spMkLst>
            <pc:docMk/>
            <pc:sldMk cId="2791634409" sldId="560"/>
            <ac:spMk id="5" creationId="{E4B561B6-C0CF-43D8-8BC7-F305B96C47C8}"/>
          </ac:spMkLst>
        </pc:spChg>
      </pc:sldChg>
      <pc:sldChg chg="modSp mod">
        <pc:chgData name="Thomas Stensitzki" userId="75cafe6b-2f2a-469b-85c4-eec3b9c972ba" providerId="ADAL" clId="{81A95A3F-591B-4915-9F30-386F1902D115}" dt="2022-06-08T09:54:34.169" v="918" actId="2165"/>
        <pc:sldMkLst>
          <pc:docMk/>
          <pc:sldMk cId="1728515471" sldId="561"/>
        </pc:sldMkLst>
        <pc:graphicFrameChg chg="modGraphic">
          <ac:chgData name="Thomas Stensitzki" userId="75cafe6b-2f2a-469b-85c4-eec3b9c972ba" providerId="ADAL" clId="{81A95A3F-591B-4915-9F30-386F1902D115}" dt="2022-06-08T09:54:34.169" v="918" actId="2165"/>
          <ac:graphicFrameMkLst>
            <pc:docMk/>
            <pc:sldMk cId="1728515471" sldId="561"/>
            <ac:graphicFrameMk id="4" creationId="{55EDB790-67BC-42E5-B64A-5647620B8383}"/>
          </ac:graphicFrameMkLst>
        </pc:graphicFrameChg>
      </pc:sldChg>
      <pc:sldChg chg="addSp delSp modSp add mod modAnim">
        <pc:chgData name="Thomas Stensitzki" userId="75cafe6b-2f2a-469b-85c4-eec3b9c972ba" providerId="ADAL" clId="{81A95A3F-591B-4915-9F30-386F1902D115}" dt="2022-06-08T12:06:23.419" v="1287"/>
        <pc:sldMkLst>
          <pc:docMk/>
          <pc:sldMk cId="4104137776" sldId="567"/>
        </pc:sldMkLst>
        <pc:spChg chg="mod">
          <ac:chgData name="Thomas Stensitzki" userId="75cafe6b-2f2a-469b-85c4-eec3b9c972ba" providerId="ADAL" clId="{81A95A3F-591B-4915-9F30-386F1902D115}" dt="2022-06-08T09:28:51.060" v="508" actId="20577"/>
          <ac:spMkLst>
            <pc:docMk/>
            <pc:sldMk cId="4104137776" sldId="567"/>
            <ac:spMk id="2" creationId="{EC46AD28-746E-4246-884F-4DAE24C62042}"/>
          </ac:spMkLst>
        </pc:spChg>
        <pc:spChg chg="del">
          <ac:chgData name="Thomas Stensitzki" userId="75cafe6b-2f2a-469b-85c4-eec3b9c972ba" providerId="ADAL" clId="{81A95A3F-591B-4915-9F30-386F1902D115}" dt="2022-06-08T09:27:38.782" v="489" actId="478"/>
          <ac:spMkLst>
            <pc:docMk/>
            <pc:sldMk cId="4104137776" sldId="567"/>
            <ac:spMk id="3" creationId="{4B4B1B02-433C-4551-A25C-9193BE90D3D9}"/>
          </ac:spMkLst>
        </pc:spChg>
        <pc:spChg chg="add del mod">
          <ac:chgData name="Thomas Stensitzki" userId="75cafe6b-2f2a-469b-85c4-eec3b9c972ba" providerId="ADAL" clId="{81A95A3F-591B-4915-9F30-386F1902D115}" dt="2022-06-08T09:27:40.389" v="490" actId="478"/>
          <ac:spMkLst>
            <pc:docMk/>
            <pc:sldMk cId="4104137776" sldId="567"/>
            <ac:spMk id="5" creationId="{48C297EC-2B9E-4333-A9F4-8BF60106481A}"/>
          </ac:spMkLst>
        </pc:spChg>
        <pc:picChg chg="add mod">
          <ac:chgData name="Thomas Stensitzki" userId="75cafe6b-2f2a-469b-85c4-eec3b9c972ba" providerId="ADAL" clId="{81A95A3F-591B-4915-9F30-386F1902D115}" dt="2022-06-08T09:27:57.597" v="494" actId="1440"/>
          <ac:picMkLst>
            <pc:docMk/>
            <pc:sldMk cId="4104137776" sldId="567"/>
            <ac:picMk id="6146" creationId="{BEB228D0-D6CB-482E-981C-8BBE1B427912}"/>
          </ac:picMkLst>
        </pc:picChg>
        <pc:picChg chg="add mod">
          <ac:chgData name="Thomas Stensitzki" userId="75cafe6b-2f2a-469b-85c4-eec3b9c972ba" providerId="ADAL" clId="{81A95A3F-591B-4915-9F30-386F1902D115}" dt="2022-06-08T09:28:28.791" v="500" actId="1440"/>
          <ac:picMkLst>
            <pc:docMk/>
            <pc:sldMk cId="4104137776" sldId="567"/>
            <ac:picMk id="6148" creationId="{C73D027B-CA10-4632-9BCD-2A04C1CA1660}"/>
          </ac:picMkLst>
        </pc:picChg>
      </pc:sldChg>
      <pc:sldChg chg="addSp delSp modSp add mod">
        <pc:chgData name="Thomas Stensitzki" userId="75cafe6b-2f2a-469b-85c4-eec3b9c972ba" providerId="ADAL" clId="{81A95A3F-591B-4915-9F30-386F1902D115}" dt="2022-06-03T11:30:37.006" v="156" actId="1440"/>
        <pc:sldMkLst>
          <pc:docMk/>
          <pc:sldMk cId="2374589673" sldId="568"/>
        </pc:sldMkLst>
        <pc:spChg chg="mod">
          <ac:chgData name="Thomas Stensitzki" userId="75cafe6b-2f2a-469b-85c4-eec3b9c972ba" providerId="ADAL" clId="{81A95A3F-591B-4915-9F30-386F1902D115}" dt="2022-06-03T11:29:35.772" v="144"/>
          <ac:spMkLst>
            <pc:docMk/>
            <pc:sldMk cId="2374589673" sldId="568"/>
            <ac:spMk id="2" creationId="{6A814F1C-A68B-4C48-BFC7-E0C8475DD978}"/>
          </ac:spMkLst>
        </pc:spChg>
        <pc:spChg chg="del">
          <ac:chgData name="Thomas Stensitzki" userId="75cafe6b-2f2a-469b-85c4-eec3b9c972ba" providerId="ADAL" clId="{81A95A3F-591B-4915-9F30-386F1902D115}" dt="2022-06-03T11:29:51.567" v="147" actId="478"/>
          <ac:spMkLst>
            <pc:docMk/>
            <pc:sldMk cId="2374589673" sldId="568"/>
            <ac:spMk id="3" creationId="{4FF3BEF0-B65A-4D8F-9E68-52DE5DDDED8D}"/>
          </ac:spMkLst>
        </pc:spChg>
        <pc:spChg chg="add del mod">
          <ac:chgData name="Thomas Stensitzki" userId="75cafe6b-2f2a-469b-85c4-eec3b9c972ba" providerId="ADAL" clId="{81A95A3F-591B-4915-9F30-386F1902D115}" dt="2022-06-03T11:29:55.779" v="148" actId="478"/>
          <ac:spMkLst>
            <pc:docMk/>
            <pc:sldMk cId="2374589673" sldId="568"/>
            <ac:spMk id="5" creationId="{F79B5E16-C6BF-4590-87B9-58851FA321EE}"/>
          </ac:spMkLst>
        </pc:spChg>
        <pc:spChg chg="add del">
          <ac:chgData name="Thomas Stensitzki" userId="75cafe6b-2f2a-469b-85c4-eec3b9c972ba" providerId="ADAL" clId="{81A95A3F-591B-4915-9F30-386F1902D115}" dt="2022-06-03T11:30:06.252" v="150" actId="22"/>
          <ac:spMkLst>
            <pc:docMk/>
            <pc:sldMk cId="2374589673" sldId="568"/>
            <ac:spMk id="7" creationId="{0651B3DC-AA07-49A2-927C-68EFF9647093}"/>
          </ac:spMkLst>
        </pc:spChg>
        <pc:spChg chg="add del">
          <ac:chgData name="Thomas Stensitzki" userId="75cafe6b-2f2a-469b-85c4-eec3b9c972ba" providerId="ADAL" clId="{81A95A3F-591B-4915-9F30-386F1902D115}" dt="2022-06-03T11:30:08.929" v="152" actId="22"/>
          <ac:spMkLst>
            <pc:docMk/>
            <pc:sldMk cId="2374589673" sldId="568"/>
            <ac:spMk id="9" creationId="{9610EA3F-6549-43B0-B568-48C5F46C30EC}"/>
          </ac:spMkLst>
        </pc:spChg>
        <pc:picChg chg="add mod">
          <ac:chgData name="Thomas Stensitzki" userId="75cafe6b-2f2a-469b-85c4-eec3b9c972ba" providerId="ADAL" clId="{81A95A3F-591B-4915-9F30-386F1902D115}" dt="2022-06-03T11:30:37.006" v="156" actId="1440"/>
          <ac:picMkLst>
            <pc:docMk/>
            <pc:sldMk cId="2374589673" sldId="568"/>
            <ac:picMk id="1026" creationId="{6FE7E3D1-09D6-45A9-838F-43916C75E2D9}"/>
          </ac:picMkLst>
        </pc:picChg>
      </pc:sldChg>
      <pc:sldChg chg="del">
        <pc:chgData name="Thomas Stensitzki" userId="75cafe6b-2f2a-469b-85c4-eec3b9c972ba" providerId="ADAL" clId="{81A95A3F-591B-4915-9F30-386F1902D115}" dt="2022-06-03T06:55:47.692" v="43" actId="47"/>
        <pc:sldMkLst>
          <pc:docMk/>
          <pc:sldMk cId="2363331893" sldId="591"/>
        </pc:sldMkLst>
      </pc:sldChg>
      <pc:sldChg chg="del">
        <pc:chgData name="Thomas Stensitzki" userId="75cafe6b-2f2a-469b-85c4-eec3b9c972ba" providerId="ADAL" clId="{81A95A3F-591B-4915-9F30-386F1902D115}" dt="2022-06-03T06:55:47.692" v="43" actId="47"/>
        <pc:sldMkLst>
          <pc:docMk/>
          <pc:sldMk cId="3853557247" sldId="592"/>
        </pc:sldMkLst>
      </pc:sldChg>
      <pc:sldChg chg="del">
        <pc:chgData name="Thomas Stensitzki" userId="75cafe6b-2f2a-469b-85c4-eec3b9c972ba" providerId="ADAL" clId="{81A95A3F-591B-4915-9F30-386F1902D115}" dt="2022-06-03T06:55:47.692" v="43" actId="47"/>
        <pc:sldMkLst>
          <pc:docMk/>
          <pc:sldMk cId="2298534792" sldId="593"/>
        </pc:sldMkLst>
      </pc:sldChg>
      <pc:sldChg chg="del">
        <pc:chgData name="Thomas Stensitzki" userId="75cafe6b-2f2a-469b-85c4-eec3b9c972ba" providerId="ADAL" clId="{81A95A3F-591B-4915-9F30-386F1902D115}" dt="2022-06-03T06:55:47.692" v="43" actId="47"/>
        <pc:sldMkLst>
          <pc:docMk/>
          <pc:sldMk cId="166762484" sldId="594"/>
        </pc:sldMkLst>
      </pc:sldChg>
      <pc:sldChg chg="del">
        <pc:chgData name="Thomas Stensitzki" userId="75cafe6b-2f2a-469b-85c4-eec3b9c972ba" providerId="ADAL" clId="{81A95A3F-591B-4915-9F30-386F1902D115}" dt="2022-06-03T06:55:47.692" v="43" actId="47"/>
        <pc:sldMkLst>
          <pc:docMk/>
          <pc:sldMk cId="2680249750" sldId="595"/>
        </pc:sldMkLst>
      </pc:sldChg>
      <pc:sldChg chg="del">
        <pc:chgData name="Thomas Stensitzki" userId="75cafe6b-2f2a-469b-85c4-eec3b9c972ba" providerId="ADAL" clId="{81A95A3F-591B-4915-9F30-386F1902D115}" dt="2022-06-03T06:55:47.692" v="43" actId="47"/>
        <pc:sldMkLst>
          <pc:docMk/>
          <pc:sldMk cId="1109434383" sldId="596"/>
        </pc:sldMkLst>
      </pc:sldChg>
      <pc:sldChg chg="del">
        <pc:chgData name="Thomas Stensitzki" userId="75cafe6b-2f2a-469b-85c4-eec3b9c972ba" providerId="ADAL" clId="{81A95A3F-591B-4915-9F30-386F1902D115}" dt="2022-06-03T06:55:47.692" v="43" actId="47"/>
        <pc:sldMkLst>
          <pc:docMk/>
          <pc:sldMk cId="2098288780" sldId="597"/>
        </pc:sldMkLst>
      </pc:sldChg>
      <pc:sldChg chg="del">
        <pc:chgData name="Thomas Stensitzki" userId="75cafe6b-2f2a-469b-85c4-eec3b9c972ba" providerId="ADAL" clId="{81A95A3F-591B-4915-9F30-386F1902D115}" dt="2022-06-03T06:55:47.692" v="43" actId="47"/>
        <pc:sldMkLst>
          <pc:docMk/>
          <pc:sldMk cId="2122712351" sldId="598"/>
        </pc:sldMkLst>
      </pc:sldChg>
      <pc:sldChg chg="del">
        <pc:chgData name="Thomas Stensitzki" userId="75cafe6b-2f2a-469b-85c4-eec3b9c972ba" providerId="ADAL" clId="{81A95A3F-591B-4915-9F30-386F1902D115}" dt="2022-06-03T06:55:47.692" v="43" actId="47"/>
        <pc:sldMkLst>
          <pc:docMk/>
          <pc:sldMk cId="1914820320" sldId="599"/>
        </pc:sldMkLst>
      </pc:sldChg>
      <pc:sldChg chg="del">
        <pc:chgData name="Thomas Stensitzki" userId="75cafe6b-2f2a-469b-85c4-eec3b9c972ba" providerId="ADAL" clId="{81A95A3F-591B-4915-9F30-386F1902D115}" dt="2022-06-03T06:55:47.692" v="43" actId="47"/>
        <pc:sldMkLst>
          <pc:docMk/>
          <pc:sldMk cId="3219683340" sldId="600"/>
        </pc:sldMkLst>
      </pc:sldChg>
      <pc:sldChg chg="del">
        <pc:chgData name="Thomas Stensitzki" userId="75cafe6b-2f2a-469b-85c4-eec3b9c972ba" providerId="ADAL" clId="{81A95A3F-591B-4915-9F30-386F1902D115}" dt="2022-06-03T06:55:47.692" v="43" actId="47"/>
        <pc:sldMkLst>
          <pc:docMk/>
          <pc:sldMk cId="1699378225" sldId="601"/>
        </pc:sldMkLst>
      </pc:sldChg>
      <pc:sldChg chg="del">
        <pc:chgData name="Thomas Stensitzki" userId="75cafe6b-2f2a-469b-85c4-eec3b9c972ba" providerId="ADAL" clId="{81A95A3F-591B-4915-9F30-386F1902D115}" dt="2022-06-03T06:55:47.692" v="43" actId="47"/>
        <pc:sldMkLst>
          <pc:docMk/>
          <pc:sldMk cId="131291966" sldId="602"/>
        </pc:sldMkLst>
      </pc:sldChg>
      <pc:sldChg chg="del">
        <pc:chgData name="Thomas Stensitzki" userId="75cafe6b-2f2a-469b-85c4-eec3b9c972ba" providerId="ADAL" clId="{81A95A3F-591B-4915-9F30-386F1902D115}" dt="2022-06-03T06:55:47.692" v="43" actId="47"/>
        <pc:sldMkLst>
          <pc:docMk/>
          <pc:sldMk cId="3760544869" sldId="603"/>
        </pc:sldMkLst>
      </pc:sldChg>
      <pc:sldChg chg="del">
        <pc:chgData name="Thomas Stensitzki" userId="75cafe6b-2f2a-469b-85c4-eec3b9c972ba" providerId="ADAL" clId="{81A95A3F-591B-4915-9F30-386F1902D115}" dt="2022-06-03T06:55:47.692" v="43" actId="47"/>
        <pc:sldMkLst>
          <pc:docMk/>
          <pc:sldMk cId="4098706796" sldId="604"/>
        </pc:sldMkLst>
      </pc:sldChg>
      <pc:sldChg chg="del">
        <pc:chgData name="Thomas Stensitzki" userId="75cafe6b-2f2a-469b-85c4-eec3b9c972ba" providerId="ADAL" clId="{81A95A3F-591B-4915-9F30-386F1902D115}" dt="2022-06-03T06:55:47.692" v="43" actId="47"/>
        <pc:sldMkLst>
          <pc:docMk/>
          <pc:sldMk cId="4145245121" sldId="605"/>
        </pc:sldMkLst>
      </pc:sldChg>
      <pc:sldChg chg="modSp mod ord modShow">
        <pc:chgData name="Thomas Stensitzki" userId="75cafe6b-2f2a-469b-85c4-eec3b9c972ba" providerId="ADAL" clId="{81A95A3F-591B-4915-9F30-386F1902D115}" dt="2022-06-03T08:08:13.814" v="102" actId="729"/>
        <pc:sldMkLst>
          <pc:docMk/>
          <pc:sldMk cId="1856989855" sldId="606"/>
        </pc:sldMkLst>
        <pc:spChg chg="mod">
          <ac:chgData name="Thomas Stensitzki" userId="75cafe6b-2f2a-469b-85c4-eec3b9c972ba" providerId="ADAL" clId="{81A95A3F-591B-4915-9F30-386F1902D115}" dt="2022-06-03T06:56:00.809" v="49" actId="20577"/>
          <ac:spMkLst>
            <pc:docMk/>
            <pc:sldMk cId="1856989855" sldId="606"/>
            <ac:spMk id="4" creationId="{F3A15CBD-C746-44A3-A4F0-4898CE2F02E6}"/>
          </ac:spMkLst>
        </pc:spChg>
        <pc:spChg chg="mod">
          <ac:chgData name="Thomas Stensitzki" userId="75cafe6b-2f2a-469b-85c4-eec3b9c972ba" providerId="ADAL" clId="{81A95A3F-591B-4915-9F30-386F1902D115}" dt="2022-06-03T06:56:08.400" v="58" actId="20577"/>
          <ac:spMkLst>
            <pc:docMk/>
            <pc:sldMk cId="1856989855" sldId="606"/>
            <ac:spMk id="5" creationId="{F3459BE7-1731-4733-A912-12977C68CFD6}"/>
          </ac:spMkLst>
        </pc:spChg>
      </pc:sldChg>
      <pc:sldChg chg="delSp new mod setBg modClrScheme chgLayout">
        <pc:chgData name="Thomas Stensitzki" userId="75cafe6b-2f2a-469b-85c4-eec3b9c972ba" providerId="ADAL" clId="{81A95A3F-591B-4915-9F30-386F1902D115}" dt="2022-06-03T08:08:51.541" v="105"/>
        <pc:sldMkLst>
          <pc:docMk/>
          <pc:sldMk cId="1051205786" sldId="607"/>
        </pc:sldMkLst>
        <pc:spChg chg="del">
          <ac:chgData name="Thomas Stensitzki" userId="75cafe6b-2f2a-469b-85c4-eec3b9c972ba" providerId="ADAL" clId="{81A95A3F-591B-4915-9F30-386F1902D115}" dt="2022-06-03T08:08:34.030" v="104" actId="700"/>
          <ac:spMkLst>
            <pc:docMk/>
            <pc:sldMk cId="1051205786" sldId="607"/>
            <ac:spMk id="2" creationId="{D0285D58-6AFE-42DB-9946-597F2E228E08}"/>
          </ac:spMkLst>
        </pc:spChg>
        <pc:spChg chg="del">
          <ac:chgData name="Thomas Stensitzki" userId="75cafe6b-2f2a-469b-85c4-eec3b9c972ba" providerId="ADAL" clId="{81A95A3F-591B-4915-9F30-386F1902D115}" dt="2022-06-03T08:08:34.030" v="104" actId="700"/>
          <ac:spMkLst>
            <pc:docMk/>
            <pc:sldMk cId="1051205786" sldId="607"/>
            <ac:spMk id="3" creationId="{6F2033C4-8B31-4F8B-A36D-3EEAB5A9E84B}"/>
          </ac:spMkLst>
        </pc:spChg>
      </pc:sldChg>
      <pc:sldChg chg="del">
        <pc:chgData name="Thomas Stensitzki" userId="75cafe6b-2f2a-469b-85c4-eec3b9c972ba" providerId="ADAL" clId="{81A95A3F-591B-4915-9F30-386F1902D115}" dt="2022-06-03T06:55:47.692" v="43" actId="47"/>
        <pc:sldMkLst>
          <pc:docMk/>
          <pc:sldMk cId="2410402961" sldId="607"/>
        </pc:sldMkLst>
      </pc:sldChg>
      <pc:sldChg chg="addSp modSp add mod modClrScheme chgLayout">
        <pc:chgData name="Thomas Stensitzki" userId="75cafe6b-2f2a-469b-85c4-eec3b9c972ba" providerId="ADAL" clId="{81A95A3F-591B-4915-9F30-386F1902D115}" dt="2022-06-03T11:37:24.781" v="223" actId="113"/>
        <pc:sldMkLst>
          <pc:docMk/>
          <pc:sldMk cId="1133784921" sldId="608"/>
        </pc:sldMkLst>
        <pc:spChg chg="mod ord">
          <ac:chgData name="Thomas Stensitzki" userId="75cafe6b-2f2a-469b-85c4-eec3b9c972ba" providerId="ADAL" clId="{81A95A3F-591B-4915-9F30-386F1902D115}" dt="2022-06-03T11:37:03.975" v="218" actId="700"/>
          <ac:spMkLst>
            <pc:docMk/>
            <pc:sldMk cId="1133784921" sldId="608"/>
            <ac:spMk id="2" creationId="{6A814F1C-A68B-4C48-BFC7-E0C8475DD978}"/>
          </ac:spMkLst>
        </pc:spChg>
        <pc:spChg chg="mod ord">
          <ac:chgData name="Thomas Stensitzki" userId="75cafe6b-2f2a-469b-85c4-eec3b9c972ba" providerId="ADAL" clId="{81A95A3F-591B-4915-9F30-386F1902D115}" dt="2022-06-03T11:37:22.597" v="222" actId="113"/>
          <ac:spMkLst>
            <pc:docMk/>
            <pc:sldMk cId="1133784921" sldId="608"/>
            <ac:spMk id="3" creationId="{4FF3BEF0-B65A-4D8F-9E68-52DE5DDDED8D}"/>
          </ac:spMkLst>
        </pc:spChg>
        <pc:spChg chg="add mod ord">
          <ac:chgData name="Thomas Stensitzki" userId="75cafe6b-2f2a-469b-85c4-eec3b9c972ba" providerId="ADAL" clId="{81A95A3F-591B-4915-9F30-386F1902D115}" dt="2022-06-03T11:37:24.781" v="223" actId="113"/>
          <ac:spMkLst>
            <pc:docMk/>
            <pc:sldMk cId="1133784921" sldId="608"/>
            <ac:spMk id="4" creationId="{A0750C0A-B9C2-4DE9-942B-7701A11CD55C}"/>
          </ac:spMkLst>
        </pc:spChg>
      </pc:sldChg>
      <pc:sldChg chg="addSp delSp modSp new mod modNotesTx">
        <pc:chgData name="Thomas Stensitzki" userId="75cafe6b-2f2a-469b-85c4-eec3b9c972ba" providerId="ADAL" clId="{81A95A3F-591B-4915-9F30-386F1902D115}" dt="2022-06-03T11:32:23.977" v="168" actId="20577"/>
        <pc:sldMkLst>
          <pc:docMk/>
          <pc:sldMk cId="194201490" sldId="609"/>
        </pc:sldMkLst>
        <pc:spChg chg="mod">
          <ac:chgData name="Thomas Stensitzki" userId="75cafe6b-2f2a-469b-85c4-eec3b9c972ba" providerId="ADAL" clId="{81A95A3F-591B-4915-9F30-386F1902D115}" dt="2022-06-03T11:31:27.442" v="160"/>
          <ac:spMkLst>
            <pc:docMk/>
            <pc:sldMk cId="194201490" sldId="609"/>
            <ac:spMk id="2" creationId="{693BA138-EC57-4528-958B-434CE6DBB9CF}"/>
          </ac:spMkLst>
        </pc:spChg>
        <pc:picChg chg="add del">
          <ac:chgData name="Thomas Stensitzki" userId="75cafe6b-2f2a-469b-85c4-eec3b9c972ba" providerId="ADAL" clId="{81A95A3F-591B-4915-9F30-386F1902D115}" dt="2022-06-03T11:31:20.411" v="159"/>
          <ac:picMkLst>
            <pc:docMk/>
            <pc:sldMk cId="194201490" sldId="609"/>
            <ac:picMk id="2050" creationId="{14099719-B5ED-4364-AF7D-AE44FF30492B}"/>
          </ac:picMkLst>
        </pc:picChg>
        <pc:picChg chg="add mod">
          <ac:chgData name="Thomas Stensitzki" userId="75cafe6b-2f2a-469b-85c4-eec3b9c972ba" providerId="ADAL" clId="{81A95A3F-591B-4915-9F30-386F1902D115}" dt="2022-06-03T11:32:04.488" v="166" actId="1440"/>
          <ac:picMkLst>
            <pc:docMk/>
            <pc:sldMk cId="194201490" sldId="609"/>
            <ac:picMk id="2052" creationId="{9C95C39C-F5E5-4568-9B95-B8ABA61C8713}"/>
          </ac:picMkLst>
        </pc:picChg>
      </pc:sldChg>
      <pc:sldChg chg="addSp modSp new mod modNotesTx">
        <pc:chgData name="Thomas Stensitzki" userId="75cafe6b-2f2a-469b-85c4-eec3b9c972ba" providerId="ADAL" clId="{81A95A3F-591B-4915-9F30-386F1902D115}" dt="2022-06-03T11:35:17.087" v="204"/>
        <pc:sldMkLst>
          <pc:docMk/>
          <pc:sldMk cId="467678945" sldId="610"/>
        </pc:sldMkLst>
        <pc:spChg chg="mod">
          <ac:chgData name="Thomas Stensitzki" userId="75cafe6b-2f2a-469b-85c4-eec3b9c972ba" providerId="ADAL" clId="{81A95A3F-591B-4915-9F30-386F1902D115}" dt="2022-06-03T11:33:43.464" v="196"/>
          <ac:spMkLst>
            <pc:docMk/>
            <pc:sldMk cId="467678945" sldId="610"/>
            <ac:spMk id="2" creationId="{6E86C0DC-AEFC-4349-8AFA-C52ED533BD49}"/>
          </ac:spMkLst>
        </pc:spChg>
        <pc:spChg chg="mod">
          <ac:chgData name="Thomas Stensitzki" userId="75cafe6b-2f2a-469b-85c4-eec3b9c972ba" providerId="ADAL" clId="{81A95A3F-591B-4915-9F30-386F1902D115}" dt="2022-06-03T11:35:17.087" v="204"/>
          <ac:spMkLst>
            <pc:docMk/>
            <pc:sldMk cId="467678945" sldId="610"/>
            <ac:spMk id="3" creationId="{005936FB-5894-4392-9AEF-E720A753643C}"/>
          </ac:spMkLst>
        </pc:spChg>
        <pc:picChg chg="add mod">
          <ac:chgData name="Thomas Stensitzki" userId="75cafe6b-2f2a-469b-85c4-eec3b9c972ba" providerId="ADAL" clId="{81A95A3F-591B-4915-9F30-386F1902D115}" dt="2022-06-03T11:34:10.184" v="201" actId="1076"/>
          <ac:picMkLst>
            <pc:docMk/>
            <pc:sldMk cId="467678945" sldId="610"/>
            <ac:picMk id="3074" creationId="{BB654E81-73F6-4A1A-865A-04747296D430}"/>
          </ac:picMkLst>
        </pc:picChg>
      </pc:sldChg>
      <pc:sldChg chg="addSp delSp modSp new mod modClrScheme modAnim chgLayout">
        <pc:chgData name="Thomas Stensitzki" userId="75cafe6b-2f2a-469b-85c4-eec3b9c972ba" providerId="ADAL" clId="{81A95A3F-591B-4915-9F30-386F1902D115}" dt="2022-06-08T12:02:51.906" v="1248"/>
        <pc:sldMkLst>
          <pc:docMk/>
          <pc:sldMk cId="2119466313" sldId="611"/>
        </pc:sldMkLst>
        <pc:spChg chg="del mod ord">
          <ac:chgData name="Thomas Stensitzki" userId="75cafe6b-2f2a-469b-85c4-eec3b9c972ba" providerId="ADAL" clId="{81A95A3F-591B-4915-9F30-386F1902D115}" dt="2022-06-03T11:38:26.497" v="227" actId="700"/>
          <ac:spMkLst>
            <pc:docMk/>
            <pc:sldMk cId="2119466313" sldId="611"/>
            <ac:spMk id="2" creationId="{05FB6BB9-E0CA-4663-BF2F-1BA676339161}"/>
          </ac:spMkLst>
        </pc:spChg>
        <pc:spChg chg="del">
          <ac:chgData name="Thomas Stensitzki" userId="75cafe6b-2f2a-469b-85c4-eec3b9c972ba" providerId="ADAL" clId="{81A95A3F-591B-4915-9F30-386F1902D115}" dt="2022-06-03T11:38:26.497" v="227" actId="700"/>
          <ac:spMkLst>
            <pc:docMk/>
            <pc:sldMk cId="2119466313" sldId="611"/>
            <ac:spMk id="3" creationId="{62940AA6-9BCC-4371-B675-F7573118EB0F}"/>
          </ac:spMkLst>
        </pc:spChg>
        <pc:spChg chg="del">
          <ac:chgData name="Thomas Stensitzki" userId="75cafe6b-2f2a-469b-85c4-eec3b9c972ba" providerId="ADAL" clId="{81A95A3F-591B-4915-9F30-386F1902D115}" dt="2022-06-03T11:38:26.497" v="227" actId="700"/>
          <ac:spMkLst>
            <pc:docMk/>
            <pc:sldMk cId="2119466313" sldId="611"/>
            <ac:spMk id="4" creationId="{1EBD7387-038C-41BA-BF75-5A64D82412BB}"/>
          </ac:spMkLst>
        </pc:spChg>
        <pc:spChg chg="add mod ord">
          <ac:chgData name="Thomas Stensitzki" userId="75cafe6b-2f2a-469b-85c4-eec3b9c972ba" providerId="ADAL" clId="{81A95A3F-591B-4915-9F30-386F1902D115}" dt="2022-06-08T09:15:54.911" v="275"/>
          <ac:spMkLst>
            <pc:docMk/>
            <pc:sldMk cId="2119466313" sldId="611"/>
            <ac:spMk id="5" creationId="{2B92FCBD-7127-4725-814A-DA80AEE5246E}"/>
          </ac:spMkLst>
        </pc:spChg>
        <pc:picChg chg="add mod">
          <ac:chgData name="Thomas Stensitzki" userId="75cafe6b-2f2a-469b-85c4-eec3b9c972ba" providerId="ADAL" clId="{81A95A3F-591B-4915-9F30-386F1902D115}" dt="2022-06-08T09:16:05.191" v="278" actId="1440"/>
          <ac:picMkLst>
            <pc:docMk/>
            <pc:sldMk cId="2119466313" sldId="611"/>
            <ac:picMk id="4098" creationId="{9443BC3D-5AB1-4FD2-88E1-B6335E0D4298}"/>
          </ac:picMkLst>
        </pc:picChg>
      </pc:sldChg>
      <pc:sldChg chg="modSp add mod ord">
        <pc:chgData name="Thomas Stensitzki" userId="75cafe6b-2f2a-469b-85c4-eec3b9c972ba" providerId="ADAL" clId="{81A95A3F-591B-4915-9F30-386F1902D115}" dt="2022-06-08T11:55:15.780" v="1012" actId="1076"/>
        <pc:sldMkLst>
          <pc:docMk/>
          <pc:sldMk cId="3453821184" sldId="612"/>
        </pc:sldMkLst>
        <pc:spChg chg="mod">
          <ac:chgData name="Thomas Stensitzki" userId="75cafe6b-2f2a-469b-85c4-eec3b9c972ba" providerId="ADAL" clId="{81A95A3F-591B-4915-9F30-386F1902D115}" dt="2022-06-08T11:55:15.780" v="1012" actId="1076"/>
          <ac:spMkLst>
            <pc:docMk/>
            <pc:sldMk cId="3453821184" sldId="612"/>
            <ac:spMk id="2" creationId="{909DC09D-B9A6-4493-9A72-1CA7ECB1F5CA}"/>
          </ac:spMkLst>
        </pc:spChg>
        <pc:spChg chg="mod">
          <ac:chgData name="Thomas Stensitzki" userId="75cafe6b-2f2a-469b-85c4-eec3b9c972ba" providerId="ADAL" clId="{81A95A3F-591B-4915-9F30-386F1902D115}" dt="2022-06-08T09:20:38.431" v="380"/>
          <ac:spMkLst>
            <pc:docMk/>
            <pc:sldMk cId="3453821184" sldId="612"/>
            <ac:spMk id="5" creationId="{C24DACB5-1BEC-4C86-9652-BAFD8DE56FEF}"/>
          </ac:spMkLst>
        </pc:spChg>
      </pc:sldChg>
      <pc:sldChg chg="addSp delSp modSp new mod modClrScheme chgLayout modNotesTx">
        <pc:chgData name="Thomas Stensitzki" userId="75cafe6b-2f2a-469b-85c4-eec3b9c972ba" providerId="ADAL" clId="{81A95A3F-591B-4915-9F30-386F1902D115}" dt="2022-06-03T11:41:19.855" v="238"/>
        <pc:sldMkLst>
          <pc:docMk/>
          <pc:sldMk cId="1137647844" sldId="613"/>
        </pc:sldMkLst>
        <pc:spChg chg="del mod ord">
          <ac:chgData name="Thomas Stensitzki" userId="75cafe6b-2f2a-469b-85c4-eec3b9c972ba" providerId="ADAL" clId="{81A95A3F-591B-4915-9F30-386F1902D115}" dt="2022-06-03T11:40:47.456" v="235" actId="700"/>
          <ac:spMkLst>
            <pc:docMk/>
            <pc:sldMk cId="1137647844" sldId="613"/>
            <ac:spMk id="2" creationId="{55CF984F-34BD-4789-9427-E4BA0C81FD7A}"/>
          </ac:spMkLst>
        </pc:spChg>
        <pc:spChg chg="add mod ord">
          <ac:chgData name="Thomas Stensitzki" userId="75cafe6b-2f2a-469b-85c4-eec3b9c972ba" providerId="ADAL" clId="{81A95A3F-591B-4915-9F30-386F1902D115}" dt="2022-06-03T11:40:49.631" v="236"/>
          <ac:spMkLst>
            <pc:docMk/>
            <pc:sldMk cId="1137647844" sldId="613"/>
            <ac:spMk id="3" creationId="{5983D398-5001-4E05-A912-D1F3389FF724}"/>
          </ac:spMkLst>
        </pc:spChg>
        <pc:spChg chg="add mod ord">
          <ac:chgData name="Thomas Stensitzki" userId="75cafe6b-2f2a-469b-85c4-eec3b9c972ba" providerId="ADAL" clId="{81A95A3F-591B-4915-9F30-386F1902D115}" dt="2022-06-03T11:40:58.848" v="237"/>
          <ac:spMkLst>
            <pc:docMk/>
            <pc:sldMk cId="1137647844" sldId="613"/>
            <ac:spMk id="4" creationId="{CE240E77-CC1A-4FF7-A490-029A8045EADD}"/>
          </ac:spMkLst>
        </pc:spChg>
      </pc:sldChg>
      <pc:sldChg chg="addSp delSp modSp new mod modClrScheme modAnim chgLayout">
        <pc:chgData name="Thomas Stensitzki" userId="75cafe6b-2f2a-469b-85c4-eec3b9c972ba" providerId="ADAL" clId="{81A95A3F-591B-4915-9F30-386F1902D115}" dt="2022-06-08T12:02:58.505" v="1250"/>
        <pc:sldMkLst>
          <pc:docMk/>
          <pc:sldMk cId="1503137777" sldId="614"/>
        </pc:sldMkLst>
        <pc:spChg chg="mod ord">
          <ac:chgData name="Thomas Stensitzki" userId="75cafe6b-2f2a-469b-85c4-eec3b9c972ba" providerId="ADAL" clId="{81A95A3F-591B-4915-9F30-386F1902D115}" dt="2022-06-03T11:42:34.337" v="243" actId="700"/>
          <ac:spMkLst>
            <pc:docMk/>
            <pc:sldMk cId="1503137777" sldId="614"/>
            <ac:spMk id="2" creationId="{8F0EE741-1AA9-4E98-9676-69EE83AA3E40}"/>
          </ac:spMkLst>
        </pc:spChg>
        <pc:spChg chg="del">
          <ac:chgData name="Thomas Stensitzki" userId="75cafe6b-2f2a-469b-85c4-eec3b9c972ba" providerId="ADAL" clId="{81A95A3F-591B-4915-9F30-386F1902D115}" dt="2022-06-03T11:42:34.337" v="243" actId="700"/>
          <ac:spMkLst>
            <pc:docMk/>
            <pc:sldMk cId="1503137777" sldId="614"/>
            <ac:spMk id="3" creationId="{7EAE8079-A3A0-4F89-BD4A-57444D34D93D}"/>
          </ac:spMkLst>
        </pc:spChg>
        <pc:picChg chg="add mod">
          <ac:chgData name="Thomas Stensitzki" userId="75cafe6b-2f2a-469b-85c4-eec3b9c972ba" providerId="ADAL" clId="{81A95A3F-591B-4915-9F30-386F1902D115}" dt="2022-06-03T11:42:55.544" v="247" actId="1440"/>
          <ac:picMkLst>
            <pc:docMk/>
            <pc:sldMk cId="1503137777" sldId="614"/>
            <ac:picMk id="5122" creationId="{BE8BE44B-832F-457E-A4D6-B34B9F6B3A31}"/>
          </ac:picMkLst>
        </pc:picChg>
      </pc:sldChg>
      <pc:sldChg chg="addSp delSp modSp add mod modAnim">
        <pc:chgData name="Thomas Stensitzki" userId="75cafe6b-2f2a-469b-85c4-eec3b9c972ba" providerId="ADAL" clId="{81A95A3F-591B-4915-9F30-386F1902D115}" dt="2022-06-08T12:04:40.484" v="1267" actId="1035"/>
        <pc:sldMkLst>
          <pc:docMk/>
          <pc:sldMk cId="1055936327" sldId="615"/>
        </pc:sldMkLst>
        <pc:spChg chg="mod">
          <ac:chgData name="Thomas Stensitzki" userId="75cafe6b-2f2a-469b-85c4-eec3b9c972ba" providerId="ADAL" clId="{81A95A3F-591B-4915-9F30-386F1902D115}" dt="2022-06-08T09:13:34.161" v="251"/>
          <ac:spMkLst>
            <pc:docMk/>
            <pc:sldMk cId="1055936327" sldId="615"/>
            <ac:spMk id="2" creationId="{8F0EE741-1AA9-4E98-9676-69EE83AA3E40}"/>
          </ac:spMkLst>
        </pc:spChg>
        <pc:spChg chg="add mod">
          <ac:chgData name="Thomas Stensitzki" userId="75cafe6b-2f2a-469b-85c4-eec3b9c972ba" providerId="ADAL" clId="{81A95A3F-591B-4915-9F30-386F1902D115}" dt="2022-06-08T12:04:40.484" v="1267" actId="1035"/>
          <ac:spMkLst>
            <pc:docMk/>
            <pc:sldMk cId="1055936327" sldId="615"/>
            <ac:spMk id="3" creationId="{AB3DB976-C90F-4091-87CF-40163DF71AFA}"/>
          </ac:spMkLst>
        </pc:spChg>
        <pc:picChg chg="add mod">
          <ac:chgData name="Thomas Stensitzki" userId="75cafe6b-2f2a-469b-85c4-eec3b9c972ba" providerId="ADAL" clId="{81A95A3F-591B-4915-9F30-386F1902D115}" dt="2022-06-08T12:04:14.344" v="1263" actId="167"/>
          <ac:picMkLst>
            <pc:docMk/>
            <pc:sldMk cId="1055936327" sldId="615"/>
            <ac:picMk id="1026" creationId="{7B51AD3F-B2C5-40C2-A1B0-148EC98E9697}"/>
          </ac:picMkLst>
        </pc:picChg>
        <pc:picChg chg="add mod">
          <ac:chgData name="Thomas Stensitzki" userId="75cafe6b-2f2a-469b-85c4-eec3b9c972ba" providerId="ADAL" clId="{81A95A3F-591B-4915-9F30-386F1902D115}" dt="2022-06-08T12:04:23.224" v="1264" actId="166"/>
          <ac:picMkLst>
            <pc:docMk/>
            <pc:sldMk cId="1055936327" sldId="615"/>
            <ac:picMk id="1028" creationId="{CE471663-B43B-4113-A916-DCC9088EAFED}"/>
          </ac:picMkLst>
        </pc:picChg>
        <pc:picChg chg="add mod">
          <ac:chgData name="Thomas Stensitzki" userId="75cafe6b-2f2a-469b-85c4-eec3b9c972ba" providerId="ADAL" clId="{81A95A3F-591B-4915-9F30-386F1902D115}" dt="2022-06-08T12:04:26.013" v="1265" actId="166"/>
          <ac:picMkLst>
            <pc:docMk/>
            <pc:sldMk cId="1055936327" sldId="615"/>
            <ac:picMk id="1030" creationId="{55623FF3-B572-4046-968C-52BEC1710B74}"/>
          </ac:picMkLst>
        </pc:picChg>
        <pc:picChg chg="add mod">
          <ac:chgData name="Thomas Stensitzki" userId="75cafe6b-2f2a-469b-85c4-eec3b9c972ba" providerId="ADAL" clId="{81A95A3F-591B-4915-9F30-386F1902D115}" dt="2022-06-08T09:15:15.265" v="274" actId="1440"/>
          <ac:picMkLst>
            <pc:docMk/>
            <pc:sldMk cId="1055936327" sldId="615"/>
            <ac:picMk id="1032" creationId="{A2A89887-1B80-4358-8DAF-1FE056BD8360}"/>
          </ac:picMkLst>
        </pc:picChg>
        <pc:picChg chg="del">
          <ac:chgData name="Thomas Stensitzki" userId="75cafe6b-2f2a-469b-85c4-eec3b9c972ba" providerId="ADAL" clId="{81A95A3F-591B-4915-9F30-386F1902D115}" dt="2022-06-08T09:13:41.683" v="252" actId="478"/>
          <ac:picMkLst>
            <pc:docMk/>
            <pc:sldMk cId="1055936327" sldId="615"/>
            <ac:picMk id="5122" creationId="{BE8BE44B-832F-457E-A4D6-B34B9F6B3A31}"/>
          </ac:picMkLst>
        </pc:picChg>
      </pc:sldChg>
      <pc:sldChg chg="addSp delSp modSp add mod ord modAnim">
        <pc:chgData name="Thomas Stensitzki" userId="75cafe6b-2f2a-469b-85c4-eec3b9c972ba" providerId="ADAL" clId="{81A95A3F-591B-4915-9F30-386F1902D115}" dt="2022-06-08T12:04:48.800" v="1269"/>
        <pc:sldMkLst>
          <pc:docMk/>
          <pc:sldMk cId="3478201021" sldId="616"/>
        </pc:sldMkLst>
        <pc:spChg chg="mod">
          <ac:chgData name="Thomas Stensitzki" userId="75cafe6b-2f2a-469b-85c4-eec3b9c972ba" providerId="ADAL" clId="{81A95A3F-591B-4915-9F30-386F1902D115}" dt="2022-06-08T09:16:52.719" v="284"/>
          <ac:spMkLst>
            <pc:docMk/>
            <pc:sldMk cId="3478201021" sldId="616"/>
            <ac:spMk id="2" creationId="{8F0EE741-1AA9-4E98-9676-69EE83AA3E40}"/>
          </ac:spMkLst>
        </pc:spChg>
        <pc:picChg chg="add mod">
          <ac:chgData name="Thomas Stensitzki" userId="75cafe6b-2f2a-469b-85c4-eec3b9c972ba" providerId="ADAL" clId="{81A95A3F-591B-4915-9F30-386F1902D115}" dt="2022-06-08T09:17:07.579" v="289" actId="1440"/>
          <ac:picMkLst>
            <pc:docMk/>
            <pc:sldMk cId="3478201021" sldId="616"/>
            <ac:picMk id="2050" creationId="{C92D798A-325B-4FD1-BE5A-A55EC7938F3A}"/>
          </ac:picMkLst>
        </pc:picChg>
        <pc:picChg chg="del">
          <ac:chgData name="Thomas Stensitzki" userId="75cafe6b-2f2a-469b-85c4-eec3b9c972ba" providerId="ADAL" clId="{81A95A3F-591B-4915-9F30-386F1902D115}" dt="2022-06-08T09:16:54.280" v="285" actId="478"/>
          <ac:picMkLst>
            <pc:docMk/>
            <pc:sldMk cId="3478201021" sldId="616"/>
            <ac:picMk id="5122" creationId="{BE8BE44B-832F-457E-A4D6-B34B9F6B3A31}"/>
          </ac:picMkLst>
        </pc:picChg>
      </pc:sldChg>
      <pc:sldChg chg="addSp delSp modSp add mod modAnim">
        <pc:chgData name="Thomas Stensitzki" userId="75cafe6b-2f2a-469b-85c4-eec3b9c972ba" providerId="ADAL" clId="{81A95A3F-591B-4915-9F30-386F1902D115}" dt="2022-06-08T12:04:54.800" v="1271"/>
        <pc:sldMkLst>
          <pc:docMk/>
          <pc:sldMk cId="3437431207" sldId="617"/>
        </pc:sldMkLst>
        <pc:spChg chg="mod">
          <ac:chgData name="Thomas Stensitzki" userId="75cafe6b-2f2a-469b-85c4-eec3b9c972ba" providerId="ADAL" clId="{81A95A3F-591B-4915-9F30-386F1902D115}" dt="2022-06-08T09:19:49.535" v="372"/>
          <ac:spMkLst>
            <pc:docMk/>
            <pc:sldMk cId="3437431207" sldId="617"/>
            <ac:spMk id="2" creationId="{8F0EE741-1AA9-4E98-9676-69EE83AA3E40}"/>
          </ac:spMkLst>
        </pc:spChg>
        <pc:picChg chg="del">
          <ac:chgData name="Thomas Stensitzki" userId="75cafe6b-2f2a-469b-85c4-eec3b9c972ba" providerId="ADAL" clId="{81A95A3F-591B-4915-9F30-386F1902D115}" dt="2022-06-08T09:19:51.683" v="373" actId="478"/>
          <ac:picMkLst>
            <pc:docMk/>
            <pc:sldMk cId="3437431207" sldId="617"/>
            <ac:picMk id="2050" creationId="{C92D798A-325B-4FD1-BE5A-A55EC7938F3A}"/>
          </ac:picMkLst>
        </pc:picChg>
        <pc:picChg chg="add mod">
          <ac:chgData name="Thomas Stensitzki" userId="75cafe6b-2f2a-469b-85c4-eec3b9c972ba" providerId="ADAL" clId="{81A95A3F-591B-4915-9F30-386F1902D115}" dt="2022-06-08T09:20:08.122" v="377" actId="1440"/>
          <ac:picMkLst>
            <pc:docMk/>
            <pc:sldMk cId="3437431207" sldId="617"/>
            <ac:picMk id="3074" creationId="{F6D3B784-236A-4E1B-B6AA-B8520973F983}"/>
          </ac:picMkLst>
        </pc:picChg>
      </pc:sldChg>
      <pc:sldChg chg="modSp add mod modAnim">
        <pc:chgData name="Thomas Stensitzki" userId="75cafe6b-2f2a-469b-85c4-eec3b9c972ba" providerId="ADAL" clId="{81A95A3F-591B-4915-9F30-386F1902D115}" dt="2022-06-08T12:05:03.358" v="1273"/>
        <pc:sldMkLst>
          <pc:docMk/>
          <pc:sldMk cId="891073797" sldId="618"/>
        </pc:sldMkLst>
        <pc:spChg chg="mod">
          <ac:chgData name="Thomas Stensitzki" userId="75cafe6b-2f2a-469b-85c4-eec3b9c972ba" providerId="ADAL" clId="{81A95A3F-591B-4915-9F30-386F1902D115}" dt="2022-06-08T09:20:49.256" v="382"/>
          <ac:spMkLst>
            <pc:docMk/>
            <pc:sldMk cId="891073797" sldId="618"/>
            <ac:spMk id="2" creationId="{8F0EE741-1AA9-4E98-9676-69EE83AA3E40}"/>
          </ac:spMkLst>
        </pc:spChg>
        <pc:picChg chg="mod">
          <ac:chgData name="Thomas Stensitzki" userId="75cafe6b-2f2a-469b-85c4-eec3b9c972ba" providerId="ADAL" clId="{81A95A3F-591B-4915-9F30-386F1902D115}" dt="2022-06-08T09:21:05.652" v="385" actId="1076"/>
          <ac:picMkLst>
            <pc:docMk/>
            <pc:sldMk cId="891073797" sldId="618"/>
            <ac:picMk id="3074" creationId="{F6D3B784-236A-4E1B-B6AA-B8520973F983}"/>
          </ac:picMkLst>
        </pc:picChg>
      </pc:sldChg>
      <pc:sldChg chg="modSp add mod ord">
        <pc:chgData name="Thomas Stensitzki" userId="75cafe6b-2f2a-469b-85c4-eec3b9c972ba" providerId="ADAL" clId="{81A95A3F-591B-4915-9F30-386F1902D115}" dt="2022-06-08T11:59:27.476" v="1181" actId="14100"/>
        <pc:sldMkLst>
          <pc:docMk/>
          <pc:sldMk cId="2883104128" sldId="619"/>
        </pc:sldMkLst>
        <pc:spChg chg="mod">
          <ac:chgData name="Thomas Stensitzki" userId="75cafe6b-2f2a-469b-85c4-eec3b9c972ba" providerId="ADAL" clId="{81A95A3F-591B-4915-9F30-386F1902D115}" dt="2022-06-08T11:59:27.476" v="1181" actId="14100"/>
          <ac:spMkLst>
            <pc:docMk/>
            <pc:sldMk cId="2883104128" sldId="619"/>
            <ac:spMk id="2" creationId="{909DC09D-B9A6-4493-9A72-1CA7ECB1F5CA}"/>
          </ac:spMkLst>
        </pc:spChg>
        <pc:spChg chg="mod">
          <ac:chgData name="Thomas Stensitzki" userId="75cafe6b-2f2a-469b-85c4-eec3b9c972ba" providerId="ADAL" clId="{81A95A3F-591B-4915-9F30-386F1902D115}" dt="2022-06-08T11:53:26.725" v="943" actId="108"/>
          <ac:spMkLst>
            <pc:docMk/>
            <pc:sldMk cId="2883104128" sldId="619"/>
            <ac:spMk id="5" creationId="{C24DACB5-1BEC-4C86-9652-BAFD8DE56FEF}"/>
          </ac:spMkLst>
        </pc:spChg>
      </pc:sldChg>
      <pc:sldChg chg="addSp delSp modSp add mod ord modAnim">
        <pc:chgData name="Thomas Stensitzki" userId="75cafe6b-2f2a-469b-85c4-eec3b9c972ba" providerId="ADAL" clId="{81A95A3F-591B-4915-9F30-386F1902D115}" dt="2022-06-08T12:05:41.139" v="1280"/>
        <pc:sldMkLst>
          <pc:docMk/>
          <pc:sldMk cId="1449374427" sldId="620"/>
        </pc:sldMkLst>
        <pc:spChg chg="mod">
          <ac:chgData name="Thomas Stensitzki" userId="75cafe6b-2f2a-469b-85c4-eec3b9c972ba" providerId="ADAL" clId="{81A95A3F-591B-4915-9F30-386F1902D115}" dt="2022-06-08T09:24:34.210" v="430"/>
          <ac:spMkLst>
            <pc:docMk/>
            <pc:sldMk cId="1449374427" sldId="620"/>
            <ac:spMk id="2" creationId="{8F0EE741-1AA9-4E98-9676-69EE83AA3E40}"/>
          </ac:spMkLst>
        </pc:spChg>
        <pc:picChg chg="del">
          <ac:chgData name="Thomas Stensitzki" userId="75cafe6b-2f2a-469b-85c4-eec3b9c972ba" providerId="ADAL" clId="{81A95A3F-591B-4915-9F30-386F1902D115}" dt="2022-06-08T09:24:10.983" v="427" actId="478"/>
          <ac:picMkLst>
            <pc:docMk/>
            <pc:sldMk cId="1449374427" sldId="620"/>
            <ac:picMk id="3074" creationId="{F6D3B784-236A-4E1B-B6AA-B8520973F983}"/>
          </ac:picMkLst>
        </pc:picChg>
        <pc:picChg chg="add mod">
          <ac:chgData name="Thomas Stensitzki" userId="75cafe6b-2f2a-469b-85c4-eec3b9c972ba" providerId="ADAL" clId="{81A95A3F-591B-4915-9F30-386F1902D115}" dt="2022-06-08T09:25:22.675" v="443" actId="1076"/>
          <ac:picMkLst>
            <pc:docMk/>
            <pc:sldMk cId="1449374427" sldId="620"/>
            <ac:picMk id="4098" creationId="{035D4B07-EC58-4E0F-A747-3538FC2C6ACE}"/>
          </ac:picMkLst>
        </pc:picChg>
        <pc:picChg chg="add mod">
          <ac:chgData name="Thomas Stensitzki" userId="75cafe6b-2f2a-469b-85c4-eec3b9c972ba" providerId="ADAL" clId="{81A95A3F-591B-4915-9F30-386F1902D115}" dt="2022-06-08T09:25:25.832" v="455" actId="1035"/>
          <ac:picMkLst>
            <pc:docMk/>
            <pc:sldMk cId="1449374427" sldId="620"/>
            <ac:picMk id="4100" creationId="{164A1FF4-ED82-4AE6-85A5-C5D80791A8A4}"/>
          </ac:picMkLst>
        </pc:picChg>
        <pc:picChg chg="add mod">
          <ac:chgData name="Thomas Stensitzki" userId="75cafe6b-2f2a-469b-85c4-eec3b9c972ba" providerId="ADAL" clId="{81A95A3F-591B-4915-9F30-386F1902D115}" dt="2022-06-08T09:25:17.088" v="441" actId="1076"/>
          <ac:picMkLst>
            <pc:docMk/>
            <pc:sldMk cId="1449374427" sldId="620"/>
            <ac:picMk id="4102" creationId="{57E02677-6381-4E35-AE95-2973DF59F868}"/>
          </ac:picMkLst>
        </pc:picChg>
        <pc:picChg chg="add mod">
          <ac:chgData name="Thomas Stensitzki" userId="75cafe6b-2f2a-469b-85c4-eec3b9c972ba" providerId="ADAL" clId="{81A95A3F-591B-4915-9F30-386F1902D115}" dt="2022-06-08T09:25:11.778" v="440" actId="1076"/>
          <ac:picMkLst>
            <pc:docMk/>
            <pc:sldMk cId="1449374427" sldId="620"/>
            <ac:picMk id="4104" creationId="{7EF6F09E-B2AB-4322-83D9-B69B948FFFB1}"/>
          </ac:picMkLst>
        </pc:picChg>
      </pc:sldChg>
      <pc:sldChg chg="addSp delSp modSp add mod modAnim">
        <pc:chgData name="Thomas Stensitzki" userId="75cafe6b-2f2a-469b-85c4-eec3b9c972ba" providerId="ADAL" clId="{81A95A3F-591B-4915-9F30-386F1902D115}" dt="2022-06-08T12:06:09.907" v="1282"/>
        <pc:sldMkLst>
          <pc:docMk/>
          <pc:sldMk cId="4271250423" sldId="621"/>
        </pc:sldMkLst>
        <pc:spChg chg="mod">
          <ac:chgData name="Thomas Stensitzki" userId="75cafe6b-2f2a-469b-85c4-eec3b9c972ba" providerId="ADAL" clId="{81A95A3F-591B-4915-9F30-386F1902D115}" dt="2022-06-08T09:26:46.053" v="481"/>
          <ac:spMkLst>
            <pc:docMk/>
            <pc:sldMk cId="4271250423" sldId="621"/>
            <ac:spMk id="2" creationId="{8F0EE741-1AA9-4E98-9676-69EE83AA3E40}"/>
          </ac:spMkLst>
        </pc:spChg>
        <pc:picChg chg="del">
          <ac:chgData name="Thomas Stensitzki" userId="75cafe6b-2f2a-469b-85c4-eec3b9c972ba" providerId="ADAL" clId="{81A95A3F-591B-4915-9F30-386F1902D115}" dt="2022-06-08T09:26:51.082" v="482" actId="478"/>
          <ac:picMkLst>
            <pc:docMk/>
            <pc:sldMk cId="4271250423" sldId="621"/>
            <ac:picMk id="4098" creationId="{035D4B07-EC58-4E0F-A747-3538FC2C6ACE}"/>
          </ac:picMkLst>
        </pc:picChg>
        <pc:picChg chg="del">
          <ac:chgData name="Thomas Stensitzki" userId="75cafe6b-2f2a-469b-85c4-eec3b9c972ba" providerId="ADAL" clId="{81A95A3F-591B-4915-9F30-386F1902D115}" dt="2022-06-08T09:26:51.082" v="482" actId="478"/>
          <ac:picMkLst>
            <pc:docMk/>
            <pc:sldMk cId="4271250423" sldId="621"/>
            <ac:picMk id="4100" creationId="{164A1FF4-ED82-4AE6-85A5-C5D80791A8A4}"/>
          </ac:picMkLst>
        </pc:picChg>
        <pc:picChg chg="del">
          <ac:chgData name="Thomas Stensitzki" userId="75cafe6b-2f2a-469b-85c4-eec3b9c972ba" providerId="ADAL" clId="{81A95A3F-591B-4915-9F30-386F1902D115}" dt="2022-06-08T09:26:51.082" v="482" actId="478"/>
          <ac:picMkLst>
            <pc:docMk/>
            <pc:sldMk cId="4271250423" sldId="621"/>
            <ac:picMk id="4102" creationId="{57E02677-6381-4E35-AE95-2973DF59F868}"/>
          </ac:picMkLst>
        </pc:picChg>
        <pc:picChg chg="del">
          <ac:chgData name="Thomas Stensitzki" userId="75cafe6b-2f2a-469b-85c4-eec3b9c972ba" providerId="ADAL" clId="{81A95A3F-591B-4915-9F30-386F1902D115}" dt="2022-06-08T09:26:51.082" v="482" actId="478"/>
          <ac:picMkLst>
            <pc:docMk/>
            <pc:sldMk cId="4271250423" sldId="621"/>
            <ac:picMk id="4104" creationId="{7EF6F09E-B2AB-4322-83D9-B69B948FFFB1}"/>
          </ac:picMkLst>
        </pc:picChg>
        <pc:picChg chg="add mod">
          <ac:chgData name="Thomas Stensitzki" userId="75cafe6b-2f2a-469b-85c4-eec3b9c972ba" providerId="ADAL" clId="{81A95A3F-591B-4915-9F30-386F1902D115}" dt="2022-06-08T09:27:01.145" v="485" actId="1076"/>
          <ac:picMkLst>
            <pc:docMk/>
            <pc:sldMk cId="4271250423" sldId="621"/>
            <ac:picMk id="5122" creationId="{2F599F29-DA65-47FC-A4FF-26B135C988D5}"/>
          </ac:picMkLst>
        </pc:picChg>
      </pc:sldChg>
      <pc:sldChg chg="addSp delSp modSp add mod modAnim">
        <pc:chgData name="Thomas Stensitzki" userId="75cafe6b-2f2a-469b-85c4-eec3b9c972ba" providerId="ADAL" clId="{81A95A3F-591B-4915-9F30-386F1902D115}" dt="2022-06-08T12:06:42.353" v="1290"/>
        <pc:sldMkLst>
          <pc:docMk/>
          <pc:sldMk cId="228228310" sldId="622"/>
        </pc:sldMkLst>
        <pc:spChg chg="mod">
          <ac:chgData name="Thomas Stensitzki" userId="75cafe6b-2f2a-469b-85c4-eec3b9c972ba" providerId="ADAL" clId="{81A95A3F-591B-4915-9F30-386F1902D115}" dt="2022-06-08T09:30:04.380" v="552" actId="20577"/>
          <ac:spMkLst>
            <pc:docMk/>
            <pc:sldMk cId="228228310" sldId="622"/>
            <ac:spMk id="2" creationId="{EC46AD28-746E-4246-884F-4DAE24C62042}"/>
          </ac:spMkLst>
        </pc:spChg>
        <pc:picChg chg="del">
          <ac:chgData name="Thomas Stensitzki" userId="75cafe6b-2f2a-469b-85c4-eec3b9c972ba" providerId="ADAL" clId="{81A95A3F-591B-4915-9F30-386F1902D115}" dt="2022-06-08T09:28:35.849" v="502" actId="478"/>
          <ac:picMkLst>
            <pc:docMk/>
            <pc:sldMk cId="228228310" sldId="622"/>
            <ac:picMk id="6146" creationId="{BEB228D0-D6CB-482E-981C-8BBE1B427912}"/>
          </ac:picMkLst>
        </pc:picChg>
        <pc:picChg chg="del">
          <ac:chgData name="Thomas Stensitzki" userId="75cafe6b-2f2a-469b-85c4-eec3b9c972ba" providerId="ADAL" clId="{81A95A3F-591B-4915-9F30-386F1902D115}" dt="2022-06-08T09:28:36.425" v="503" actId="478"/>
          <ac:picMkLst>
            <pc:docMk/>
            <pc:sldMk cId="228228310" sldId="622"/>
            <ac:picMk id="6148" creationId="{C73D027B-CA10-4632-9BCD-2A04C1CA1660}"/>
          </ac:picMkLst>
        </pc:picChg>
        <pc:picChg chg="add mod">
          <ac:chgData name="Thomas Stensitzki" userId="75cafe6b-2f2a-469b-85c4-eec3b9c972ba" providerId="ADAL" clId="{81A95A3F-591B-4915-9F30-386F1902D115}" dt="2022-06-08T09:29:32.539" v="517" actId="1440"/>
          <ac:picMkLst>
            <pc:docMk/>
            <pc:sldMk cId="228228310" sldId="622"/>
            <ac:picMk id="7170" creationId="{68AA8AAA-8E75-4E4C-825B-3AF8C539D81B}"/>
          </ac:picMkLst>
        </pc:picChg>
        <pc:picChg chg="add del mod">
          <ac:chgData name="Thomas Stensitzki" userId="75cafe6b-2f2a-469b-85c4-eec3b9c972ba" providerId="ADAL" clId="{81A95A3F-591B-4915-9F30-386F1902D115}" dt="2022-06-08T09:29:23.237" v="515" actId="478"/>
          <ac:picMkLst>
            <pc:docMk/>
            <pc:sldMk cId="228228310" sldId="622"/>
            <ac:picMk id="7172" creationId="{B62C4D70-8E1B-4FAE-AD81-48B98BF24B37}"/>
          </ac:picMkLst>
        </pc:picChg>
      </pc:sldChg>
      <pc:sldChg chg="addSp delSp modSp add mod modAnim">
        <pc:chgData name="Thomas Stensitzki" userId="75cafe6b-2f2a-469b-85c4-eec3b9c972ba" providerId="ADAL" clId="{81A95A3F-591B-4915-9F30-386F1902D115}" dt="2022-06-08T12:06:48.956" v="1293"/>
        <pc:sldMkLst>
          <pc:docMk/>
          <pc:sldMk cId="2858615882" sldId="623"/>
        </pc:sldMkLst>
        <pc:spChg chg="mod">
          <ac:chgData name="Thomas Stensitzki" userId="75cafe6b-2f2a-469b-85c4-eec3b9c972ba" providerId="ADAL" clId="{81A95A3F-591B-4915-9F30-386F1902D115}" dt="2022-06-08T09:29:55.495" v="548" actId="20577"/>
          <ac:spMkLst>
            <pc:docMk/>
            <pc:sldMk cId="2858615882" sldId="623"/>
            <ac:spMk id="2" creationId="{EC46AD28-746E-4246-884F-4DAE24C62042}"/>
          </ac:spMkLst>
        </pc:spChg>
        <pc:picChg chg="del">
          <ac:chgData name="Thomas Stensitzki" userId="75cafe6b-2f2a-469b-85c4-eec3b9c972ba" providerId="ADAL" clId="{81A95A3F-591B-4915-9F30-386F1902D115}" dt="2022-06-08T09:29:57.825" v="549" actId="478"/>
          <ac:picMkLst>
            <pc:docMk/>
            <pc:sldMk cId="2858615882" sldId="623"/>
            <ac:picMk id="7170" creationId="{68AA8AAA-8E75-4E4C-825B-3AF8C539D81B}"/>
          </ac:picMkLst>
        </pc:picChg>
        <pc:picChg chg="mod">
          <ac:chgData name="Thomas Stensitzki" userId="75cafe6b-2f2a-469b-85c4-eec3b9c972ba" providerId="ADAL" clId="{81A95A3F-591B-4915-9F30-386F1902D115}" dt="2022-06-08T09:30:27.462" v="559" actId="1440"/>
          <ac:picMkLst>
            <pc:docMk/>
            <pc:sldMk cId="2858615882" sldId="623"/>
            <ac:picMk id="7172" creationId="{B62C4D70-8E1B-4FAE-AD81-48B98BF24B37}"/>
          </ac:picMkLst>
        </pc:picChg>
        <pc:picChg chg="add mod">
          <ac:chgData name="Thomas Stensitzki" userId="75cafe6b-2f2a-469b-85c4-eec3b9c972ba" providerId="ADAL" clId="{81A95A3F-591B-4915-9F30-386F1902D115}" dt="2022-06-08T09:30:25.934" v="558" actId="1440"/>
          <ac:picMkLst>
            <pc:docMk/>
            <pc:sldMk cId="2858615882" sldId="623"/>
            <ac:picMk id="8194" creationId="{2173D17A-A0D4-4042-8DC4-368B41CDD94E}"/>
          </ac:picMkLst>
        </pc:picChg>
      </pc:sldChg>
      <pc:sldChg chg="addSp delSp modSp add mod modAnim">
        <pc:chgData name="Thomas Stensitzki" userId="75cafe6b-2f2a-469b-85c4-eec3b9c972ba" providerId="ADAL" clId="{81A95A3F-591B-4915-9F30-386F1902D115}" dt="2022-06-08T12:06:56.502" v="1296"/>
        <pc:sldMkLst>
          <pc:docMk/>
          <pc:sldMk cId="1458805602" sldId="624"/>
        </pc:sldMkLst>
        <pc:spChg chg="mod">
          <ac:chgData name="Thomas Stensitzki" userId="75cafe6b-2f2a-469b-85c4-eec3b9c972ba" providerId="ADAL" clId="{81A95A3F-591B-4915-9F30-386F1902D115}" dt="2022-06-08T09:36:35.235" v="607"/>
          <ac:spMkLst>
            <pc:docMk/>
            <pc:sldMk cId="1458805602" sldId="624"/>
            <ac:spMk id="2" creationId="{EC46AD28-746E-4246-884F-4DAE24C62042}"/>
          </ac:spMkLst>
        </pc:spChg>
        <pc:picChg chg="del">
          <ac:chgData name="Thomas Stensitzki" userId="75cafe6b-2f2a-469b-85c4-eec3b9c972ba" providerId="ADAL" clId="{81A95A3F-591B-4915-9F30-386F1902D115}" dt="2022-06-08T09:36:36.794" v="608" actId="478"/>
          <ac:picMkLst>
            <pc:docMk/>
            <pc:sldMk cId="1458805602" sldId="624"/>
            <ac:picMk id="7172" creationId="{B62C4D70-8E1B-4FAE-AD81-48B98BF24B37}"/>
          </ac:picMkLst>
        </pc:picChg>
        <pc:picChg chg="del">
          <ac:chgData name="Thomas Stensitzki" userId="75cafe6b-2f2a-469b-85c4-eec3b9c972ba" providerId="ADAL" clId="{81A95A3F-591B-4915-9F30-386F1902D115}" dt="2022-06-08T09:36:37.310" v="609" actId="478"/>
          <ac:picMkLst>
            <pc:docMk/>
            <pc:sldMk cId="1458805602" sldId="624"/>
            <ac:picMk id="8194" creationId="{2173D17A-A0D4-4042-8DC4-368B41CDD94E}"/>
          </ac:picMkLst>
        </pc:picChg>
        <pc:picChg chg="add mod">
          <ac:chgData name="Thomas Stensitzki" userId="75cafe6b-2f2a-469b-85c4-eec3b9c972ba" providerId="ADAL" clId="{81A95A3F-591B-4915-9F30-386F1902D115}" dt="2022-06-08T09:36:50.132" v="613" actId="1440"/>
          <ac:picMkLst>
            <pc:docMk/>
            <pc:sldMk cId="1458805602" sldId="624"/>
            <ac:picMk id="9218" creationId="{50A1BB1A-7CF3-4EE3-BF1B-75BF050379F1}"/>
          </ac:picMkLst>
        </pc:picChg>
        <pc:picChg chg="add mod">
          <ac:chgData name="Thomas Stensitzki" userId="75cafe6b-2f2a-469b-85c4-eec3b9c972ba" providerId="ADAL" clId="{81A95A3F-591B-4915-9F30-386F1902D115}" dt="2022-06-08T09:37:06.841" v="617" actId="1440"/>
          <ac:picMkLst>
            <pc:docMk/>
            <pc:sldMk cId="1458805602" sldId="624"/>
            <ac:picMk id="9220" creationId="{E7B6F32E-25BC-4900-91D4-DADC692AA612}"/>
          </ac:picMkLst>
        </pc:picChg>
      </pc:sldChg>
      <pc:sldChg chg="modSp add mod ord">
        <pc:chgData name="Thomas Stensitzki" userId="75cafe6b-2f2a-469b-85c4-eec3b9c972ba" providerId="ADAL" clId="{81A95A3F-591B-4915-9F30-386F1902D115}" dt="2022-06-08T12:00:37.745" v="1221" actId="1076"/>
        <pc:sldMkLst>
          <pc:docMk/>
          <pc:sldMk cId="772649472" sldId="625"/>
        </pc:sldMkLst>
        <pc:spChg chg="mod">
          <ac:chgData name="Thomas Stensitzki" userId="75cafe6b-2f2a-469b-85c4-eec3b9c972ba" providerId="ADAL" clId="{81A95A3F-591B-4915-9F30-386F1902D115}" dt="2022-06-08T12:00:37.745" v="1221" actId="1076"/>
          <ac:spMkLst>
            <pc:docMk/>
            <pc:sldMk cId="772649472" sldId="625"/>
            <ac:spMk id="2" creationId="{909DC09D-B9A6-4493-9A72-1CA7ECB1F5CA}"/>
          </ac:spMkLst>
        </pc:spChg>
        <pc:spChg chg="mod">
          <ac:chgData name="Thomas Stensitzki" userId="75cafe6b-2f2a-469b-85c4-eec3b9c972ba" providerId="ADAL" clId="{81A95A3F-591B-4915-9F30-386F1902D115}" dt="2022-06-08T09:40:01.035" v="651" actId="20577"/>
          <ac:spMkLst>
            <pc:docMk/>
            <pc:sldMk cId="772649472" sldId="625"/>
            <ac:spMk id="5" creationId="{C24DACB5-1BEC-4C86-9652-BAFD8DE56FEF}"/>
          </ac:spMkLst>
        </pc:spChg>
      </pc:sldChg>
      <pc:sldChg chg="addSp delSp modSp add mod ord modAnim">
        <pc:chgData name="Thomas Stensitzki" userId="75cafe6b-2f2a-469b-85c4-eec3b9c972ba" providerId="ADAL" clId="{81A95A3F-591B-4915-9F30-386F1902D115}" dt="2022-06-08T12:06:15.971" v="1284"/>
        <pc:sldMkLst>
          <pc:docMk/>
          <pc:sldMk cId="60466671" sldId="626"/>
        </pc:sldMkLst>
        <pc:spChg chg="mod">
          <ac:chgData name="Thomas Stensitzki" userId="75cafe6b-2f2a-469b-85c4-eec3b9c972ba" providerId="ADAL" clId="{81A95A3F-591B-4915-9F30-386F1902D115}" dt="2022-06-08T09:40:13.608" v="655"/>
          <ac:spMkLst>
            <pc:docMk/>
            <pc:sldMk cId="60466671" sldId="626"/>
            <ac:spMk id="2" creationId="{8F0EE741-1AA9-4E98-9676-69EE83AA3E40}"/>
          </ac:spMkLst>
        </pc:spChg>
        <pc:picChg chg="del">
          <ac:chgData name="Thomas Stensitzki" userId="75cafe6b-2f2a-469b-85c4-eec3b9c972ba" providerId="ADAL" clId="{81A95A3F-591B-4915-9F30-386F1902D115}" dt="2022-06-08T09:40:15.048" v="656" actId="478"/>
          <ac:picMkLst>
            <pc:docMk/>
            <pc:sldMk cId="60466671" sldId="626"/>
            <ac:picMk id="5122" creationId="{2F599F29-DA65-47FC-A4FF-26B135C988D5}"/>
          </ac:picMkLst>
        </pc:picChg>
        <pc:picChg chg="add mod">
          <ac:chgData name="Thomas Stensitzki" userId="75cafe6b-2f2a-469b-85c4-eec3b9c972ba" providerId="ADAL" clId="{81A95A3F-591B-4915-9F30-386F1902D115}" dt="2022-06-08T09:40:36.059" v="661" actId="1440"/>
          <ac:picMkLst>
            <pc:docMk/>
            <pc:sldMk cId="60466671" sldId="626"/>
            <ac:picMk id="10242" creationId="{BEEB2A67-E3B4-40D1-BE01-DD233D83DAF3}"/>
          </ac:picMkLst>
        </pc:picChg>
      </pc:sldChg>
      <pc:sldChg chg="addSp delSp modSp add mod modAnim">
        <pc:chgData name="Thomas Stensitzki" userId="75cafe6b-2f2a-469b-85c4-eec3b9c972ba" providerId="ADAL" clId="{81A95A3F-591B-4915-9F30-386F1902D115}" dt="2022-06-08T12:07:03.925" v="1300"/>
        <pc:sldMkLst>
          <pc:docMk/>
          <pc:sldMk cId="851289349" sldId="627"/>
        </pc:sldMkLst>
        <pc:spChg chg="mod">
          <ac:chgData name="Thomas Stensitzki" userId="75cafe6b-2f2a-469b-85c4-eec3b9c972ba" providerId="ADAL" clId="{81A95A3F-591B-4915-9F30-386F1902D115}" dt="2022-06-08T09:42:48.884" v="668" actId="20577"/>
          <ac:spMkLst>
            <pc:docMk/>
            <pc:sldMk cId="851289349" sldId="627"/>
            <ac:spMk id="2" creationId="{EC46AD28-746E-4246-884F-4DAE24C62042}"/>
          </ac:spMkLst>
        </pc:spChg>
        <pc:picChg chg="del">
          <ac:chgData name="Thomas Stensitzki" userId="75cafe6b-2f2a-469b-85c4-eec3b9c972ba" providerId="ADAL" clId="{81A95A3F-591B-4915-9F30-386F1902D115}" dt="2022-06-08T09:43:05.673" v="670" actId="478"/>
          <ac:picMkLst>
            <pc:docMk/>
            <pc:sldMk cId="851289349" sldId="627"/>
            <ac:picMk id="9218" creationId="{50A1BB1A-7CF3-4EE3-BF1B-75BF050379F1}"/>
          </ac:picMkLst>
        </pc:picChg>
        <pc:picChg chg="del">
          <ac:chgData name="Thomas Stensitzki" userId="75cafe6b-2f2a-469b-85c4-eec3b9c972ba" providerId="ADAL" clId="{81A95A3F-591B-4915-9F30-386F1902D115}" dt="2022-06-08T09:43:05.190" v="669" actId="478"/>
          <ac:picMkLst>
            <pc:docMk/>
            <pc:sldMk cId="851289349" sldId="627"/>
            <ac:picMk id="9220" creationId="{E7B6F32E-25BC-4900-91D4-DADC692AA612}"/>
          </ac:picMkLst>
        </pc:picChg>
        <pc:picChg chg="add mod">
          <ac:chgData name="Thomas Stensitzki" userId="75cafe6b-2f2a-469b-85c4-eec3b9c972ba" providerId="ADAL" clId="{81A95A3F-591B-4915-9F30-386F1902D115}" dt="2022-06-08T09:44:05.002" v="683" actId="1440"/>
          <ac:picMkLst>
            <pc:docMk/>
            <pc:sldMk cId="851289349" sldId="627"/>
            <ac:picMk id="11266" creationId="{60E12680-8F51-4512-9E26-FDC99B644A06}"/>
          </ac:picMkLst>
        </pc:picChg>
        <pc:picChg chg="add mod">
          <ac:chgData name="Thomas Stensitzki" userId="75cafe6b-2f2a-469b-85c4-eec3b9c972ba" providerId="ADAL" clId="{81A95A3F-591B-4915-9F30-386F1902D115}" dt="2022-06-08T09:44:03.655" v="682" actId="1440"/>
          <ac:picMkLst>
            <pc:docMk/>
            <pc:sldMk cId="851289349" sldId="627"/>
            <ac:picMk id="11268" creationId="{050444B5-4A22-48BF-94D3-A56D5A8642B9}"/>
          </ac:picMkLst>
        </pc:picChg>
      </pc:sldChg>
      <pc:sldChg chg="addSp delSp modSp add modAnim">
        <pc:chgData name="Thomas Stensitzki" userId="75cafe6b-2f2a-469b-85c4-eec3b9c972ba" providerId="ADAL" clId="{81A95A3F-591B-4915-9F30-386F1902D115}" dt="2022-06-08T12:07:08.400" v="1302"/>
        <pc:sldMkLst>
          <pc:docMk/>
          <pc:sldMk cId="2662624884" sldId="628"/>
        </pc:sldMkLst>
        <pc:picChg chg="del">
          <ac:chgData name="Thomas Stensitzki" userId="75cafe6b-2f2a-469b-85c4-eec3b9c972ba" providerId="ADAL" clId="{81A95A3F-591B-4915-9F30-386F1902D115}" dt="2022-06-08T09:44:58.051" v="685" actId="478"/>
          <ac:picMkLst>
            <pc:docMk/>
            <pc:sldMk cId="2662624884" sldId="628"/>
            <ac:picMk id="11266" creationId="{60E12680-8F51-4512-9E26-FDC99B644A06}"/>
          </ac:picMkLst>
        </pc:picChg>
        <pc:picChg chg="del">
          <ac:chgData name="Thomas Stensitzki" userId="75cafe6b-2f2a-469b-85c4-eec3b9c972ba" providerId="ADAL" clId="{81A95A3F-591B-4915-9F30-386F1902D115}" dt="2022-06-08T09:44:58.520" v="686" actId="478"/>
          <ac:picMkLst>
            <pc:docMk/>
            <pc:sldMk cId="2662624884" sldId="628"/>
            <ac:picMk id="11268" creationId="{050444B5-4A22-48BF-94D3-A56D5A8642B9}"/>
          </ac:picMkLst>
        </pc:picChg>
        <pc:picChg chg="add mod">
          <ac:chgData name="Thomas Stensitzki" userId="75cafe6b-2f2a-469b-85c4-eec3b9c972ba" providerId="ADAL" clId="{81A95A3F-591B-4915-9F30-386F1902D115}" dt="2022-06-08T09:45:07.769" v="689" actId="1440"/>
          <ac:picMkLst>
            <pc:docMk/>
            <pc:sldMk cId="2662624884" sldId="628"/>
            <ac:picMk id="12290" creationId="{5170E989-D817-4956-ACE0-F6174DD1AF50}"/>
          </ac:picMkLst>
        </pc:picChg>
      </pc:sldChg>
      <pc:sldChg chg="modSp add mod ord">
        <pc:chgData name="Thomas Stensitzki" userId="75cafe6b-2f2a-469b-85c4-eec3b9c972ba" providerId="ADAL" clId="{81A95A3F-591B-4915-9F30-386F1902D115}" dt="2022-06-08T11:54:14.326" v="949" actId="1076"/>
        <pc:sldMkLst>
          <pc:docMk/>
          <pc:sldMk cId="2218637555" sldId="629"/>
        </pc:sldMkLst>
        <pc:spChg chg="mod">
          <ac:chgData name="Thomas Stensitzki" userId="75cafe6b-2f2a-469b-85c4-eec3b9c972ba" providerId="ADAL" clId="{81A95A3F-591B-4915-9F30-386F1902D115}" dt="2022-06-08T11:54:14.326" v="949" actId="1076"/>
          <ac:spMkLst>
            <pc:docMk/>
            <pc:sldMk cId="2218637555" sldId="629"/>
            <ac:spMk id="2" creationId="{909DC09D-B9A6-4493-9A72-1CA7ECB1F5CA}"/>
          </ac:spMkLst>
        </pc:spChg>
      </pc:sldChg>
      <pc:sldChg chg="modSp add mod ord">
        <pc:chgData name="Thomas Stensitzki" userId="75cafe6b-2f2a-469b-85c4-eec3b9c972ba" providerId="ADAL" clId="{81A95A3F-591B-4915-9F30-386F1902D115}" dt="2022-06-08T11:54:30.738" v="959" actId="1036"/>
        <pc:sldMkLst>
          <pc:docMk/>
          <pc:sldMk cId="3271888249" sldId="630"/>
        </pc:sldMkLst>
        <pc:spChg chg="mod">
          <ac:chgData name="Thomas Stensitzki" userId="75cafe6b-2f2a-469b-85c4-eec3b9c972ba" providerId="ADAL" clId="{81A95A3F-591B-4915-9F30-386F1902D115}" dt="2022-06-08T11:54:30.738" v="959" actId="1036"/>
          <ac:spMkLst>
            <pc:docMk/>
            <pc:sldMk cId="3271888249" sldId="630"/>
            <ac:spMk id="2" creationId="{909DC09D-B9A6-4493-9A72-1CA7ECB1F5CA}"/>
          </ac:spMkLst>
        </pc:spChg>
      </pc:sldChg>
      <pc:sldChg chg="modSp add mod ord">
        <pc:chgData name="Thomas Stensitzki" userId="75cafe6b-2f2a-469b-85c4-eec3b9c972ba" providerId="ADAL" clId="{81A95A3F-591B-4915-9F30-386F1902D115}" dt="2022-06-08T11:54:43.727" v="983" actId="1035"/>
        <pc:sldMkLst>
          <pc:docMk/>
          <pc:sldMk cId="2569360966" sldId="631"/>
        </pc:sldMkLst>
        <pc:spChg chg="mod">
          <ac:chgData name="Thomas Stensitzki" userId="75cafe6b-2f2a-469b-85c4-eec3b9c972ba" providerId="ADAL" clId="{81A95A3F-591B-4915-9F30-386F1902D115}" dt="2022-06-08T11:54:43.727" v="983" actId="1035"/>
          <ac:spMkLst>
            <pc:docMk/>
            <pc:sldMk cId="2569360966" sldId="631"/>
            <ac:spMk id="2" creationId="{909DC09D-B9A6-4493-9A72-1CA7ECB1F5CA}"/>
          </ac:spMkLst>
        </pc:spChg>
      </pc:sldChg>
      <pc:sldChg chg="modSp add mod ord">
        <pc:chgData name="Thomas Stensitzki" userId="75cafe6b-2f2a-469b-85c4-eec3b9c972ba" providerId="ADAL" clId="{81A95A3F-591B-4915-9F30-386F1902D115}" dt="2022-06-08T11:54:56.799" v="1006" actId="1035"/>
        <pc:sldMkLst>
          <pc:docMk/>
          <pc:sldMk cId="3289523661" sldId="632"/>
        </pc:sldMkLst>
        <pc:spChg chg="mod">
          <ac:chgData name="Thomas Stensitzki" userId="75cafe6b-2f2a-469b-85c4-eec3b9c972ba" providerId="ADAL" clId="{81A95A3F-591B-4915-9F30-386F1902D115}" dt="2022-06-08T11:54:56.799" v="1006" actId="1035"/>
          <ac:spMkLst>
            <pc:docMk/>
            <pc:sldMk cId="3289523661" sldId="632"/>
            <ac:spMk id="2" creationId="{909DC09D-B9A6-4493-9A72-1CA7ECB1F5CA}"/>
          </ac:spMkLst>
        </pc:spChg>
      </pc:sldChg>
      <pc:sldChg chg="modSp add mod ord">
        <pc:chgData name="Thomas Stensitzki" userId="75cafe6b-2f2a-469b-85c4-eec3b9c972ba" providerId="ADAL" clId="{81A95A3F-591B-4915-9F30-386F1902D115}" dt="2022-06-08T11:55:10.365" v="1011" actId="14100"/>
        <pc:sldMkLst>
          <pc:docMk/>
          <pc:sldMk cId="561515482" sldId="633"/>
        </pc:sldMkLst>
        <pc:spChg chg="mod">
          <ac:chgData name="Thomas Stensitzki" userId="75cafe6b-2f2a-469b-85c4-eec3b9c972ba" providerId="ADAL" clId="{81A95A3F-591B-4915-9F30-386F1902D115}" dt="2022-06-08T11:55:10.365" v="1011" actId="14100"/>
          <ac:spMkLst>
            <pc:docMk/>
            <pc:sldMk cId="561515482" sldId="633"/>
            <ac:spMk id="2" creationId="{909DC09D-B9A6-4493-9A72-1CA7ECB1F5CA}"/>
          </ac:spMkLst>
        </pc:spChg>
      </pc:sldChg>
      <pc:sldChg chg="modSp add mod ord">
        <pc:chgData name="Thomas Stensitzki" userId="75cafe6b-2f2a-469b-85c4-eec3b9c972ba" providerId="ADAL" clId="{81A95A3F-591B-4915-9F30-386F1902D115}" dt="2022-06-08T11:56:35.479" v="1038" actId="1035"/>
        <pc:sldMkLst>
          <pc:docMk/>
          <pc:sldMk cId="708263922" sldId="634"/>
        </pc:sldMkLst>
        <pc:spChg chg="mod">
          <ac:chgData name="Thomas Stensitzki" userId="75cafe6b-2f2a-469b-85c4-eec3b9c972ba" providerId="ADAL" clId="{81A95A3F-591B-4915-9F30-386F1902D115}" dt="2022-06-08T11:56:35.479" v="1038" actId="1035"/>
          <ac:spMkLst>
            <pc:docMk/>
            <pc:sldMk cId="708263922" sldId="634"/>
            <ac:spMk id="2" creationId="{909DC09D-B9A6-4493-9A72-1CA7ECB1F5CA}"/>
          </ac:spMkLst>
        </pc:spChg>
      </pc:sldChg>
      <pc:sldChg chg="modSp add mod ord">
        <pc:chgData name="Thomas Stensitzki" userId="75cafe6b-2f2a-469b-85c4-eec3b9c972ba" providerId="ADAL" clId="{81A95A3F-591B-4915-9F30-386F1902D115}" dt="2022-06-08T11:56:52.183" v="1063" actId="1036"/>
        <pc:sldMkLst>
          <pc:docMk/>
          <pc:sldMk cId="1915675541" sldId="635"/>
        </pc:sldMkLst>
        <pc:spChg chg="mod">
          <ac:chgData name="Thomas Stensitzki" userId="75cafe6b-2f2a-469b-85c4-eec3b9c972ba" providerId="ADAL" clId="{81A95A3F-591B-4915-9F30-386F1902D115}" dt="2022-06-08T11:56:52.183" v="1063" actId="1036"/>
          <ac:spMkLst>
            <pc:docMk/>
            <pc:sldMk cId="1915675541" sldId="635"/>
            <ac:spMk id="2" creationId="{909DC09D-B9A6-4493-9A72-1CA7ECB1F5CA}"/>
          </ac:spMkLst>
        </pc:spChg>
      </pc:sldChg>
      <pc:sldChg chg="modSp add mod ord">
        <pc:chgData name="Thomas Stensitzki" userId="75cafe6b-2f2a-469b-85c4-eec3b9c972ba" providerId="ADAL" clId="{81A95A3F-591B-4915-9F30-386F1902D115}" dt="2022-06-08T11:57:16.143" v="1094" actId="14100"/>
        <pc:sldMkLst>
          <pc:docMk/>
          <pc:sldMk cId="162606529" sldId="636"/>
        </pc:sldMkLst>
        <pc:spChg chg="mod">
          <ac:chgData name="Thomas Stensitzki" userId="75cafe6b-2f2a-469b-85c4-eec3b9c972ba" providerId="ADAL" clId="{81A95A3F-591B-4915-9F30-386F1902D115}" dt="2022-06-08T11:57:16.143" v="1094" actId="14100"/>
          <ac:spMkLst>
            <pc:docMk/>
            <pc:sldMk cId="162606529" sldId="636"/>
            <ac:spMk id="2" creationId="{909DC09D-B9A6-4493-9A72-1CA7ECB1F5CA}"/>
          </ac:spMkLst>
        </pc:spChg>
      </pc:sldChg>
      <pc:sldChg chg="modSp add mod ord">
        <pc:chgData name="Thomas Stensitzki" userId="75cafe6b-2f2a-469b-85c4-eec3b9c972ba" providerId="ADAL" clId="{81A95A3F-591B-4915-9F30-386F1902D115}" dt="2022-06-08T11:58:43.655" v="1155"/>
        <pc:sldMkLst>
          <pc:docMk/>
          <pc:sldMk cId="2667813829" sldId="637"/>
        </pc:sldMkLst>
        <pc:spChg chg="mod">
          <ac:chgData name="Thomas Stensitzki" userId="75cafe6b-2f2a-469b-85c4-eec3b9c972ba" providerId="ADAL" clId="{81A95A3F-591B-4915-9F30-386F1902D115}" dt="2022-06-08T11:57:52.880" v="1148" actId="1036"/>
          <ac:spMkLst>
            <pc:docMk/>
            <pc:sldMk cId="2667813829" sldId="637"/>
            <ac:spMk id="2" creationId="{909DC09D-B9A6-4493-9A72-1CA7ECB1F5CA}"/>
          </ac:spMkLst>
        </pc:spChg>
      </pc:sldChg>
      <pc:sldChg chg="add del ord">
        <pc:chgData name="Thomas Stensitzki" userId="75cafe6b-2f2a-469b-85c4-eec3b9c972ba" providerId="ADAL" clId="{81A95A3F-591B-4915-9F30-386F1902D115}" dt="2022-06-08T11:58:50.591" v="1156" actId="47"/>
        <pc:sldMkLst>
          <pc:docMk/>
          <pc:sldMk cId="3925347447" sldId="638"/>
        </pc:sldMkLst>
      </pc:sldChg>
      <pc:sldChg chg="modSp add mod ord">
        <pc:chgData name="Thomas Stensitzki" userId="75cafe6b-2f2a-469b-85c4-eec3b9c972ba" providerId="ADAL" clId="{81A95A3F-591B-4915-9F30-386F1902D115}" dt="2022-06-08T11:59:17.007" v="1179" actId="1076"/>
        <pc:sldMkLst>
          <pc:docMk/>
          <pc:sldMk cId="2476629680" sldId="639"/>
        </pc:sldMkLst>
        <pc:spChg chg="mod">
          <ac:chgData name="Thomas Stensitzki" userId="75cafe6b-2f2a-469b-85c4-eec3b9c972ba" providerId="ADAL" clId="{81A95A3F-591B-4915-9F30-386F1902D115}" dt="2022-06-08T11:59:17.007" v="1179" actId="1076"/>
          <ac:spMkLst>
            <pc:docMk/>
            <pc:sldMk cId="2476629680" sldId="639"/>
            <ac:spMk id="2" creationId="{909DC09D-B9A6-4493-9A72-1CA7ECB1F5CA}"/>
          </ac:spMkLst>
        </pc:spChg>
      </pc:sldChg>
      <pc:sldChg chg="modSp add mod">
        <pc:chgData name="Thomas Stensitzki" userId="75cafe6b-2f2a-469b-85c4-eec3b9c972ba" providerId="ADAL" clId="{81A95A3F-591B-4915-9F30-386F1902D115}" dt="2022-06-08T11:58:59.451" v="1178" actId="1036"/>
        <pc:sldMkLst>
          <pc:docMk/>
          <pc:sldMk cId="3213284904" sldId="640"/>
        </pc:sldMkLst>
        <pc:spChg chg="mod">
          <ac:chgData name="Thomas Stensitzki" userId="75cafe6b-2f2a-469b-85c4-eec3b9c972ba" providerId="ADAL" clId="{81A95A3F-591B-4915-9F30-386F1902D115}" dt="2022-06-08T11:58:59.451" v="1178" actId="1036"/>
          <ac:spMkLst>
            <pc:docMk/>
            <pc:sldMk cId="3213284904" sldId="640"/>
            <ac:spMk id="2" creationId="{909DC09D-B9A6-4493-9A72-1CA7ECB1F5CA}"/>
          </ac:spMkLst>
        </pc:spChg>
      </pc:sldChg>
      <pc:sldChg chg="modSp add mod ord">
        <pc:chgData name="Thomas Stensitzki" userId="75cafe6b-2f2a-469b-85c4-eec3b9c972ba" providerId="ADAL" clId="{81A95A3F-591B-4915-9F30-386F1902D115}" dt="2022-06-08T11:59:54.753" v="1188"/>
        <pc:sldMkLst>
          <pc:docMk/>
          <pc:sldMk cId="2520872566" sldId="641"/>
        </pc:sldMkLst>
        <pc:spChg chg="mod">
          <ac:chgData name="Thomas Stensitzki" userId="75cafe6b-2f2a-469b-85c4-eec3b9c972ba" providerId="ADAL" clId="{81A95A3F-591B-4915-9F30-386F1902D115}" dt="2022-06-08T11:59:40.552" v="1186" actId="14100"/>
          <ac:spMkLst>
            <pc:docMk/>
            <pc:sldMk cId="2520872566" sldId="641"/>
            <ac:spMk id="2" creationId="{909DC09D-B9A6-4493-9A72-1CA7ECB1F5CA}"/>
          </ac:spMkLst>
        </pc:spChg>
      </pc:sldChg>
      <pc:sldChg chg="modSp add mod ord">
        <pc:chgData name="Thomas Stensitzki" userId="75cafe6b-2f2a-469b-85c4-eec3b9c972ba" providerId="ADAL" clId="{81A95A3F-591B-4915-9F30-386F1902D115}" dt="2022-06-08T12:00:04.270" v="1212" actId="1035"/>
        <pc:sldMkLst>
          <pc:docMk/>
          <pc:sldMk cId="1280337819" sldId="642"/>
        </pc:sldMkLst>
        <pc:spChg chg="mod">
          <ac:chgData name="Thomas Stensitzki" userId="75cafe6b-2f2a-469b-85c4-eec3b9c972ba" providerId="ADAL" clId="{81A95A3F-591B-4915-9F30-386F1902D115}" dt="2022-06-08T12:00:04.270" v="1212" actId="1035"/>
          <ac:spMkLst>
            <pc:docMk/>
            <pc:sldMk cId="1280337819" sldId="642"/>
            <ac:spMk id="2" creationId="{909DC09D-B9A6-4493-9A72-1CA7ECB1F5CA}"/>
          </ac:spMkLst>
        </pc:spChg>
      </pc:sldChg>
      <pc:sldChg chg="modSp add mod ord">
        <pc:chgData name="Thomas Stensitzki" userId="75cafe6b-2f2a-469b-85c4-eec3b9c972ba" providerId="ADAL" clId="{81A95A3F-591B-4915-9F30-386F1902D115}" dt="2022-06-08T12:00:15.741" v="1216" actId="1076"/>
        <pc:sldMkLst>
          <pc:docMk/>
          <pc:sldMk cId="2743587653" sldId="643"/>
        </pc:sldMkLst>
        <pc:spChg chg="mod">
          <ac:chgData name="Thomas Stensitzki" userId="75cafe6b-2f2a-469b-85c4-eec3b9c972ba" providerId="ADAL" clId="{81A95A3F-591B-4915-9F30-386F1902D115}" dt="2022-06-08T12:00:15.741" v="1216" actId="1076"/>
          <ac:spMkLst>
            <pc:docMk/>
            <pc:sldMk cId="2743587653" sldId="643"/>
            <ac:spMk id="2" creationId="{909DC09D-B9A6-4493-9A72-1CA7ECB1F5CA}"/>
          </ac:spMkLst>
        </pc:spChg>
      </pc:sldChg>
      <pc:sldChg chg="modSp add mod">
        <pc:chgData name="Thomas Stensitzki" userId="75cafe6b-2f2a-469b-85c4-eec3b9c972ba" providerId="ADAL" clId="{81A95A3F-591B-4915-9F30-386F1902D115}" dt="2022-06-08T12:00:21.636" v="1218" actId="1076"/>
        <pc:sldMkLst>
          <pc:docMk/>
          <pc:sldMk cId="3061187211" sldId="644"/>
        </pc:sldMkLst>
        <pc:spChg chg="mod">
          <ac:chgData name="Thomas Stensitzki" userId="75cafe6b-2f2a-469b-85c4-eec3b9c972ba" providerId="ADAL" clId="{81A95A3F-591B-4915-9F30-386F1902D115}" dt="2022-06-08T12:00:21.636" v="1218" actId="1076"/>
          <ac:spMkLst>
            <pc:docMk/>
            <pc:sldMk cId="3061187211" sldId="644"/>
            <ac:spMk id="2" creationId="{909DC09D-B9A6-4493-9A72-1CA7ECB1F5CA}"/>
          </ac:spMkLst>
        </pc:spChg>
      </pc:sldChg>
      <pc:sldChg chg="modSp add mod">
        <pc:chgData name="Thomas Stensitzki" userId="75cafe6b-2f2a-469b-85c4-eec3b9c972ba" providerId="ADAL" clId="{81A95A3F-591B-4915-9F30-386F1902D115}" dt="2022-06-08T12:00:30.547" v="1220" actId="1076"/>
        <pc:sldMkLst>
          <pc:docMk/>
          <pc:sldMk cId="2023922211" sldId="645"/>
        </pc:sldMkLst>
        <pc:spChg chg="mod">
          <ac:chgData name="Thomas Stensitzki" userId="75cafe6b-2f2a-469b-85c4-eec3b9c972ba" providerId="ADAL" clId="{81A95A3F-591B-4915-9F30-386F1902D115}" dt="2022-06-08T12:00:30.547" v="1220" actId="1076"/>
          <ac:spMkLst>
            <pc:docMk/>
            <pc:sldMk cId="2023922211" sldId="645"/>
            <ac:spMk id="2" creationId="{909DC09D-B9A6-4493-9A72-1CA7ECB1F5CA}"/>
          </ac:spMkLst>
        </pc:spChg>
      </pc:sldChg>
      <pc:sldChg chg="modSp add mod">
        <pc:chgData name="Thomas Stensitzki" userId="75cafe6b-2f2a-469b-85c4-eec3b9c972ba" providerId="ADAL" clId="{81A95A3F-591B-4915-9F30-386F1902D115}" dt="2022-06-08T12:01:13.252" v="1226" actId="14100"/>
        <pc:sldMkLst>
          <pc:docMk/>
          <pc:sldMk cId="4232995729" sldId="646"/>
        </pc:sldMkLst>
        <pc:spChg chg="mod">
          <ac:chgData name="Thomas Stensitzki" userId="75cafe6b-2f2a-469b-85c4-eec3b9c972ba" providerId="ADAL" clId="{81A95A3F-591B-4915-9F30-386F1902D115}" dt="2022-06-08T12:01:13.252" v="1226" actId="14100"/>
          <ac:spMkLst>
            <pc:docMk/>
            <pc:sldMk cId="4232995729" sldId="646"/>
            <ac:spMk id="2" creationId="{909DC09D-B9A6-4493-9A72-1CA7ECB1F5CA}"/>
          </ac:spMkLst>
        </pc:spChg>
      </pc:sldChg>
      <pc:sldChg chg="add del ord">
        <pc:chgData name="Thomas Stensitzki" userId="75cafe6b-2f2a-469b-85c4-eec3b9c972ba" providerId="ADAL" clId="{81A95A3F-591B-4915-9F30-386F1902D115}" dt="2022-06-08T12:06:36.768" v="1288" actId="47"/>
        <pc:sldMkLst>
          <pc:docMk/>
          <pc:sldMk cId="3947433637" sldId="647"/>
        </pc:sldMkLst>
      </pc:sldChg>
      <pc:sldChg chg="modSp add mod ord">
        <pc:chgData name="Thomas Stensitzki" userId="75cafe6b-2f2a-469b-85c4-eec3b9c972ba" providerId="ADAL" clId="{81A95A3F-591B-4915-9F30-386F1902D115}" dt="2022-06-08T12:01:52.579" v="1237" actId="1036"/>
        <pc:sldMkLst>
          <pc:docMk/>
          <pc:sldMk cId="1507941917" sldId="648"/>
        </pc:sldMkLst>
        <pc:spChg chg="mod">
          <ac:chgData name="Thomas Stensitzki" userId="75cafe6b-2f2a-469b-85c4-eec3b9c972ba" providerId="ADAL" clId="{81A95A3F-591B-4915-9F30-386F1902D115}" dt="2022-06-08T12:01:52.579" v="1237" actId="1036"/>
          <ac:spMkLst>
            <pc:docMk/>
            <pc:sldMk cId="1507941917" sldId="648"/>
            <ac:spMk id="2" creationId="{909DC09D-B9A6-4493-9A72-1CA7ECB1F5CA}"/>
          </ac:spMkLst>
        </pc:spChg>
      </pc:sldChg>
      <pc:sldChg chg="modSp add mod">
        <pc:chgData name="Thomas Stensitzki" userId="75cafe6b-2f2a-469b-85c4-eec3b9c972ba" providerId="ADAL" clId="{81A95A3F-591B-4915-9F30-386F1902D115}" dt="2022-06-08T12:02:04.703" v="1239" actId="1076"/>
        <pc:sldMkLst>
          <pc:docMk/>
          <pc:sldMk cId="1632744645" sldId="649"/>
        </pc:sldMkLst>
        <pc:spChg chg="mod">
          <ac:chgData name="Thomas Stensitzki" userId="75cafe6b-2f2a-469b-85c4-eec3b9c972ba" providerId="ADAL" clId="{81A95A3F-591B-4915-9F30-386F1902D115}" dt="2022-06-08T12:02:04.703" v="1239" actId="1076"/>
          <ac:spMkLst>
            <pc:docMk/>
            <pc:sldMk cId="1632744645" sldId="649"/>
            <ac:spMk id="2" creationId="{909DC09D-B9A6-4493-9A72-1CA7ECB1F5CA}"/>
          </ac:spMkLst>
        </pc:spChg>
      </pc:sldChg>
      <pc:sldChg chg="modSp add mod ord">
        <pc:chgData name="Thomas Stensitzki" userId="75cafe6b-2f2a-469b-85c4-eec3b9c972ba" providerId="ADAL" clId="{81A95A3F-591B-4915-9F30-386F1902D115}" dt="2022-06-08T12:02:13.487" v="1243" actId="1076"/>
        <pc:sldMkLst>
          <pc:docMk/>
          <pc:sldMk cId="2904891794" sldId="650"/>
        </pc:sldMkLst>
        <pc:spChg chg="mod">
          <ac:chgData name="Thomas Stensitzki" userId="75cafe6b-2f2a-469b-85c4-eec3b9c972ba" providerId="ADAL" clId="{81A95A3F-591B-4915-9F30-386F1902D115}" dt="2022-06-08T12:02:13.487" v="1243" actId="1076"/>
          <ac:spMkLst>
            <pc:docMk/>
            <pc:sldMk cId="2904891794" sldId="650"/>
            <ac:spMk id="2" creationId="{909DC09D-B9A6-4493-9A72-1CA7ECB1F5CA}"/>
          </ac:spMkLst>
        </pc:spChg>
      </pc:sldChg>
      <pc:sldChg chg="modSp add mod">
        <pc:chgData name="Thomas Stensitzki" userId="75cafe6b-2f2a-469b-85c4-eec3b9c972ba" providerId="ADAL" clId="{81A95A3F-591B-4915-9F30-386F1902D115}" dt="2022-06-08T12:02:24.113" v="1246" actId="1035"/>
        <pc:sldMkLst>
          <pc:docMk/>
          <pc:sldMk cId="448268979" sldId="651"/>
        </pc:sldMkLst>
        <pc:spChg chg="mod">
          <ac:chgData name="Thomas Stensitzki" userId="75cafe6b-2f2a-469b-85c4-eec3b9c972ba" providerId="ADAL" clId="{81A95A3F-591B-4915-9F30-386F1902D115}" dt="2022-06-08T12:02:24.113" v="1246" actId="1035"/>
          <ac:spMkLst>
            <pc:docMk/>
            <pc:sldMk cId="448268979" sldId="651"/>
            <ac:spMk id="2" creationId="{909DC09D-B9A6-4493-9A72-1CA7ECB1F5CA}"/>
          </ac:spMkLst>
        </pc:spChg>
      </pc:sldChg>
    </pc:docChg>
  </pc:docChgLst>
  <pc:docChgLst>
    <pc:chgData name="Thomas Stensitzki" userId="75cafe6b-2f2a-469b-85c4-eec3b9c972ba" providerId="ADAL" clId="{CC54F8A9-7FC0-4CB0-B32E-A2A3196CB257}"/>
    <pc:docChg chg="undo custSel addSld delSld modSld sldOrd modSection">
      <pc:chgData name="Thomas Stensitzki" userId="75cafe6b-2f2a-469b-85c4-eec3b9c972ba" providerId="ADAL" clId="{CC54F8A9-7FC0-4CB0-B32E-A2A3196CB257}" dt="2020-11-12T19:11:13.100" v="52"/>
      <pc:docMkLst>
        <pc:docMk/>
      </pc:docMkLst>
      <pc:sldChg chg="modSp add del mod">
        <pc:chgData name="Thomas Stensitzki" userId="75cafe6b-2f2a-469b-85c4-eec3b9c972ba" providerId="ADAL" clId="{CC54F8A9-7FC0-4CB0-B32E-A2A3196CB257}" dt="2020-11-12T19:11:13.100" v="52"/>
        <pc:sldMkLst>
          <pc:docMk/>
          <pc:sldMk cId="2855324227" sldId="257"/>
        </pc:sldMkLst>
        <pc:graphicFrameChg chg="mod modGraphic">
          <ac:chgData name="Thomas Stensitzki" userId="75cafe6b-2f2a-469b-85c4-eec3b9c972ba" providerId="ADAL" clId="{CC54F8A9-7FC0-4CB0-B32E-A2A3196CB257}" dt="2020-11-12T19:11:13.100" v="52"/>
          <ac:graphicFrameMkLst>
            <pc:docMk/>
            <pc:sldMk cId="2855324227" sldId="257"/>
            <ac:graphicFrameMk id="6" creationId="{0F955DCC-462D-431D-BBDE-26F10687D590}"/>
          </ac:graphicFrameMkLst>
        </pc:graphicFrameChg>
      </pc:sldChg>
      <pc:sldChg chg="modSp mod">
        <pc:chgData name="Thomas Stensitzki" userId="75cafe6b-2f2a-469b-85c4-eec3b9c972ba" providerId="ADAL" clId="{CC54F8A9-7FC0-4CB0-B32E-A2A3196CB257}" dt="2020-11-10T19:12:45.211" v="23" actId="6549"/>
        <pc:sldMkLst>
          <pc:docMk/>
          <pc:sldMk cId="2698998357" sldId="260"/>
        </pc:sldMkLst>
        <pc:spChg chg="mod">
          <ac:chgData name="Thomas Stensitzki" userId="75cafe6b-2f2a-469b-85c4-eec3b9c972ba" providerId="ADAL" clId="{CC54F8A9-7FC0-4CB0-B32E-A2A3196CB257}" dt="2020-11-10T19:12:45.211" v="23" actId="6549"/>
          <ac:spMkLst>
            <pc:docMk/>
            <pc:sldMk cId="2698998357" sldId="260"/>
            <ac:spMk id="5" creationId="{F3459BE7-1731-4733-A912-12977C68CFD6}"/>
          </ac:spMkLst>
        </pc:spChg>
      </pc:sldChg>
      <pc:sldChg chg="addSp delSp mod">
        <pc:chgData name="Thomas Stensitzki" userId="75cafe6b-2f2a-469b-85c4-eec3b9c972ba" providerId="ADAL" clId="{CC54F8A9-7FC0-4CB0-B32E-A2A3196CB257}" dt="2020-11-12T18:18:08.525" v="27" actId="22"/>
        <pc:sldMkLst>
          <pc:docMk/>
          <pc:sldMk cId="466045460" sldId="296"/>
        </pc:sldMkLst>
        <pc:spChg chg="add del">
          <ac:chgData name="Thomas Stensitzki" userId="75cafe6b-2f2a-469b-85c4-eec3b9c972ba" providerId="ADAL" clId="{CC54F8A9-7FC0-4CB0-B32E-A2A3196CB257}" dt="2020-11-12T18:18:08.525" v="27" actId="22"/>
          <ac:spMkLst>
            <pc:docMk/>
            <pc:sldMk cId="466045460" sldId="296"/>
            <ac:spMk id="5" creationId="{18743737-D4F6-4765-ADA6-F2A5A1B799B1}"/>
          </ac:spMkLst>
        </pc:spChg>
      </pc:sldChg>
      <pc:sldChg chg="del mod modShow">
        <pc:chgData name="Thomas Stensitzki" userId="75cafe6b-2f2a-469b-85c4-eec3b9c972ba" providerId="ADAL" clId="{CC54F8A9-7FC0-4CB0-B32E-A2A3196CB257}" dt="2020-11-12T18:17:34.922" v="25" actId="2696"/>
        <pc:sldMkLst>
          <pc:docMk/>
          <pc:sldMk cId="3714862591" sldId="351"/>
        </pc:sldMkLst>
      </pc:sldChg>
      <pc:sldChg chg="modSp add mod ord">
        <pc:chgData name="Thomas Stensitzki" userId="75cafe6b-2f2a-469b-85c4-eec3b9c972ba" providerId="ADAL" clId="{CC54F8A9-7FC0-4CB0-B32E-A2A3196CB257}" dt="2020-11-12T19:10:30.813" v="50" actId="20577"/>
        <pc:sldMkLst>
          <pc:docMk/>
          <pc:sldMk cId="838709494" sldId="376"/>
        </pc:sldMkLst>
        <pc:graphicFrameChg chg="modGraphic">
          <ac:chgData name="Thomas Stensitzki" userId="75cafe6b-2f2a-469b-85c4-eec3b9c972ba" providerId="ADAL" clId="{CC54F8A9-7FC0-4CB0-B32E-A2A3196CB257}" dt="2020-11-12T19:10:30.813" v="50" actId="20577"/>
          <ac:graphicFrameMkLst>
            <pc:docMk/>
            <pc:sldMk cId="838709494" sldId="376"/>
            <ac:graphicFrameMk id="6" creationId="{0F955DCC-462D-431D-BBDE-26F10687D590}"/>
          </ac:graphicFrameMkLst>
        </pc:graphicFrameChg>
      </pc:sldChg>
    </pc:docChg>
  </pc:docChgLst>
  <pc:docChgLst>
    <pc:chgData name="Thomas Stensitzki" userId="75cafe6b-2f2a-469b-85c4-eec3b9c972ba" providerId="ADAL" clId="{9F9E9FDF-7C61-4792-941E-3BBD6C5DB2FE}"/>
    <pc:docChg chg="undo custSel addSld delSld modSld sldOrd modMainMaster modSection">
      <pc:chgData name="Thomas Stensitzki" userId="75cafe6b-2f2a-469b-85c4-eec3b9c972ba" providerId="ADAL" clId="{9F9E9FDF-7C61-4792-941E-3BBD6C5DB2FE}" dt="2021-02-02T13:19:58.795" v="1851" actId="6549"/>
      <pc:docMkLst>
        <pc:docMk/>
      </pc:docMkLst>
      <pc:sldChg chg="modSp mod modTransition">
        <pc:chgData name="Thomas Stensitzki" userId="75cafe6b-2f2a-469b-85c4-eec3b9c972ba" providerId="ADAL" clId="{9F9E9FDF-7C61-4792-941E-3BBD6C5DB2FE}" dt="2021-02-02T12:16:03.409" v="1540"/>
        <pc:sldMkLst>
          <pc:docMk/>
          <pc:sldMk cId="671489701" sldId="256"/>
        </pc:sldMkLst>
        <pc:spChg chg="mod">
          <ac:chgData name="Thomas Stensitzki" userId="75cafe6b-2f2a-469b-85c4-eec3b9c972ba" providerId="ADAL" clId="{9F9E9FDF-7C61-4792-941E-3BBD6C5DB2FE}" dt="2021-02-01T13:27:49.117" v="16" actId="20577"/>
          <ac:spMkLst>
            <pc:docMk/>
            <pc:sldMk cId="671489701" sldId="256"/>
            <ac:spMk id="3" creationId="{CBA95633-B02D-4A15-A8B1-A38E0A70FD27}"/>
          </ac:spMkLst>
        </pc:spChg>
      </pc:sldChg>
      <pc:sldChg chg="modSp mod modTransition">
        <pc:chgData name="Thomas Stensitzki" userId="75cafe6b-2f2a-469b-85c4-eec3b9c972ba" providerId="ADAL" clId="{9F9E9FDF-7C61-4792-941E-3BBD6C5DB2FE}" dt="2021-02-02T12:16:03.409" v="1540"/>
        <pc:sldMkLst>
          <pc:docMk/>
          <pc:sldMk cId="2855324227" sldId="257"/>
        </pc:sldMkLst>
        <pc:spChg chg="mod">
          <ac:chgData name="Thomas Stensitzki" userId="75cafe6b-2f2a-469b-85c4-eec3b9c972ba" providerId="ADAL" clId="{9F9E9FDF-7C61-4792-941E-3BBD6C5DB2FE}" dt="2021-02-01T13:29:45.139" v="53" actId="20577"/>
          <ac:spMkLst>
            <pc:docMk/>
            <pc:sldMk cId="2855324227" sldId="257"/>
            <ac:spMk id="5" creationId="{EE6719E1-4DB6-4D58-BA77-937CF975247C}"/>
          </ac:spMkLst>
        </pc:spChg>
        <pc:graphicFrameChg chg="mod modGraphic">
          <ac:chgData name="Thomas Stensitzki" userId="75cafe6b-2f2a-469b-85c4-eec3b9c972ba" providerId="ADAL" clId="{9F9E9FDF-7C61-4792-941E-3BBD6C5DB2FE}" dt="2021-02-01T16:04:37.874" v="61"/>
          <ac:graphicFrameMkLst>
            <pc:docMk/>
            <pc:sldMk cId="2855324227" sldId="257"/>
            <ac:graphicFrameMk id="6" creationId="{0F955DCC-462D-431D-BBDE-26F10687D590}"/>
          </ac:graphicFrameMkLst>
        </pc:graphicFrameChg>
      </pc:sldChg>
      <pc:sldChg chg="modSp mod ord modTransition">
        <pc:chgData name="Thomas Stensitzki" userId="75cafe6b-2f2a-469b-85c4-eec3b9c972ba" providerId="ADAL" clId="{9F9E9FDF-7C61-4792-941E-3BBD6C5DB2FE}" dt="2021-02-02T12:16:03.409" v="1540"/>
        <pc:sldMkLst>
          <pc:docMk/>
          <pc:sldMk cId="3332792154" sldId="258"/>
        </pc:sldMkLst>
        <pc:spChg chg="mod">
          <ac:chgData name="Thomas Stensitzki" userId="75cafe6b-2f2a-469b-85c4-eec3b9c972ba" providerId="ADAL" clId="{9F9E9FDF-7C61-4792-941E-3BBD6C5DB2FE}" dt="2021-02-01T16:10:23.253" v="411" actId="20577"/>
          <ac:spMkLst>
            <pc:docMk/>
            <pc:sldMk cId="3332792154" sldId="258"/>
            <ac:spMk id="3" creationId="{3A5A44EB-7FB9-473A-8ED3-C49DDD2E65AB}"/>
          </ac:spMkLst>
        </pc:spChg>
      </pc:sldChg>
      <pc:sldChg chg="modTransition">
        <pc:chgData name="Thomas Stensitzki" userId="75cafe6b-2f2a-469b-85c4-eec3b9c972ba" providerId="ADAL" clId="{9F9E9FDF-7C61-4792-941E-3BBD6C5DB2FE}" dt="2021-02-02T12:16:03.409" v="1540"/>
        <pc:sldMkLst>
          <pc:docMk/>
          <pc:sldMk cId="1545829058" sldId="259"/>
        </pc:sldMkLst>
      </pc:sldChg>
      <pc:sldChg chg="modSp mod modTransition">
        <pc:chgData name="Thomas Stensitzki" userId="75cafe6b-2f2a-469b-85c4-eec3b9c972ba" providerId="ADAL" clId="{9F9E9FDF-7C61-4792-941E-3BBD6C5DB2FE}" dt="2021-02-02T12:16:03.409" v="1540"/>
        <pc:sldMkLst>
          <pc:docMk/>
          <pc:sldMk cId="2698998357" sldId="260"/>
        </pc:sldMkLst>
        <pc:spChg chg="mod">
          <ac:chgData name="Thomas Stensitzki" userId="75cafe6b-2f2a-469b-85c4-eec3b9c972ba" providerId="ADAL" clId="{9F9E9FDF-7C61-4792-941E-3BBD6C5DB2FE}" dt="2021-02-01T16:03:10.522" v="55"/>
          <ac:spMkLst>
            <pc:docMk/>
            <pc:sldMk cId="2698998357" sldId="260"/>
            <ac:spMk id="4" creationId="{F3A15CBD-C746-44A3-A4F0-4898CE2F02E6}"/>
          </ac:spMkLst>
        </pc:spChg>
        <pc:spChg chg="mod">
          <ac:chgData name="Thomas Stensitzki" userId="75cafe6b-2f2a-469b-85c4-eec3b9c972ba" providerId="ADAL" clId="{9F9E9FDF-7C61-4792-941E-3BBD6C5DB2FE}" dt="2021-02-01T16:04:18.898" v="60"/>
          <ac:spMkLst>
            <pc:docMk/>
            <pc:sldMk cId="2698998357" sldId="260"/>
            <ac:spMk id="5" creationId="{F3459BE7-1731-4733-A912-12977C68CFD6}"/>
          </ac:spMkLst>
        </pc:spChg>
      </pc:sldChg>
      <pc:sldChg chg="modTransition">
        <pc:chgData name="Thomas Stensitzki" userId="75cafe6b-2f2a-469b-85c4-eec3b9c972ba" providerId="ADAL" clId="{9F9E9FDF-7C61-4792-941E-3BBD6C5DB2FE}" dt="2021-02-02T12:16:03.409" v="1540"/>
        <pc:sldMkLst>
          <pc:docMk/>
          <pc:sldMk cId="4007670073" sldId="268"/>
        </pc:sldMkLst>
      </pc:sldChg>
      <pc:sldChg chg="delSp modSp mod ord modTransition">
        <pc:chgData name="Thomas Stensitzki" userId="75cafe6b-2f2a-469b-85c4-eec3b9c972ba" providerId="ADAL" clId="{9F9E9FDF-7C61-4792-941E-3BBD6C5DB2FE}" dt="2021-02-02T12:16:03.409" v="1540"/>
        <pc:sldMkLst>
          <pc:docMk/>
          <pc:sldMk cId="2721051844" sldId="269"/>
        </pc:sldMkLst>
        <pc:spChg chg="del">
          <ac:chgData name="Thomas Stensitzki" userId="75cafe6b-2f2a-469b-85c4-eec3b9c972ba" providerId="ADAL" clId="{9F9E9FDF-7C61-4792-941E-3BBD6C5DB2FE}" dt="2021-02-01T16:27:24.006" v="417" actId="478"/>
          <ac:spMkLst>
            <pc:docMk/>
            <pc:sldMk cId="2721051844" sldId="269"/>
            <ac:spMk id="2" creationId="{909DC09D-B9A6-4493-9A72-1CA7ECB1F5CA}"/>
          </ac:spMkLst>
        </pc:spChg>
        <pc:spChg chg="mod">
          <ac:chgData name="Thomas Stensitzki" userId="75cafe6b-2f2a-469b-85c4-eec3b9c972ba" providerId="ADAL" clId="{9F9E9FDF-7C61-4792-941E-3BBD6C5DB2FE}" dt="2021-02-01T16:27:28.592" v="429" actId="20577"/>
          <ac:spMkLst>
            <pc:docMk/>
            <pc:sldMk cId="2721051844" sldId="269"/>
            <ac:spMk id="4" creationId="{D12969B4-351A-4517-A5B8-3E6AD9CDB206}"/>
          </ac:spMkLst>
        </pc:spChg>
        <pc:spChg chg="mod">
          <ac:chgData name="Thomas Stensitzki" userId="75cafe6b-2f2a-469b-85c4-eec3b9c972ba" providerId="ADAL" clId="{9F9E9FDF-7C61-4792-941E-3BBD6C5DB2FE}" dt="2021-02-01T16:28:27.905" v="505" actId="20577"/>
          <ac:spMkLst>
            <pc:docMk/>
            <pc:sldMk cId="2721051844" sldId="269"/>
            <ac:spMk id="5" creationId="{C24DACB5-1BEC-4C86-9652-BAFD8DE56FEF}"/>
          </ac:spMkLst>
        </pc:spChg>
      </pc:sldChg>
      <pc:sldChg chg="modTransition">
        <pc:chgData name="Thomas Stensitzki" userId="75cafe6b-2f2a-469b-85c4-eec3b9c972ba" providerId="ADAL" clId="{9F9E9FDF-7C61-4792-941E-3BBD6C5DB2FE}" dt="2021-02-02T12:16:03.409" v="1540"/>
        <pc:sldMkLst>
          <pc:docMk/>
          <pc:sldMk cId="1928334901" sldId="295"/>
        </pc:sldMkLst>
      </pc:sldChg>
      <pc:sldChg chg="modSp mod modTransition">
        <pc:chgData name="Thomas Stensitzki" userId="75cafe6b-2f2a-469b-85c4-eec3b9c972ba" providerId="ADAL" clId="{9F9E9FDF-7C61-4792-941E-3BBD6C5DB2FE}" dt="2021-02-02T12:16:03.409" v="1540"/>
        <pc:sldMkLst>
          <pc:docMk/>
          <pc:sldMk cId="466045460" sldId="296"/>
        </pc:sldMkLst>
        <pc:spChg chg="mod">
          <ac:chgData name="Thomas Stensitzki" userId="75cafe6b-2f2a-469b-85c4-eec3b9c972ba" providerId="ADAL" clId="{9F9E9FDF-7C61-4792-941E-3BBD6C5DB2FE}" dt="2021-02-02T12:11:23.870" v="1528" actId="6549"/>
          <ac:spMkLst>
            <pc:docMk/>
            <pc:sldMk cId="466045460" sldId="296"/>
            <ac:spMk id="3" creationId="{3DE143F2-5A09-45BF-B00B-7298420C5BE2}"/>
          </ac:spMkLst>
        </pc:spChg>
      </pc:sldChg>
      <pc:sldChg chg="modSp mod modTransition">
        <pc:chgData name="Thomas Stensitzki" userId="75cafe6b-2f2a-469b-85c4-eec3b9c972ba" providerId="ADAL" clId="{9F9E9FDF-7C61-4792-941E-3BBD6C5DB2FE}" dt="2021-02-02T12:16:03.409" v="1540"/>
        <pc:sldMkLst>
          <pc:docMk/>
          <pc:sldMk cId="53967156" sldId="297"/>
        </pc:sldMkLst>
        <pc:spChg chg="mod">
          <ac:chgData name="Thomas Stensitzki" userId="75cafe6b-2f2a-469b-85c4-eec3b9c972ba" providerId="ADAL" clId="{9F9E9FDF-7C61-4792-941E-3BBD6C5DB2FE}" dt="2021-02-01T16:04:47.851" v="62"/>
          <ac:spMkLst>
            <pc:docMk/>
            <pc:sldMk cId="53967156" sldId="297"/>
            <ac:spMk id="4" creationId="{F3A15CBD-C746-44A3-A4F0-4898CE2F02E6}"/>
          </ac:spMkLst>
        </pc:spChg>
        <pc:spChg chg="mod">
          <ac:chgData name="Thomas Stensitzki" userId="75cafe6b-2f2a-469b-85c4-eec3b9c972ba" providerId="ADAL" clId="{9F9E9FDF-7C61-4792-941E-3BBD6C5DB2FE}" dt="2021-02-01T16:05:19.815" v="67" actId="27636"/>
          <ac:spMkLst>
            <pc:docMk/>
            <pc:sldMk cId="53967156" sldId="297"/>
            <ac:spMk id="5" creationId="{F3459BE7-1731-4733-A912-12977C68CFD6}"/>
          </ac:spMkLst>
        </pc:spChg>
      </pc:sldChg>
      <pc:sldChg chg="modTransition">
        <pc:chgData name="Thomas Stensitzki" userId="75cafe6b-2f2a-469b-85c4-eec3b9c972ba" providerId="ADAL" clId="{9F9E9FDF-7C61-4792-941E-3BBD6C5DB2FE}" dt="2021-02-02T12:16:03.409" v="1540"/>
        <pc:sldMkLst>
          <pc:docMk/>
          <pc:sldMk cId="2814967912" sldId="311"/>
        </pc:sldMkLst>
      </pc:sldChg>
      <pc:sldChg chg="modSp mod modTransition modAnim">
        <pc:chgData name="Thomas Stensitzki" userId="75cafe6b-2f2a-469b-85c4-eec3b9c972ba" providerId="ADAL" clId="{9F9E9FDF-7C61-4792-941E-3BBD6C5DB2FE}" dt="2021-02-02T12:16:03.409" v="1540"/>
        <pc:sldMkLst>
          <pc:docMk/>
          <pc:sldMk cId="222169851" sldId="312"/>
        </pc:sldMkLst>
        <pc:spChg chg="mod">
          <ac:chgData name="Thomas Stensitzki" userId="75cafe6b-2f2a-469b-85c4-eec3b9c972ba" providerId="ADAL" clId="{9F9E9FDF-7C61-4792-941E-3BBD6C5DB2FE}" dt="2021-02-01T16:09:23.104" v="348" actId="20577"/>
          <ac:spMkLst>
            <pc:docMk/>
            <pc:sldMk cId="222169851" sldId="312"/>
            <ac:spMk id="5" creationId="{E4B561B6-C0CF-43D8-8BC7-F305B96C47C8}"/>
          </ac:spMkLst>
        </pc:spChg>
      </pc:sldChg>
      <pc:sldChg chg="modTransition">
        <pc:chgData name="Thomas Stensitzki" userId="75cafe6b-2f2a-469b-85c4-eec3b9c972ba" providerId="ADAL" clId="{9F9E9FDF-7C61-4792-941E-3BBD6C5DB2FE}" dt="2021-02-02T12:16:03.409" v="1540"/>
        <pc:sldMkLst>
          <pc:docMk/>
          <pc:sldMk cId="726195275" sldId="313"/>
        </pc:sldMkLst>
      </pc:sldChg>
      <pc:sldChg chg="del">
        <pc:chgData name="Thomas Stensitzki" userId="75cafe6b-2f2a-469b-85c4-eec3b9c972ba" providerId="ADAL" clId="{9F9E9FDF-7C61-4792-941E-3BBD6C5DB2FE}" dt="2021-02-01T16:30:25.532" v="513" actId="47"/>
        <pc:sldMkLst>
          <pc:docMk/>
          <pc:sldMk cId="3686415854" sldId="336"/>
        </pc:sldMkLst>
      </pc:sldChg>
      <pc:sldChg chg="del">
        <pc:chgData name="Thomas Stensitzki" userId="75cafe6b-2f2a-469b-85c4-eec3b9c972ba" providerId="ADAL" clId="{9F9E9FDF-7C61-4792-941E-3BBD6C5DB2FE}" dt="2021-02-01T16:30:18.702" v="512" actId="47"/>
        <pc:sldMkLst>
          <pc:docMk/>
          <pc:sldMk cId="3622499056" sldId="337"/>
        </pc:sldMkLst>
      </pc:sldChg>
      <pc:sldChg chg="del">
        <pc:chgData name="Thomas Stensitzki" userId="75cafe6b-2f2a-469b-85c4-eec3b9c972ba" providerId="ADAL" clId="{9F9E9FDF-7C61-4792-941E-3BBD6C5DB2FE}" dt="2021-02-01T16:29:52.267" v="508" actId="47"/>
        <pc:sldMkLst>
          <pc:docMk/>
          <pc:sldMk cId="3181094570" sldId="338"/>
        </pc:sldMkLst>
      </pc:sldChg>
      <pc:sldChg chg="del">
        <pc:chgData name="Thomas Stensitzki" userId="75cafe6b-2f2a-469b-85c4-eec3b9c972ba" providerId="ADAL" clId="{9F9E9FDF-7C61-4792-941E-3BBD6C5DB2FE}" dt="2021-02-01T16:30:18.702" v="512" actId="47"/>
        <pc:sldMkLst>
          <pc:docMk/>
          <pc:sldMk cId="1736096156" sldId="339"/>
        </pc:sldMkLst>
      </pc:sldChg>
      <pc:sldChg chg="del">
        <pc:chgData name="Thomas Stensitzki" userId="75cafe6b-2f2a-469b-85c4-eec3b9c972ba" providerId="ADAL" clId="{9F9E9FDF-7C61-4792-941E-3BBD6C5DB2FE}" dt="2021-02-01T16:30:18.702" v="512" actId="47"/>
        <pc:sldMkLst>
          <pc:docMk/>
          <pc:sldMk cId="1438636221" sldId="340"/>
        </pc:sldMkLst>
      </pc:sldChg>
      <pc:sldChg chg="del">
        <pc:chgData name="Thomas Stensitzki" userId="75cafe6b-2f2a-469b-85c4-eec3b9c972ba" providerId="ADAL" clId="{9F9E9FDF-7C61-4792-941E-3BBD6C5DB2FE}" dt="2021-02-01T16:30:18.702" v="512" actId="47"/>
        <pc:sldMkLst>
          <pc:docMk/>
          <pc:sldMk cId="2410740870" sldId="341"/>
        </pc:sldMkLst>
      </pc:sldChg>
      <pc:sldChg chg="del">
        <pc:chgData name="Thomas Stensitzki" userId="75cafe6b-2f2a-469b-85c4-eec3b9c972ba" providerId="ADAL" clId="{9F9E9FDF-7C61-4792-941E-3BBD6C5DB2FE}" dt="2021-02-01T16:29:52.267" v="508" actId="47"/>
        <pc:sldMkLst>
          <pc:docMk/>
          <pc:sldMk cId="2725752728" sldId="342"/>
        </pc:sldMkLst>
      </pc:sldChg>
      <pc:sldChg chg="del">
        <pc:chgData name="Thomas Stensitzki" userId="75cafe6b-2f2a-469b-85c4-eec3b9c972ba" providerId="ADAL" clId="{9F9E9FDF-7C61-4792-941E-3BBD6C5DB2FE}" dt="2021-02-01T16:29:52.267" v="508" actId="47"/>
        <pc:sldMkLst>
          <pc:docMk/>
          <pc:sldMk cId="3280483003" sldId="343"/>
        </pc:sldMkLst>
      </pc:sldChg>
      <pc:sldChg chg="del">
        <pc:chgData name="Thomas Stensitzki" userId="75cafe6b-2f2a-469b-85c4-eec3b9c972ba" providerId="ADAL" clId="{9F9E9FDF-7C61-4792-941E-3BBD6C5DB2FE}" dt="2021-02-01T16:29:52.267" v="508" actId="47"/>
        <pc:sldMkLst>
          <pc:docMk/>
          <pc:sldMk cId="3213675464" sldId="344"/>
        </pc:sldMkLst>
      </pc:sldChg>
      <pc:sldChg chg="del">
        <pc:chgData name="Thomas Stensitzki" userId="75cafe6b-2f2a-469b-85c4-eec3b9c972ba" providerId="ADAL" clId="{9F9E9FDF-7C61-4792-941E-3BBD6C5DB2FE}" dt="2021-02-01T16:29:52.267" v="508" actId="47"/>
        <pc:sldMkLst>
          <pc:docMk/>
          <pc:sldMk cId="4202633353" sldId="345"/>
        </pc:sldMkLst>
      </pc:sldChg>
      <pc:sldChg chg="del">
        <pc:chgData name="Thomas Stensitzki" userId="75cafe6b-2f2a-469b-85c4-eec3b9c972ba" providerId="ADAL" clId="{9F9E9FDF-7C61-4792-941E-3BBD6C5DB2FE}" dt="2021-02-01T16:29:55.666" v="509" actId="47"/>
        <pc:sldMkLst>
          <pc:docMk/>
          <pc:sldMk cId="788060859" sldId="346"/>
        </pc:sldMkLst>
      </pc:sldChg>
      <pc:sldChg chg="del">
        <pc:chgData name="Thomas Stensitzki" userId="75cafe6b-2f2a-469b-85c4-eec3b9c972ba" providerId="ADAL" clId="{9F9E9FDF-7C61-4792-941E-3BBD6C5DB2FE}" dt="2021-02-01T16:29:55.666" v="509" actId="47"/>
        <pc:sldMkLst>
          <pc:docMk/>
          <pc:sldMk cId="188222015" sldId="347"/>
        </pc:sldMkLst>
      </pc:sldChg>
      <pc:sldChg chg="del">
        <pc:chgData name="Thomas Stensitzki" userId="75cafe6b-2f2a-469b-85c4-eec3b9c972ba" providerId="ADAL" clId="{9F9E9FDF-7C61-4792-941E-3BBD6C5DB2FE}" dt="2021-02-01T16:30:06.697" v="510" actId="47"/>
        <pc:sldMkLst>
          <pc:docMk/>
          <pc:sldMk cId="1623484320" sldId="348"/>
        </pc:sldMkLst>
      </pc:sldChg>
      <pc:sldChg chg="del">
        <pc:chgData name="Thomas Stensitzki" userId="75cafe6b-2f2a-469b-85c4-eec3b9c972ba" providerId="ADAL" clId="{9F9E9FDF-7C61-4792-941E-3BBD6C5DB2FE}" dt="2021-02-01T16:30:06.697" v="510" actId="47"/>
        <pc:sldMkLst>
          <pc:docMk/>
          <pc:sldMk cId="3468971604" sldId="349"/>
        </pc:sldMkLst>
      </pc:sldChg>
      <pc:sldChg chg="del">
        <pc:chgData name="Thomas Stensitzki" userId="75cafe6b-2f2a-469b-85c4-eec3b9c972ba" providerId="ADAL" clId="{9F9E9FDF-7C61-4792-941E-3BBD6C5DB2FE}" dt="2021-02-01T16:30:06.697" v="510" actId="47"/>
        <pc:sldMkLst>
          <pc:docMk/>
          <pc:sldMk cId="1727630022" sldId="350"/>
        </pc:sldMkLst>
      </pc:sldChg>
      <pc:sldChg chg="del">
        <pc:chgData name="Thomas Stensitzki" userId="75cafe6b-2f2a-469b-85c4-eec3b9c972ba" providerId="ADAL" clId="{9F9E9FDF-7C61-4792-941E-3BBD6C5DB2FE}" dt="2021-02-01T16:30:06.697" v="510" actId="47"/>
        <pc:sldMkLst>
          <pc:docMk/>
          <pc:sldMk cId="901964799" sldId="352"/>
        </pc:sldMkLst>
      </pc:sldChg>
      <pc:sldChg chg="del">
        <pc:chgData name="Thomas Stensitzki" userId="75cafe6b-2f2a-469b-85c4-eec3b9c972ba" providerId="ADAL" clId="{9F9E9FDF-7C61-4792-941E-3BBD6C5DB2FE}" dt="2021-02-01T16:30:06.697" v="510" actId="47"/>
        <pc:sldMkLst>
          <pc:docMk/>
          <pc:sldMk cId="2439788833" sldId="353"/>
        </pc:sldMkLst>
      </pc:sldChg>
      <pc:sldChg chg="del">
        <pc:chgData name="Thomas Stensitzki" userId="75cafe6b-2f2a-469b-85c4-eec3b9c972ba" providerId="ADAL" clId="{9F9E9FDF-7C61-4792-941E-3BBD6C5DB2FE}" dt="2021-02-01T16:30:06.697" v="510" actId="47"/>
        <pc:sldMkLst>
          <pc:docMk/>
          <pc:sldMk cId="4123441300" sldId="354"/>
        </pc:sldMkLst>
      </pc:sldChg>
      <pc:sldChg chg="del">
        <pc:chgData name="Thomas Stensitzki" userId="75cafe6b-2f2a-469b-85c4-eec3b9c972ba" providerId="ADAL" clId="{9F9E9FDF-7C61-4792-941E-3BBD6C5DB2FE}" dt="2021-02-01T16:30:10.666" v="511" actId="47"/>
        <pc:sldMkLst>
          <pc:docMk/>
          <pc:sldMk cId="3193010953" sldId="355"/>
        </pc:sldMkLst>
      </pc:sldChg>
      <pc:sldChg chg="del">
        <pc:chgData name="Thomas Stensitzki" userId="75cafe6b-2f2a-469b-85c4-eec3b9c972ba" providerId="ADAL" clId="{9F9E9FDF-7C61-4792-941E-3BBD6C5DB2FE}" dt="2021-02-01T16:29:52.267" v="508" actId="47"/>
        <pc:sldMkLst>
          <pc:docMk/>
          <pc:sldMk cId="4104014147" sldId="356"/>
        </pc:sldMkLst>
      </pc:sldChg>
      <pc:sldChg chg="del">
        <pc:chgData name="Thomas Stensitzki" userId="75cafe6b-2f2a-469b-85c4-eec3b9c972ba" providerId="ADAL" clId="{9F9E9FDF-7C61-4792-941E-3BBD6C5DB2FE}" dt="2021-02-01T16:29:52.267" v="508" actId="47"/>
        <pc:sldMkLst>
          <pc:docMk/>
          <pc:sldMk cId="2354451857" sldId="357"/>
        </pc:sldMkLst>
      </pc:sldChg>
      <pc:sldChg chg="del">
        <pc:chgData name="Thomas Stensitzki" userId="75cafe6b-2f2a-469b-85c4-eec3b9c972ba" providerId="ADAL" clId="{9F9E9FDF-7C61-4792-941E-3BBD6C5DB2FE}" dt="2021-02-01T16:29:52.267" v="508" actId="47"/>
        <pc:sldMkLst>
          <pc:docMk/>
          <pc:sldMk cId="149641114" sldId="358"/>
        </pc:sldMkLst>
      </pc:sldChg>
      <pc:sldChg chg="del">
        <pc:chgData name="Thomas Stensitzki" userId="75cafe6b-2f2a-469b-85c4-eec3b9c972ba" providerId="ADAL" clId="{9F9E9FDF-7C61-4792-941E-3BBD6C5DB2FE}" dt="2021-02-01T16:29:52.267" v="508" actId="47"/>
        <pc:sldMkLst>
          <pc:docMk/>
          <pc:sldMk cId="2224730637" sldId="359"/>
        </pc:sldMkLst>
      </pc:sldChg>
      <pc:sldChg chg="del">
        <pc:chgData name="Thomas Stensitzki" userId="75cafe6b-2f2a-469b-85c4-eec3b9c972ba" providerId="ADAL" clId="{9F9E9FDF-7C61-4792-941E-3BBD6C5DB2FE}" dt="2021-02-01T16:29:52.267" v="508" actId="47"/>
        <pc:sldMkLst>
          <pc:docMk/>
          <pc:sldMk cId="2874601603" sldId="360"/>
        </pc:sldMkLst>
      </pc:sldChg>
      <pc:sldChg chg="del">
        <pc:chgData name="Thomas Stensitzki" userId="75cafe6b-2f2a-469b-85c4-eec3b9c972ba" providerId="ADAL" clId="{9F9E9FDF-7C61-4792-941E-3BBD6C5DB2FE}" dt="2021-02-01T16:29:52.267" v="508" actId="47"/>
        <pc:sldMkLst>
          <pc:docMk/>
          <pc:sldMk cId="2046734869" sldId="361"/>
        </pc:sldMkLst>
      </pc:sldChg>
      <pc:sldChg chg="del">
        <pc:chgData name="Thomas Stensitzki" userId="75cafe6b-2f2a-469b-85c4-eec3b9c972ba" providerId="ADAL" clId="{9F9E9FDF-7C61-4792-941E-3BBD6C5DB2FE}" dt="2021-02-01T16:29:55.666" v="509" actId="47"/>
        <pc:sldMkLst>
          <pc:docMk/>
          <pc:sldMk cId="3266975461" sldId="362"/>
        </pc:sldMkLst>
      </pc:sldChg>
      <pc:sldChg chg="del">
        <pc:chgData name="Thomas Stensitzki" userId="75cafe6b-2f2a-469b-85c4-eec3b9c972ba" providerId="ADAL" clId="{9F9E9FDF-7C61-4792-941E-3BBD6C5DB2FE}" dt="2021-02-01T16:30:06.697" v="510" actId="47"/>
        <pc:sldMkLst>
          <pc:docMk/>
          <pc:sldMk cId="182294517" sldId="363"/>
        </pc:sldMkLst>
      </pc:sldChg>
      <pc:sldChg chg="del">
        <pc:chgData name="Thomas Stensitzki" userId="75cafe6b-2f2a-469b-85c4-eec3b9c972ba" providerId="ADAL" clId="{9F9E9FDF-7C61-4792-941E-3BBD6C5DB2FE}" dt="2021-02-01T16:30:06.697" v="510" actId="47"/>
        <pc:sldMkLst>
          <pc:docMk/>
          <pc:sldMk cId="3020178309" sldId="364"/>
        </pc:sldMkLst>
      </pc:sldChg>
      <pc:sldChg chg="del">
        <pc:chgData name="Thomas Stensitzki" userId="75cafe6b-2f2a-469b-85c4-eec3b9c972ba" providerId="ADAL" clId="{9F9E9FDF-7C61-4792-941E-3BBD6C5DB2FE}" dt="2021-02-01T16:30:06.697" v="510" actId="47"/>
        <pc:sldMkLst>
          <pc:docMk/>
          <pc:sldMk cId="3331174969" sldId="365"/>
        </pc:sldMkLst>
      </pc:sldChg>
      <pc:sldChg chg="del">
        <pc:chgData name="Thomas Stensitzki" userId="75cafe6b-2f2a-469b-85c4-eec3b9c972ba" providerId="ADAL" clId="{9F9E9FDF-7C61-4792-941E-3BBD6C5DB2FE}" dt="2021-02-01T16:30:06.697" v="510" actId="47"/>
        <pc:sldMkLst>
          <pc:docMk/>
          <pc:sldMk cId="107981993" sldId="366"/>
        </pc:sldMkLst>
      </pc:sldChg>
      <pc:sldChg chg="del">
        <pc:chgData name="Thomas Stensitzki" userId="75cafe6b-2f2a-469b-85c4-eec3b9c972ba" providerId="ADAL" clId="{9F9E9FDF-7C61-4792-941E-3BBD6C5DB2FE}" dt="2021-02-01T16:30:06.697" v="510" actId="47"/>
        <pc:sldMkLst>
          <pc:docMk/>
          <pc:sldMk cId="2527187877" sldId="367"/>
        </pc:sldMkLst>
      </pc:sldChg>
      <pc:sldChg chg="del">
        <pc:chgData name="Thomas Stensitzki" userId="75cafe6b-2f2a-469b-85c4-eec3b9c972ba" providerId="ADAL" clId="{9F9E9FDF-7C61-4792-941E-3BBD6C5DB2FE}" dt="2021-02-01T16:30:06.697" v="510" actId="47"/>
        <pc:sldMkLst>
          <pc:docMk/>
          <pc:sldMk cId="1777320957" sldId="368"/>
        </pc:sldMkLst>
      </pc:sldChg>
      <pc:sldChg chg="del">
        <pc:chgData name="Thomas Stensitzki" userId="75cafe6b-2f2a-469b-85c4-eec3b9c972ba" providerId="ADAL" clId="{9F9E9FDF-7C61-4792-941E-3BBD6C5DB2FE}" dt="2021-02-01T16:30:06.697" v="510" actId="47"/>
        <pc:sldMkLst>
          <pc:docMk/>
          <pc:sldMk cId="3450062575" sldId="369"/>
        </pc:sldMkLst>
      </pc:sldChg>
      <pc:sldChg chg="del">
        <pc:chgData name="Thomas Stensitzki" userId="75cafe6b-2f2a-469b-85c4-eec3b9c972ba" providerId="ADAL" clId="{9F9E9FDF-7C61-4792-941E-3BBD6C5DB2FE}" dt="2021-02-01T16:30:10.666" v="511" actId="47"/>
        <pc:sldMkLst>
          <pc:docMk/>
          <pc:sldMk cId="426610277" sldId="370"/>
        </pc:sldMkLst>
      </pc:sldChg>
      <pc:sldChg chg="del">
        <pc:chgData name="Thomas Stensitzki" userId="75cafe6b-2f2a-469b-85c4-eec3b9c972ba" providerId="ADAL" clId="{9F9E9FDF-7C61-4792-941E-3BBD6C5DB2FE}" dt="2021-02-01T16:30:18.702" v="512" actId="47"/>
        <pc:sldMkLst>
          <pc:docMk/>
          <pc:sldMk cId="705138562" sldId="371"/>
        </pc:sldMkLst>
      </pc:sldChg>
      <pc:sldChg chg="addSp delSp modSp mod modTransition modNotesTx">
        <pc:chgData name="Thomas Stensitzki" userId="75cafe6b-2f2a-469b-85c4-eec3b9c972ba" providerId="ADAL" clId="{9F9E9FDF-7C61-4792-941E-3BBD6C5DB2FE}" dt="2021-02-02T13:13:57.391" v="1765" actId="14100"/>
        <pc:sldMkLst>
          <pc:docMk/>
          <pc:sldMk cId="3298503951" sldId="372"/>
        </pc:sldMkLst>
        <pc:spChg chg="mod">
          <ac:chgData name="Thomas Stensitzki" userId="75cafe6b-2f2a-469b-85c4-eec3b9c972ba" providerId="ADAL" clId="{9F9E9FDF-7C61-4792-941E-3BBD6C5DB2FE}" dt="2021-02-02T13:13:57.391" v="1765" actId="14100"/>
          <ac:spMkLst>
            <pc:docMk/>
            <pc:sldMk cId="3298503951" sldId="372"/>
            <ac:spMk id="2" creationId="{909DC09D-B9A6-4493-9A72-1CA7ECB1F5CA}"/>
          </ac:spMkLst>
        </pc:spChg>
        <pc:spChg chg="mod">
          <ac:chgData name="Thomas Stensitzki" userId="75cafe6b-2f2a-469b-85c4-eec3b9c972ba" providerId="ADAL" clId="{9F9E9FDF-7C61-4792-941E-3BBD6C5DB2FE}" dt="2021-02-01T17:09:26.581" v="1100" actId="20577"/>
          <ac:spMkLst>
            <pc:docMk/>
            <pc:sldMk cId="3298503951" sldId="372"/>
            <ac:spMk id="5" creationId="{C24DACB5-1BEC-4C86-9652-BAFD8DE56FEF}"/>
          </ac:spMkLst>
        </pc:spChg>
        <pc:spChg chg="add del mod">
          <ac:chgData name="Thomas Stensitzki" userId="75cafe6b-2f2a-469b-85c4-eec3b9c972ba" providerId="ADAL" clId="{9F9E9FDF-7C61-4792-941E-3BBD6C5DB2FE}" dt="2021-02-01T17:00:55.099" v="953" actId="22"/>
          <ac:spMkLst>
            <pc:docMk/>
            <pc:sldMk cId="3298503951" sldId="372"/>
            <ac:spMk id="6" creationId="{611224E3-1A0D-470E-B9FE-F2BA121DBBCF}"/>
          </ac:spMkLst>
        </pc:spChg>
      </pc:sldChg>
      <pc:sldChg chg="del">
        <pc:chgData name="Thomas Stensitzki" userId="75cafe6b-2f2a-469b-85c4-eec3b9c972ba" providerId="ADAL" clId="{9F9E9FDF-7C61-4792-941E-3BBD6C5DB2FE}" dt="2021-02-01T16:30:18.702" v="512" actId="47"/>
        <pc:sldMkLst>
          <pc:docMk/>
          <pc:sldMk cId="217993370" sldId="373"/>
        </pc:sldMkLst>
      </pc:sldChg>
      <pc:sldChg chg="del">
        <pc:chgData name="Thomas Stensitzki" userId="75cafe6b-2f2a-469b-85c4-eec3b9c972ba" providerId="ADAL" clId="{9F9E9FDF-7C61-4792-941E-3BBD6C5DB2FE}" dt="2021-02-01T16:30:18.702" v="512" actId="47"/>
        <pc:sldMkLst>
          <pc:docMk/>
          <pc:sldMk cId="432380457" sldId="374"/>
        </pc:sldMkLst>
      </pc:sldChg>
      <pc:sldChg chg="del">
        <pc:chgData name="Thomas Stensitzki" userId="75cafe6b-2f2a-469b-85c4-eec3b9c972ba" providerId="ADAL" clId="{9F9E9FDF-7C61-4792-941E-3BBD6C5DB2FE}" dt="2021-02-01T16:30:18.702" v="512" actId="47"/>
        <pc:sldMkLst>
          <pc:docMk/>
          <pc:sldMk cId="2872056675" sldId="375"/>
        </pc:sldMkLst>
      </pc:sldChg>
      <pc:sldChg chg="modSp del mod">
        <pc:chgData name="Thomas Stensitzki" userId="75cafe6b-2f2a-469b-85c4-eec3b9c972ba" providerId="ADAL" clId="{9F9E9FDF-7C61-4792-941E-3BBD6C5DB2FE}" dt="2021-02-01T16:11:00.582" v="415" actId="47"/>
        <pc:sldMkLst>
          <pc:docMk/>
          <pc:sldMk cId="838709494" sldId="376"/>
        </pc:sldMkLst>
        <pc:graphicFrameChg chg="mod modGraphic">
          <ac:chgData name="Thomas Stensitzki" userId="75cafe6b-2f2a-469b-85c4-eec3b9c972ba" providerId="ADAL" clId="{9F9E9FDF-7C61-4792-941E-3BBD6C5DB2FE}" dt="2021-02-01T16:05:27.525" v="69" actId="20577"/>
          <ac:graphicFrameMkLst>
            <pc:docMk/>
            <pc:sldMk cId="838709494" sldId="376"/>
            <ac:graphicFrameMk id="6" creationId="{0F955DCC-462D-431D-BBDE-26F10687D590}"/>
          </ac:graphicFrameMkLst>
        </pc:graphicFrameChg>
      </pc:sldChg>
      <pc:sldChg chg="add ord modTransition">
        <pc:chgData name="Thomas Stensitzki" userId="75cafe6b-2f2a-469b-85c4-eec3b9c972ba" providerId="ADAL" clId="{9F9E9FDF-7C61-4792-941E-3BBD6C5DB2FE}" dt="2021-02-02T12:16:03.409" v="1540"/>
        <pc:sldMkLst>
          <pc:docMk/>
          <pc:sldMk cId="1108181351" sldId="377"/>
        </pc:sldMkLst>
      </pc:sldChg>
      <pc:sldChg chg="modSp add mod modTransition modNotesTx">
        <pc:chgData name="Thomas Stensitzki" userId="75cafe6b-2f2a-469b-85c4-eec3b9c972ba" providerId="ADAL" clId="{9F9E9FDF-7C61-4792-941E-3BBD6C5DB2FE}" dt="2021-02-02T12:16:03.409" v="1540"/>
        <pc:sldMkLst>
          <pc:docMk/>
          <pc:sldMk cId="2227487991" sldId="378"/>
        </pc:sldMkLst>
        <pc:spChg chg="mod">
          <ac:chgData name="Thomas Stensitzki" userId="75cafe6b-2f2a-469b-85c4-eec3b9c972ba" providerId="ADAL" clId="{9F9E9FDF-7C61-4792-941E-3BBD6C5DB2FE}" dt="2021-02-02T12:11:53.106" v="1537" actId="1035"/>
          <ac:spMkLst>
            <pc:docMk/>
            <pc:sldMk cId="2227487991" sldId="378"/>
            <ac:spMk id="2" creationId="{909DC09D-B9A6-4493-9A72-1CA7ECB1F5CA}"/>
          </ac:spMkLst>
        </pc:spChg>
        <pc:spChg chg="mod">
          <ac:chgData name="Thomas Stensitzki" userId="75cafe6b-2f2a-469b-85c4-eec3b9c972ba" providerId="ADAL" clId="{9F9E9FDF-7C61-4792-941E-3BBD6C5DB2FE}" dt="2021-02-01T16:45:24.787" v="781" actId="20577"/>
          <ac:spMkLst>
            <pc:docMk/>
            <pc:sldMk cId="2227487991" sldId="378"/>
            <ac:spMk id="5" creationId="{C24DACB5-1BEC-4C86-9652-BAFD8DE56FEF}"/>
          </ac:spMkLst>
        </pc:spChg>
      </pc:sldChg>
      <pc:sldChg chg="addSp">
        <pc:chgData name="Thomas Stensitzki" userId="75cafe6b-2f2a-469b-85c4-eec3b9c972ba" providerId="ADAL" clId="{9F9E9FDF-7C61-4792-941E-3BBD6C5DB2FE}" dt="2021-02-01T16:33:15.669" v="584"/>
        <pc:sldMkLst>
          <pc:docMk/>
          <pc:sldMk cId="3297434357" sldId="379"/>
        </pc:sldMkLst>
        <pc:picChg chg="add">
          <ac:chgData name="Thomas Stensitzki" userId="75cafe6b-2f2a-469b-85c4-eec3b9c972ba" providerId="ADAL" clId="{9F9E9FDF-7C61-4792-941E-3BBD6C5DB2FE}" dt="2021-02-01T16:33:15.669" v="584"/>
          <ac:picMkLst>
            <pc:docMk/>
            <pc:sldMk cId="3297434357" sldId="379"/>
            <ac:picMk id="1026" creationId="{6F4D62F5-9A7A-4568-B0C8-37200F0AADF0}"/>
          </ac:picMkLst>
        </pc:picChg>
      </pc:sldChg>
      <pc:sldChg chg="delSp modSp new add del mod ord modTransition modNotesTx">
        <pc:chgData name="Thomas Stensitzki" userId="75cafe6b-2f2a-469b-85c4-eec3b9c972ba" providerId="ADAL" clId="{9F9E9FDF-7C61-4792-941E-3BBD6C5DB2FE}" dt="2021-02-02T12:24:12.766" v="1596" actId="1440"/>
        <pc:sldMkLst>
          <pc:docMk/>
          <pc:sldMk cId="4126930427" sldId="379"/>
        </pc:sldMkLst>
        <pc:spChg chg="mod">
          <ac:chgData name="Thomas Stensitzki" userId="75cafe6b-2f2a-469b-85c4-eec3b9c972ba" providerId="ADAL" clId="{9F9E9FDF-7C61-4792-941E-3BBD6C5DB2FE}" dt="2021-02-01T16:32:48.109" v="582"/>
          <ac:spMkLst>
            <pc:docMk/>
            <pc:sldMk cId="4126930427" sldId="379"/>
            <ac:spMk id="2" creationId="{50183ADD-E6D0-4570-B5FB-F95BA9130DEC}"/>
          </ac:spMkLst>
        </pc:spChg>
        <pc:spChg chg="del">
          <ac:chgData name="Thomas Stensitzki" userId="75cafe6b-2f2a-469b-85c4-eec3b9c972ba" providerId="ADAL" clId="{9F9E9FDF-7C61-4792-941E-3BBD6C5DB2FE}" dt="2021-02-01T16:32:51.188" v="583" actId="478"/>
          <ac:spMkLst>
            <pc:docMk/>
            <pc:sldMk cId="4126930427" sldId="379"/>
            <ac:spMk id="3" creationId="{63B38917-415E-406D-BA2F-888576D68CE3}"/>
          </ac:spMkLst>
        </pc:spChg>
        <pc:picChg chg="mod">
          <ac:chgData name="Thomas Stensitzki" userId="75cafe6b-2f2a-469b-85c4-eec3b9c972ba" providerId="ADAL" clId="{9F9E9FDF-7C61-4792-941E-3BBD6C5DB2FE}" dt="2021-02-02T12:24:12.766" v="1596" actId="1440"/>
          <ac:picMkLst>
            <pc:docMk/>
            <pc:sldMk cId="4126930427" sldId="379"/>
            <ac:picMk id="1026" creationId="{6F4D62F5-9A7A-4568-B0C8-37200F0AADF0}"/>
          </ac:picMkLst>
        </pc:picChg>
      </pc:sldChg>
      <pc:sldChg chg="modSp new mod modTransition">
        <pc:chgData name="Thomas Stensitzki" userId="75cafe6b-2f2a-469b-85c4-eec3b9c972ba" providerId="ADAL" clId="{9F9E9FDF-7C61-4792-941E-3BBD6C5DB2FE}" dt="2021-02-02T12:16:03.409" v="1540"/>
        <pc:sldMkLst>
          <pc:docMk/>
          <pc:sldMk cId="2961263446" sldId="380"/>
        </pc:sldMkLst>
        <pc:spChg chg="mod">
          <ac:chgData name="Thomas Stensitzki" userId="75cafe6b-2f2a-469b-85c4-eec3b9c972ba" providerId="ADAL" clId="{9F9E9FDF-7C61-4792-941E-3BBD6C5DB2FE}" dt="2021-02-01T16:31:27.314" v="541" actId="20577"/>
          <ac:spMkLst>
            <pc:docMk/>
            <pc:sldMk cId="2961263446" sldId="380"/>
            <ac:spMk id="2" creationId="{A26E16A2-7D3C-4696-B630-50742B55E985}"/>
          </ac:spMkLst>
        </pc:spChg>
        <pc:spChg chg="mod">
          <ac:chgData name="Thomas Stensitzki" userId="75cafe6b-2f2a-469b-85c4-eec3b9c972ba" providerId="ADAL" clId="{9F9E9FDF-7C61-4792-941E-3BBD6C5DB2FE}" dt="2021-02-01T16:31:43.515" v="568" actId="20577"/>
          <ac:spMkLst>
            <pc:docMk/>
            <pc:sldMk cId="2961263446" sldId="380"/>
            <ac:spMk id="3" creationId="{DFFA8D7B-746D-435B-B204-1D05F1677C6B}"/>
          </ac:spMkLst>
        </pc:spChg>
      </pc:sldChg>
      <pc:sldChg chg="addSp delSp modSp add del mod ord modTransition modAnim modNotesTx">
        <pc:chgData name="Thomas Stensitzki" userId="75cafe6b-2f2a-469b-85c4-eec3b9c972ba" providerId="ADAL" clId="{9F9E9FDF-7C61-4792-941E-3BBD6C5DB2FE}" dt="2021-02-02T12:24:06.721" v="1595" actId="1440"/>
        <pc:sldMkLst>
          <pc:docMk/>
          <pc:sldMk cId="2134997509" sldId="381"/>
        </pc:sldMkLst>
        <pc:spChg chg="mod">
          <ac:chgData name="Thomas Stensitzki" userId="75cafe6b-2f2a-469b-85c4-eec3b9c972ba" providerId="ADAL" clId="{9F9E9FDF-7C61-4792-941E-3BBD6C5DB2FE}" dt="2021-02-01T16:36:02.957" v="654"/>
          <ac:spMkLst>
            <pc:docMk/>
            <pc:sldMk cId="2134997509" sldId="381"/>
            <ac:spMk id="2" creationId="{50183ADD-E6D0-4570-B5FB-F95BA9130DEC}"/>
          </ac:spMkLst>
        </pc:spChg>
        <pc:spChg chg="add del">
          <ac:chgData name="Thomas Stensitzki" userId="75cafe6b-2f2a-469b-85c4-eec3b9c972ba" providerId="ADAL" clId="{9F9E9FDF-7C61-4792-941E-3BBD6C5DB2FE}" dt="2021-02-01T16:38:39.219" v="670" actId="22"/>
          <ac:spMkLst>
            <pc:docMk/>
            <pc:sldMk cId="2134997509" sldId="381"/>
            <ac:spMk id="6" creationId="{C76B924A-1598-4EF2-9DF2-0BF5D859A7BC}"/>
          </ac:spMkLst>
        </pc:spChg>
        <pc:picChg chg="add mod">
          <ac:chgData name="Thomas Stensitzki" userId="75cafe6b-2f2a-469b-85c4-eec3b9c972ba" providerId="ADAL" clId="{9F9E9FDF-7C61-4792-941E-3BBD6C5DB2FE}" dt="2021-02-02T12:23:56.265" v="1591" actId="1440"/>
          <ac:picMkLst>
            <pc:docMk/>
            <pc:sldMk cId="2134997509" sldId="381"/>
            <ac:picMk id="4" creationId="{9D05F190-4412-4197-8E5C-5F0A9D2394F8}"/>
          </ac:picMkLst>
        </pc:picChg>
        <pc:picChg chg="del">
          <ac:chgData name="Thomas Stensitzki" userId="75cafe6b-2f2a-469b-85c4-eec3b9c972ba" providerId="ADAL" clId="{9F9E9FDF-7C61-4792-941E-3BBD6C5DB2FE}" dt="2021-02-01T16:34:39.482" v="596" actId="478"/>
          <ac:picMkLst>
            <pc:docMk/>
            <pc:sldMk cId="2134997509" sldId="381"/>
            <ac:picMk id="1026" creationId="{6F4D62F5-9A7A-4568-B0C8-37200F0AADF0}"/>
          </ac:picMkLst>
        </pc:picChg>
        <pc:picChg chg="mod">
          <ac:chgData name="Thomas Stensitzki" userId="75cafe6b-2f2a-469b-85c4-eec3b9c972ba" providerId="ADAL" clId="{9F9E9FDF-7C61-4792-941E-3BBD6C5DB2FE}" dt="2021-02-02T12:24:06.721" v="1595" actId="1440"/>
          <ac:picMkLst>
            <pc:docMk/>
            <pc:sldMk cId="2134997509" sldId="381"/>
            <ac:picMk id="2050" creationId="{9F54692A-BFF1-40AA-8546-4373B2D37913}"/>
          </ac:picMkLst>
        </pc:picChg>
      </pc:sldChg>
      <pc:sldChg chg="addSp">
        <pc:chgData name="Thomas Stensitzki" userId="75cafe6b-2f2a-469b-85c4-eec3b9c972ba" providerId="ADAL" clId="{9F9E9FDF-7C61-4792-941E-3BBD6C5DB2FE}" dt="2021-02-01T16:37:37.427" v="660"/>
        <pc:sldMkLst>
          <pc:docMk/>
          <pc:sldMk cId="4092087368" sldId="381"/>
        </pc:sldMkLst>
        <pc:picChg chg="add">
          <ac:chgData name="Thomas Stensitzki" userId="75cafe6b-2f2a-469b-85c4-eec3b9c972ba" providerId="ADAL" clId="{9F9E9FDF-7C61-4792-941E-3BBD6C5DB2FE}" dt="2021-02-01T16:37:37.427" v="660"/>
          <ac:picMkLst>
            <pc:docMk/>
            <pc:sldMk cId="4092087368" sldId="381"/>
            <ac:picMk id="2050" creationId="{9F54692A-BFF1-40AA-8546-4373B2D37913}"/>
          </ac:picMkLst>
        </pc:picChg>
      </pc:sldChg>
      <pc:sldChg chg="delSp modSp add del mod ord modTransition modAnim modNotesTx">
        <pc:chgData name="Thomas Stensitzki" userId="75cafe6b-2f2a-469b-85c4-eec3b9c972ba" providerId="ADAL" clId="{9F9E9FDF-7C61-4792-941E-3BBD6C5DB2FE}" dt="2021-02-02T12:25:33.964" v="1609"/>
        <pc:sldMkLst>
          <pc:docMk/>
          <pc:sldMk cId="804569921" sldId="382"/>
        </pc:sldMkLst>
        <pc:spChg chg="mod">
          <ac:chgData name="Thomas Stensitzki" userId="75cafe6b-2f2a-469b-85c4-eec3b9c972ba" providerId="ADAL" clId="{9F9E9FDF-7C61-4792-941E-3BBD6C5DB2FE}" dt="2021-02-01T16:40:06.108" v="700"/>
          <ac:spMkLst>
            <pc:docMk/>
            <pc:sldMk cId="804569921" sldId="382"/>
            <ac:spMk id="2" creationId="{50183ADD-E6D0-4570-B5FB-F95BA9130DEC}"/>
          </ac:spMkLst>
        </pc:spChg>
        <pc:picChg chg="del">
          <ac:chgData name="Thomas Stensitzki" userId="75cafe6b-2f2a-469b-85c4-eec3b9c972ba" providerId="ADAL" clId="{9F9E9FDF-7C61-4792-941E-3BBD6C5DB2FE}" dt="2021-02-01T16:38:44.704" v="672" actId="478"/>
          <ac:picMkLst>
            <pc:docMk/>
            <pc:sldMk cId="804569921" sldId="382"/>
            <ac:picMk id="1026" creationId="{6F4D62F5-9A7A-4568-B0C8-37200F0AADF0}"/>
          </ac:picMkLst>
        </pc:picChg>
        <pc:picChg chg="mod">
          <ac:chgData name="Thomas Stensitzki" userId="75cafe6b-2f2a-469b-85c4-eec3b9c972ba" providerId="ADAL" clId="{9F9E9FDF-7C61-4792-941E-3BBD6C5DB2FE}" dt="2021-02-02T12:23:36.133" v="1587" actId="1440"/>
          <ac:picMkLst>
            <pc:docMk/>
            <pc:sldMk cId="804569921" sldId="382"/>
            <ac:picMk id="3074" creationId="{525FA78C-D70F-4375-8510-812E8C34D37F}"/>
          </ac:picMkLst>
        </pc:picChg>
        <pc:picChg chg="mod">
          <ac:chgData name="Thomas Stensitzki" userId="75cafe6b-2f2a-469b-85c4-eec3b9c972ba" providerId="ADAL" clId="{9F9E9FDF-7C61-4792-941E-3BBD6C5DB2FE}" dt="2021-02-02T12:23:44.023" v="1589" actId="1440"/>
          <ac:picMkLst>
            <pc:docMk/>
            <pc:sldMk cId="804569921" sldId="382"/>
            <ac:picMk id="4098" creationId="{C3BE1F8B-0C0E-46DA-8F0F-EA84B0224D86}"/>
          </ac:picMkLst>
        </pc:picChg>
      </pc:sldChg>
      <pc:sldChg chg="addSp">
        <pc:chgData name="Thomas Stensitzki" userId="75cafe6b-2f2a-469b-85c4-eec3b9c972ba" providerId="ADAL" clId="{9F9E9FDF-7C61-4792-941E-3BBD6C5DB2FE}" dt="2021-02-01T16:40:14.886" v="701"/>
        <pc:sldMkLst>
          <pc:docMk/>
          <pc:sldMk cId="2964036851" sldId="382"/>
        </pc:sldMkLst>
        <pc:picChg chg="add">
          <ac:chgData name="Thomas Stensitzki" userId="75cafe6b-2f2a-469b-85c4-eec3b9c972ba" providerId="ADAL" clId="{9F9E9FDF-7C61-4792-941E-3BBD6C5DB2FE}" dt="2021-02-01T16:40:14.886" v="701"/>
          <ac:picMkLst>
            <pc:docMk/>
            <pc:sldMk cId="2964036851" sldId="382"/>
            <ac:picMk id="3074" creationId="{525FA78C-D70F-4375-8510-812E8C34D37F}"/>
          </ac:picMkLst>
        </pc:picChg>
      </pc:sldChg>
      <pc:sldChg chg="addSp">
        <pc:chgData name="Thomas Stensitzki" userId="75cafe6b-2f2a-469b-85c4-eec3b9c972ba" providerId="ADAL" clId="{9F9E9FDF-7C61-4792-941E-3BBD6C5DB2FE}" dt="2021-02-01T16:40:33.988" v="705"/>
        <pc:sldMkLst>
          <pc:docMk/>
          <pc:sldMk cId="3129078594" sldId="382"/>
        </pc:sldMkLst>
        <pc:picChg chg="add">
          <ac:chgData name="Thomas Stensitzki" userId="75cafe6b-2f2a-469b-85c4-eec3b9c972ba" providerId="ADAL" clId="{9F9E9FDF-7C61-4792-941E-3BBD6C5DB2FE}" dt="2021-02-01T16:40:33.988" v="705"/>
          <ac:picMkLst>
            <pc:docMk/>
            <pc:sldMk cId="3129078594" sldId="382"/>
            <ac:picMk id="4098" creationId="{C3BE1F8B-0C0E-46DA-8F0F-EA84B0224D86}"/>
          </ac:picMkLst>
        </pc:picChg>
      </pc:sldChg>
      <pc:sldChg chg="addSp modSp add del mod ord modTransition modAnim modNotesTx">
        <pc:chgData name="Thomas Stensitzki" userId="75cafe6b-2f2a-469b-85c4-eec3b9c972ba" providerId="ADAL" clId="{9F9E9FDF-7C61-4792-941E-3BBD6C5DB2FE}" dt="2021-02-02T12:23:12.634" v="1585"/>
        <pc:sldMkLst>
          <pc:docMk/>
          <pc:sldMk cId="1200616128" sldId="383"/>
        </pc:sldMkLst>
        <pc:spChg chg="mod">
          <ac:chgData name="Thomas Stensitzki" userId="75cafe6b-2f2a-469b-85c4-eec3b9c972ba" providerId="ADAL" clId="{9F9E9FDF-7C61-4792-941E-3BBD6C5DB2FE}" dt="2021-02-01T16:42:12.561" v="734"/>
          <ac:spMkLst>
            <pc:docMk/>
            <pc:sldMk cId="1200616128" sldId="383"/>
            <ac:spMk id="2" creationId="{50183ADD-E6D0-4570-B5FB-F95BA9130DEC}"/>
          </ac:spMkLst>
        </pc:spChg>
        <pc:picChg chg="mod">
          <ac:chgData name="Thomas Stensitzki" userId="75cafe6b-2f2a-469b-85c4-eec3b9c972ba" providerId="ADAL" clId="{9F9E9FDF-7C61-4792-941E-3BBD6C5DB2FE}" dt="2021-02-02T12:23:01.298" v="1584" actId="1440"/>
          <ac:picMkLst>
            <pc:docMk/>
            <pc:sldMk cId="1200616128" sldId="383"/>
            <ac:picMk id="5122" creationId="{98FEBD17-3DE4-4FC0-98CD-A47E52244993}"/>
          </ac:picMkLst>
        </pc:picChg>
        <pc:picChg chg="mod">
          <ac:chgData name="Thomas Stensitzki" userId="75cafe6b-2f2a-469b-85c4-eec3b9c972ba" providerId="ADAL" clId="{9F9E9FDF-7C61-4792-941E-3BBD6C5DB2FE}" dt="2021-02-02T12:22:35.638" v="1581" actId="1440"/>
          <ac:picMkLst>
            <pc:docMk/>
            <pc:sldMk cId="1200616128" sldId="383"/>
            <ac:picMk id="6146" creationId="{D79D56E1-73D8-41FE-BCAC-51D16FAF5530}"/>
          </ac:picMkLst>
        </pc:picChg>
        <pc:cxnChg chg="add mod">
          <ac:chgData name="Thomas Stensitzki" userId="75cafe6b-2f2a-469b-85c4-eec3b9c972ba" providerId="ADAL" clId="{9F9E9FDF-7C61-4792-941E-3BBD6C5DB2FE}" dt="2021-02-02T12:21:54.518" v="1578" actId="208"/>
          <ac:cxnSpMkLst>
            <pc:docMk/>
            <pc:sldMk cId="1200616128" sldId="383"/>
            <ac:cxnSpMk id="4" creationId="{A2316F48-304E-4FE0-92CD-62B086F6AF6B}"/>
          </ac:cxnSpMkLst>
        </pc:cxnChg>
      </pc:sldChg>
      <pc:sldChg chg="addSp">
        <pc:chgData name="Thomas Stensitzki" userId="75cafe6b-2f2a-469b-85c4-eec3b9c972ba" providerId="ADAL" clId="{9F9E9FDF-7C61-4792-941E-3BBD6C5DB2FE}" dt="2021-02-01T16:43:13.235" v="741"/>
        <pc:sldMkLst>
          <pc:docMk/>
          <pc:sldMk cId="2646536025" sldId="383"/>
        </pc:sldMkLst>
        <pc:picChg chg="add">
          <ac:chgData name="Thomas Stensitzki" userId="75cafe6b-2f2a-469b-85c4-eec3b9c972ba" providerId="ADAL" clId="{9F9E9FDF-7C61-4792-941E-3BBD6C5DB2FE}" dt="2021-02-01T16:43:13.235" v="741"/>
          <ac:picMkLst>
            <pc:docMk/>
            <pc:sldMk cId="2646536025" sldId="383"/>
            <ac:picMk id="6146" creationId="{D79D56E1-73D8-41FE-BCAC-51D16FAF5530}"/>
          </ac:picMkLst>
        </pc:picChg>
      </pc:sldChg>
      <pc:sldChg chg="addSp">
        <pc:chgData name="Thomas Stensitzki" userId="75cafe6b-2f2a-469b-85c4-eec3b9c972ba" providerId="ADAL" clId="{9F9E9FDF-7C61-4792-941E-3BBD6C5DB2FE}" dt="2021-02-01T16:43:01.213" v="738"/>
        <pc:sldMkLst>
          <pc:docMk/>
          <pc:sldMk cId="3315723477" sldId="383"/>
        </pc:sldMkLst>
        <pc:picChg chg="add">
          <ac:chgData name="Thomas Stensitzki" userId="75cafe6b-2f2a-469b-85c4-eec3b9c972ba" providerId="ADAL" clId="{9F9E9FDF-7C61-4792-941E-3BBD6C5DB2FE}" dt="2021-02-01T16:43:01.213" v="738"/>
          <ac:picMkLst>
            <pc:docMk/>
            <pc:sldMk cId="3315723477" sldId="383"/>
            <ac:picMk id="5122" creationId="{98FEBD17-3DE4-4FC0-98CD-A47E52244993}"/>
          </ac:picMkLst>
        </pc:picChg>
      </pc:sldChg>
      <pc:sldChg chg="addSp">
        <pc:chgData name="Thomas Stensitzki" userId="75cafe6b-2f2a-469b-85c4-eec3b9c972ba" providerId="ADAL" clId="{9F9E9FDF-7C61-4792-941E-3BBD6C5DB2FE}" dt="2021-02-01T16:46:47.567" v="797"/>
        <pc:sldMkLst>
          <pc:docMk/>
          <pc:sldMk cId="268345041" sldId="384"/>
        </pc:sldMkLst>
        <pc:picChg chg="add">
          <ac:chgData name="Thomas Stensitzki" userId="75cafe6b-2f2a-469b-85c4-eec3b9c972ba" providerId="ADAL" clId="{9F9E9FDF-7C61-4792-941E-3BBD6C5DB2FE}" dt="2021-02-01T16:46:47.567" v="797"/>
          <ac:picMkLst>
            <pc:docMk/>
            <pc:sldMk cId="268345041" sldId="384"/>
            <ac:picMk id="7170" creationId="{260BBE70-DAC3-4E07-B418-8D32185B4B8C}"/>
          </ac:picMkLst>
        </pc:picChg>
      </pc:sldChg>
      <pc:sldChg chg="modSp add del mod ord modTransition modNotesTx">
        <pc:chgData name="Thomas Stensitzki" userId="75cafe6b-2f2a-469b-85c4-eec3b9c972ba" providerId="ADAL" clId="{9F9E9FDF-7C61-4792-941E-3BBD6C5DB2FE}" dt="2021-02-02T12:28:27.405" v="1622" actId="1440"/>
        <pc:sldMkLst>
          <pc:docMk/>
          <pc:sldMk cId="2706860444" sldId="384"/>
        </pc:sldMkLst>
        <pc:spChg chg="mod">
          <ac:chgData name="Thomas Stensitzki" userId="75cafe6b-2f2a-469b-85c4-eec3b9c972ba" providerId="ADAL" clId="{9F9E9FDF-7C61-4792-941E-3BBD6C5DB2FE}" dt="2021-02-01T16:46:40.586" v="796"/>
          <ac:spMkLst>
            <pc:docMk/>
            <pc:sldMk cId="2706860444" sldId="384"/>
            <ac:spMk id="2" creationId="{50183ADD-E6D0-4570-B5FB-F95BA9130DEC}"/>
          </ac:spMkLst>
        </pc:spChg>
        <pc:picChg chg="mod">
          <ac:chgData name="Thomas Stensitzki" userId="75cafe6b-2f2a-469b-85c4-eec3b9c972ba" providerId="ADAL" clId="{9F9E9FDF-7C61-4792-941E-3BBD6C5DB2FE}" dt="2021-02-02T12:28:27.405" v="1622" actId="1440"/>
          <ac:picMkLst>
            <pc:docMk/>
            <pc:sldMk cId="2706860444" sldId="384"/>
            <ac:picMk id="7170" creationId="{260BBE70-DAC3-4E07-B418-8D32185B4B8C}"/>
          </ac:picMkLst>
        </pc:picChg>
      </pc:sldChg>
      <pc:sldChg chg="addSp">
        <pc:chgData name="Thomas Stensitzki" userId="75cafe6b-2f2a-469b-85c4-eec3b9c972ba" providerId="ADAL" clId="{9F9E9FDF-7C61-4792-941E-3BBD6C5DB2FE}" dt="2021-02-01T16:48:46.082" v="818"/>
        <pc:sldMkLst>
          <pc:docMk/>
          <pc:sldMk cId="200308074" sldId="385"/>
        </pc:sldMkLst>
        <pc:picChg chg="add">
          <ac:chgData name="Thomas Stensitzki" userId="75cafe6b-2f2a-469b-85c4-eec3b9c972ba" providerId="ADAL" clId="{9F9E9FDF-7C61-4792-941E-3BBD6C5DB2FE}" dt="2021-02-01T16:48:46.082" v="818"/>
          <ac:picMkLst>
            <pc:docMk/>
            <pc:sldMk cId="200308074" sldId="385"/>
            <ac:picMk id="8194" creationId="{088BB987-0736-45BC-A2AE-5F7C068F7E09}"/>
          </ac:picMkLst>
        </pc:picChg>
      </pc:sldChg>
      <pc:sldChg chg="addSp">
        <pc:chgData name="Thomas Stensitzki" userId="75cafe6b-2f2a-469b-85c4-eec3b9c972ba" providerId="ADAL" clId="{9F9E9FDF-7C61-4792-941E-3BBD6C5DB2FE}" dt="2021-02-01T16:49:13.209" v="822"/>
        <pc:sldMkLst>
          <pc:docMk/>
          <pc:sldMk cId="472251526" sldId="385"/>
        </pc:sldMkLst>
        <pc:picChg chg="add">
          <ac:chgData name="Thomas Stensitzki" userId="75cafe6b-2f2a-469b-85c4-eec3b9c972ba" providerId="ADAL" clId="{9F9E9FDF-7C61-4792-941E-3BBD6C5DB2FE}" dt="2021-02-01T16:49:13.209" v="822"/>
          <ac:picMkLst>
            <pc:docMk/>
            <pc:sldMk cId="472251526" sldId="385"/>
            <ac:picMk id="9218" creationId="{F8D8E185-9FFE-4889-9996-BD5B46FBFDE2}"/>
          </ac:picMkLst>
        </pc:picChg>
      </pc:sldChg>
      <pc:sldChg chg="modSp add del mod ord modTransition modAnim modNotesTx">
        <pc:chgData name="Thomas Stensitzki" userId="75cafe6b-2f2a-469b-85c4-eec3b9c972ba" providerId="ADAL" clId="{9F9E9FDF-7C61-4792-941E-3BBD6C5DB2FE}" dt="2021-02-02T12:29:29.036" v="1638"/>
        <pc:sldMkLst>
          <pc:docMk/>
          <pc:sldMk cId="2618174212" sldId="385"/>
        </pc:sldMkLst>
        <pc:spChg chg="mod">
          <ac:chgData name="Thomas Stensitzki" userId="75cafe6b-2f2a-469b-85c4-eec3b9c972ba" providerId="ADAL" clId="{9F9E9FDF-7C61-4792-941E-3BBD6C5DB2FE}" dt="2021-02-01T16:47:55.508" v="804"/>
          <ac:spMkLst>
            <pc:docMk/>
            <pc:sldMk cId="2618174212" sldId="385"/>
            <ac:spMk id="2" creationId="{50183ADD-E6D0-4570-B5FB-F95BA9130DEC}"/>
          </ac:spMkLst>
        </pc:spChg>
        <pc:picChg chg="mod">
          <ac:chgData name="Thomas Stensitzki" userId="75cafe6b-2f2a-469b-85c4-eec3b9c972ba" providerId="ADAL" clId="{9F9E9FDF-7C61-4792-941E-3BBD6C5DB2FE}" dt="2021-02-02T12:29:03.092" v="1632" actId="1440"/>
          <ac:picMkLst>
            <pc:docMk/>
            <pc:sldMk cId="2618174212" sldId="385"/>
            <ac:picMk id="8194" creationId="{088BB987-0736-45BC-A2AE-5F7C068F7E09}"/>
          </ac:picMkLst>
        </pc:picChg>
        <pc:picChg chg="mod">
          <ac:chgData name="Thomas Stensitzki" userId="75cafe6b-2f2a-469b-85c4-eec3b9c972ba" providerId="ADAL" clId="{9F9E9FDF-7C61-4792-941E-3BBD6C5DB2FE}" dt="2021-02-02T12:29:23.820" v="1637" actId="1076"/>
          <ac:picMkLst>
            <pc:docMk/>
            <pc:sldMk cId="2618174212" sldId="385"/>
            <ac:picMk id="9218" creationId="{F8D8E185-9FFE-4889-9996-BD5B46FBFDE2}"/>
          </ac:picMkLst>
        </pc:picChg>
      </pc:sldChg>
      <pc:sldChg chg="addSp">
        <pc:chgData name="Thomas Stensitzki" userId="75cafe6b-2f2a-469b-85c4-eec3b9c972ba" providerId="ADAL" clId="{9F9E9FDF-7C61-4792-941E-3BBD6C5DB2FE}" dt="2021-02-01T16:51:43.493" v="851"/>
        <pc:sldMkLst>
          <pc:docMk/>
          <pc:sldMk cId="111797964" sldId="386"/>
        </pc:sldMkLst>
        <pc:picChg chg="add">
          <ac:chgData name="Thomas Stensitzki" userId="75cafe6b-2f2a-469b-85c4-eec3b9c972ba" providerId="ADAL" clId="{9F9E9FDF-7C61-4792-941E-3BBD6C5DB2FE}" dt="2021-02-01T16:51:43.493" v="851"/>
          <ac:picMkLst>
            <pc:docMk/>
            <pc:sldMk cId="111797964" sldId="386"/>
            <ac:picMk id="11266" creationId="{68B66526-F4E2-473C-8CC5-9B0D8882C321}"/>
          </ac:picMkLst>
        </pc:picChg>
      </pc:sldChg>
      <pc:sldChg chg="addSp">
        <pc:chgData name="Thomas Stensitzki" userId="75cafe6b-2f2a-469b-85c4-eec3b9c972ba" providerId="ADAL" clId="{9F9E9FDF-7C61-4792-941E-3BBD6C5DB2FE}" dt="2021-02-01T16:51:28.456" v="847"/>
        <pc:sldMkLst>
          <pc:docMk/>
          <pc:sldMk cId="1399614890" sldId="386"/>
        </pc:sldMkLst>
        <pc:picChg chg="add">
          <ac:chgData name="Thomas Stensitzki" userId="75cafe6b-2f2a-469b-85c4-eec3b9c972ba" providerId="ADAL" clId="{9F9E9FDF-7C61-4792-941E-3BBD6C5DB2FE}" dt="2021-02-01T16:51:28.456" v="847"/>
          <ac:picMkLst>
            <pc:docMk/>
            <pc:sldMk cId="1399614890" sldId="386"/>
            <ac:picMk id="10242" creationId="{9C37F8C5-9571-4D51-B7F2-F05AB240B20B}"/>
          </ac:picMkLst>
        </pc:picChg>
      </pc:sldChg>
      <pc:sldChg chg="modSp add del mod ord modTransition modAnim modNotesTx">
        <pc:chgData name="Thomas Stensitzki" userId="75cafe6b-2f2a-469b-85c4-eec3b9c972ba" providerId="ADAL" clId="{9F9E9FDF-7C61-4792-941E-3BBD6C5DB2FE}" dt="2021-02-02T12:38:08.228" v="1654"/>
        <pc:sldMkLst>
          <pc:docMk/>
          <pc:sldMk cId="2318153121" sldId="386"/>
        </pc:sldMkLst>
        <pc:spChg chg="mod">
          <ac:chgData name="Thomas Stensitzki" userId="75cafe6b-2f2a-469b-85c4-eec3b9c972ba" providerId="ADAL" clId="{9F9E9FDF-7C61-4792-941E-3BBD6C5DB2FE}" dt="2021-02-01T16:50:35.609" v="836"/>
          <ac:spMkLst>
            <pc:docMk/>
            <pc:sldMk cId="2318153121" sldId="386"/>
            <ac:spMk id="2" creationId="{50183ADD-E6D0-4570-B5FB-F95BA9130DEC}"/>
          </ac:spMkLst>
        </pc:spChg>
        <pc:picChg chg="mod">
          <ac:chgData name="Thomas Stensitzki" userId="75cafe6b-2f2a-469b-85c4-eec3b9c972ba" providerId="ADAL" clId="{9F9E9FDF-7C61-4792-941E-3BBD6C5DB2FE}" dt="2021-02-02T12:37:46.408" v="1648" actId="1440"/>
          <ac:picMkLst>
            <pc:docMk/>
            <pc:sldMk cId="2318153121" sldId="386"/>
            <ac:picMk id="10242" creationId="{9C37F8C5-9571-4D51-B7F2-F05AB240B20B}"/>
          </ac:picMkLst>
        </pc:picChg>
        <pc:picChg chg="mod">
          <ac:chgData name="Thomas Stensitzki" userId="75cafe6b-2f2a-469b-85c4-eec3b9c972ba" providerId="ADAL" clId="{9F9E9FDF-7C61-4792-941E-3BBD6C5DB2FE}" dt="2021-02-02T12:38:04.134" v="1653" actId="1440"/>
          <ac:picMkLst>
            <pc:docMk/>
            <pc:sldMk cId="2318153121" sldId="386"/>
            <ac:picMk id="11266" creationId="{68B66526-F4E2-473C-8CC5-9B0D8882C321}"/>
          </ac:picMkLst>
        </pc:picChg>
      </pc:sldChg>
      <pc:sldChg chg="modSp add mod modTransition modNotesTx">
        <pc:chgData name="Thomas Stensitzki" userId="75cafe6b-2f2a-469b-85c4-eec3b9c972ba" providerId="ADAL" clId="{9F9E9FDF-7C61-4792-941E-3BBD6C5DB2FE}" dt="2021-02-02T12:27:52.848" v="1618"/>
        <pc:sldMkLst>
          <pc:docMk/>
          <pc:sldMk cId="2558906762" sldId="387"/>
        </pc:sldMkLst>
        <pc:spChg chg="mod">
          <ac:chgData name="Thomas Stensitzki" userId="75cafe6b-2f2a-469b-85c4-eec3b9c972ba" providerId="ADAL" clId="{9F9E9FDF-7C61-4792-941E-3BBD6C5DB2FE}" dt="2021-02-02T12:27:30.479" v="1616" actId="1036"/>
          <ac:spMkLst>
            <pc:docMk/>
            <pc:sldMk cId="2558906762" sldId="387"/>
            <ac:spMk id="2" creationId="{909DC09D-B9A6-4493-9A72-1CA7ECB1F5CA}"/>
          </ac:spMkLst>
        </pc:spChg>
        <pc:spChg chg="mod">
          <ac:chgData name="Thomas Stensitzki" userId="75cafe6b-2f2a-469b-85c4-eec3b9c972ba" providerId="ADAL" clId="{9F9E9FDF-7C61-4792-941E-3BBD6C5DB2FE}" dt="2021-02-01T17:03:56.503" v="1065" actId="20577"/>
          <ac:spMkLst>
            <pc:docMk/>
            <pc:sldMk cId="2558906762" sldId="387"/>
            <ac:spMk id="5" creationId="{C24DACB5-1BEC-4C86-9652-BAFD8DE56FEF}"/>
          </ac:spMkLst>
        </pc:spChg>
      </pc:sldChg>
      <pc:sldChg chg="addSp">
        <pc:chgData name="Thomas Stensitzki" userId="75cafe6b-2f2a-469b-85c4-eec3b9c972ba" providerId="ADAL" clId="{9F9E9FDF-7C61-4792-941E-3BBD6C5DB2FE}" dt="2021-02-01T16:59:24.441" v="943"/>
        <pc:sldMkLst>
          <pc:docMk/>
          <pc:sldMk cId="1475173892" sldId="388"/>
        </pc:sldMkLst>
        <pc:picChg chg="add">
          <ac:chgData name="Thomas Stensitzki" userId="75cafe6b-2f2a-469b-85c4-eec3b9c972ba" providerId="ADAL" clId="{9F9E9FDF-7C61-4792-941E-3BBD6C5DB2FE}" dt="2021-02-01T16:59:24.441" v="943"/>
          <ac:picMkLst>
            <pc:docMk/>
            <pc:sldMk cId="1475173892" sldId="388"/>
            <ac:picMk id="14338" creationId="{EE8D1B22-ACB4-46C4-A4E7-A7B07C0707BC}"/>
          </ac:picMkLst>
        </pc:picChg>
      </pc:sldChg>
      <pc:sldChg chg="addSp delSp modSp add del mod modTransition modNotesTx">
        <pc:chgData name="Thomas Stensitzki" userId="75cafe6b-2f2a-469b-85c4-eec3b9c972ba" providerId="ADAL" clId="{9F9E9FDF-7C61-4792-941E-3BBD6C5DB2FE}" dt="2021-02-02T12:53:42.475" v="1704" actId="17032"/>
        <pc:sldMkLst>
          <pc:docMk/>
          <pc:sldMk cId="2051762330" sldId="388"/>
        </pc:sldMkLst>
        <pc:spChg chg="mod">
          <ac:chgData name="Thomas Stensitzki" userId="75cafe6b-2f2a-469b-85c4-eec3b9c972ba" providerId="ADAL" clId="{9F9E9FDF-7C61-4792-941E-3BBD6C5DB2FE}" dt="2021-02-01T17:12:20.815" v="1143"/>
          <ac:spMkLst>
            <pc:docMk/>
            <pc:sldMk cId="2051762330" sldId="388"/>
            <ac:spMk id="2" creationId="{50183ADD-E6D0-4570-B5FB-F95BA9130DEC}"/>
          </ac:spMkLst>
        </pc:spChg>
        <pc:spChg chg="add mod">
          <ac:chgData name="Thomas Stensitzki" userId="75cafe6b-2f2a-469b-85c4-eec3b9c972ba" providerId="ADAL" clId="{9F9E9FDF-7C61-4792-941E-3BBD6C5DB2FE}" dt="2021-02-02T12:53:42.475" v="1704" actId="17032"/>
          <ac:spMkLst>
            <pc:docMk/>
            <pc:sldMk cId="2051762330" sldId="388"/>
            <ac:spMk id="3" creationId="{0C85C9A9-0526-420F-88D1-C511F504C043}"/>
          </ac:spMkLst>
        </pc:spChg>
        <pc:picChg chg="add del mod">
          <ac:chgData name="Thomas Stensitzki" userId="75cafe6b-2f2a-469b-85c4-eec3b9c972ba" providerId="ADAL" clId="{9F9E9FDF-7C61-4792-941E-3BBD6C5DB2FE}" dt="2021-02-01T17:12:59.806" v="1149" actId="478"/>
          <ac:picMkLst>
            <pc:docMk/>
            <pc:sldMk cId="2051762330" sldId="388"/>
            <ac:picMk id="14338" creationId="{EE8D1B22-ACB4-46C4-A4E7-A7B07C0707BC}"/>
          </ac:picMkLst>
        </pc:picChg>
        <pc:picChg chg="mod">
          <ac:chgData name="Thomas Stensitzki" userId="75cafe6b-2f2a-469b-85c4-eec3b9c972ba" providerId="ADAL" clId="{9F9E9FDF-7C61-4792-941E-3BBD6C5DB2FE}" dt="2021-02-02T12:53:05.755" v="1702" actId="1076"/>
          <ac:picMkLst>
            <pc:docMk/>
            <pc:sldMk cId="2051762330" sldId="388"/>
            <ac:picMk id="19458" creationId="{D0BE47F9-312D-4DCB-9EEB-05CA5E81F0B9}"/>
          </ac:picMkLst>
        </pc:picChg>
      </pc:sldChg>
      <pc:sldChg chg="addSp">
        <pc:chgData name="Thomas Stensitzki" userId="75cafe6b-2f2a-469b-85c4-eec3b9c972ba" providerId="ADAL" clId="{9F9E9FDF-7C61-4792-941E-3BBD6C5DB2FE}" dt="2021-02-01T17:13:04.894" v="1150"/>
        <pc:sldMkLst>
          <pc:docMk/>
          <pc:sldMk cId="3464665633" sldId="388"/>
        </pc:sldMkLst>
        <pc:picChg chg="add">
          <ac:chgData name="Thomas Stensitzki" userId="75cafe6b-2f2a-469b-85c4-eec3b9c972ba" providerId="ADAL" clId="{9F9E9FDF-7C61-4792-941E-3BBD6C5DB2FE}" dt="2021-02-01T17:13:04.894" v="1150"/>
          <ac:picMkLst>
            <pc:docMk/>
            <pc:sldMk cId="3464665633" sldId="388"/>
            <ac:picMk id="19458" creationId="{D0BE47F9-312D-4DCB-9EEB-05CA5E81F0B9}"/>
          </ac:picMkLst>
        </pc:picChg>
      </pc:sldChg>
      <pc:sldChg chg="addSp">
        <pc:chgData name="Thomas Stensitzki" userId="75cafe6b-2f2a-469b-85c4-eec3b9c972ba" providerId="ADAL" clId="{9F9E9FDF-7C61-4792-941E-3BBD6C5DB2FE}" dt="2021-02-01T16:57:50.417" v="917"/>
        <pc:sldMkLst>
          <pc:docMk/>
          <pc:sldMk cId="1957061461" sldId="389"/>
        </pc:sldMkLst>
        <pc:picChg chg="add">
          <ac:chgData name="Thomas Stensitzki" userId="75cafe6b-2f2a-469b-85c4-eec3b9c972ba" providerId="ADAL" clId="{9F9E9FDF-7C61-4792-941E-3BBD6C5DB2FE}" dt="2021-02-01T16:57:50.417" v="917"/>
          <ac:picMkLst>
            <pc:docMk/>
            <pc:sldMk cId="1957061461" sldId="389"/>
            <ac:picMk id="13314" creationId="{0EE2B04D-768F-4FAF-A2DC-658BEBF890D3}"/>
          </ac:picMkLst>
        </pc:picChg>
      </pc:sldChg>
      <pc:sldChg chg="modSp add del mod ord modTransition modNotesTx">
        <pc:chgData name="Thomas Stensitzki" userId="75cafe6b-2f2a-469b-85c4-eec3b9c972ba" providerId="ADAL" clId="{9F9E9FDF-7C61-4792-941E-3BBD6C5DB2FE}" dt="2021-02-02T12:41:49.731" v="1673" actId="1440"/>
        <pc:sldMkLst>
          <pc:docMk/>
          <pc:sldMk cId="3866198253" sldId="389"/>
        </pc:sldMkLst>
        <pc:spChg chg="mod">
          <ac:chgData name="Thomas Stensitzki" userId="75cafe6b-2f2a-469b-85c4-eec3b9c972ba" providerId="ADAL" clId="{9F9E9FDF-7C61-4792-941E-3BBD6C5DB2FE}" dt="2021-02-01T16:56:49.112" v="896"/>
          <ac:spMkLst>
            <pc:docMk/>
            <pc:sldMk cId="3866198253" sldId="389"/>
            <ac:spMk id="2" creationId="{50183ADD-E6D0-4570-B5FB-F95BA9130DEC}"/>
          </ac:spMkLst>
        </pc:spChg>
        <pc:picChg chg="mod">
          <ac:chgData name="Thomas Stensitzki" userId="75cafe6b-2f2a-469b-85c4-eec3b9c972ba" providerId="ADAL" clId="{9F9E9FDF-7C61-4792-941E-3BBD6C5DB2FE}" dt="2021-02-02T12:41:49.731" v="1673" actId="1440"/>
          <ac:picMkLst>
            <pc:docMk/>
            <pc:sldMk cId="3866198253" sldId="389"/>
            <ac:picMk id="13314" creationId="{0EE2B04D-768F-4FAF-A2DC-658BEBF890D3}"/>
          </ac:picMkLst>
        </pc:picChg>
      </pc:sldChg>
      <pc:sldChg chg="addSp delSp modSp add del mod ord modTransition modNotesTx">
        <pc:chgData name="Thomas Stensitzki" userId="75cafe6b-2f2a-469b-85c4-eec3b9c972ba" providerId="ADAL" clId="{9F9E9FDF-7C61-4792-941E-3BBD6C5DB2FE}" dt="2021-02-02T12:41:19.513" v="1664" actId="1440"/>
        <pc:sldMkLst>
          <pc:docMk/>
          <pc:sldMk cId="1281650883" sldId="390"/>
        </pc:sldMkLst>
        <pc:spChg chg="mod">
          <ac:chgData name="Thomas Stensitzki" userId="75cafe6b-2f2a-469b-85c4-eec3b9c972ba" providerId="ADAL" clId="{9F9E9FDF-7C61-4792-941E-3BBD6C5DB2FE}" dt="2021-02-01T16:52:05.797" v="854"/>
          <ac:spMkLst>
            <pc:docMk/>
            <pc:sldMk cId="1281650883" sldId="390"/>
            <ac:spMk id="2" creationId="{50183ADD-E6D0-4570-B5FB-F95BA9130DEC}"/>
          </ac:spMkLst>
        </pc:spChg>
        <pc:spChg chg="add del">
          <ac:chgData name="Thomas Stensitzki" userId="75cafe6b-2f2a-469b-85c4-eec3b9c972ba" providerId="ADAL" clId="{9F9E9FDF-7C61-4792-941E-3BBD6C5DB2FE}" dt="2021-02-01T16:52:32.537" v="858" actId="478"/>
          <ac:spMkLst>
            <pc:docMk/>
            <pc:sldMk cId="1281650883" sldId="390"/>
            <ac:spMk id="4" creationId="{12541D46-FB2A-4FC8-8756-0718815220BE}"/>
          </ac:spMkLst>
        </pc:spChg>
        <pc:picChg chg="mod">
          <ac:chgData name="Thomas Stensitzki" userId="75cafe6b-2f2a-469b-85c4-eec3b9c972ba" providerId="ADAL" clId="{9F9E9FDF-7C61-4792-941E-3BBD6C5DB2FE}" dt="2021-02-02T12:41:19.513" v="1664" actId="1440"/>
          <ac:picMkLst>
            <pc:docMk/>
            <pc:sldMk cId="1281650883" sldId="390"/>
            <ac:picMk id="12290" creationId="{7853A3BB-F62F-44E0-B98E-81D92BD646D1}"/>
          </ac:picMkLst>
        </pc:picChg>
      </pc:sldChg>
      <pc:sldChg chg="addSp">
        <pc:chgData name="Thomas Stensitzki" userId="75cafe6b-2f2a-469b-85c4-eec3b9c972ba" providerId="ADAL" clId="{9F9E9FDF-7C61-4792-941E-3BBD6C5DB2FE}" dt="2021-02-01T16:52:39.752" v="859"/>
        <pc:sldMkLst>
          <pc:docMk/>
          <pc:sldMk cId="1513511166" sldId="390"/>
        </pc:sldMkLst>
        <pc:picChg chg="add">
          <ac:chgData name="Thomas Stensitzki" userId="75cafe6b-2f2a-469b-85c4-eec3b9c972ba" providerId="ADAL" clId="{9F9E9FDF-7C61-4792-941E-3BBD6C5DB2FE}" dt="2021-02-01T16:52:39.752" v="859"/>
          <ac:picMkLst>
            <pc:docMk/>
            <pc:sldMk cId="1513511166" sldId="390"/>
            <ac:picMk id="12290" creationId="{7853A3BB-F62F-44E0-B98E-81D92BD646D1}"/>
          </ac:picMkLst>
        </pc:picChg>
      </pc:sldChg>
      <pc:sldChg chg="addSp">
        <pc:chgData name="Thomas Stensitzki" userId="75cafe6b-2f2a-469b-85c4-eec3b9c972ba" providerId="ADAL" clId="{9F9E9FDF-7C61-4792-941E-3BBD6C5DB2FE}" dt="2021-02-01T17:05:20.262" v="1081"/>
        <pc:sldMkLst>
          <pc:docMk/>
          <pc:sldMk cId="945372120" sldId="391"/>
        </pc:sldMkLst>
        <pc:picChg chg="add">
          <ac:chgData name="Thomas Stensitzki" userId="75cafe6b-2f2a-469b-85c4-eec3b9c972ba" providerId="ADAL" clId="{9F9E9FDF-7C61-4792-941E-3BBD6C5DB2FE}" dt="2021-02-01T17:05:20.262" v="1081"/>
          <ac:picMkLst>
            <pc:docMk/>
            <pc:sldMk cId="945372120" sldId="391"/>
            <ac:picMk id="15362" creationId="{B90975DC-5162-4F41-B5F2-BBBE15E2112E}"/>
          </ac:picMkLst>
        </pc:picChg>
      </pc:sldChg>
      <pc:sldChg chg="addSp">
        <pc:chgData name="Thomas Stensitzki" userId="75cafe6b-2f2a-469b-85c4-eec3b9c972ba" providerId="ADAL" clId="{9F9E9FDF-7C61-4792-941E-3BBD6C5DB2FE}" dt="2021-02-01T17:05:27.412" v="1085"/>
        <pc:sldMkLst>
          <pc:docMk/>
          <pc:sldMk cId="1151788966" sldId="391"/>
        </pc:sldMkLst>
        <pc:picChg chg="add">
          <ac:chgData name="Thomas Stensitzki" userId="75cafe6b-2f2a-469b-85c4-eec3b9c972ba" providerId="ADAL" clId="{9F9E9FDF-7C61-4792-941E-3BBD6C5DB2FE}" dt="2021-02-01T17:05:27.412" v="1085"/>
          <ac:picMkLst>
            <pc:docMk/>
            <pc:sldMk cId="1151788966" sldId="391"/>
            <ac:picMk id="16386" creationId="{F2A275E7-9123-49B8-915C-3A94852B1686}"/>
          </ac:picMkLst>
        </pc:picChg>
      </pc:sldChg>
      <pc:sldChg chg="delSp modSp new add del mod ord modTransition modAnim">
        <pc:chgData name="Thomas Stensitzki" userId="75cafe6b-2f2a-469b-85c4-eec3b9c972ba" providerId="ADAL" clId="{9F9E9FDF-7C61-4792-941E-3BBD6C5DB2FE}" dt="2021-02-02T13:16:40.338" v="1799"/>
        <pc:sldMkLst>
          <pc:docMk/>
          <pc:sldMk cId="2585887928" sldId="391"/>
        </pc:sldMkLst>
        <pc:spChg chg="mod">
          <ac:chgData name="Thomas Stensitzki" userId="75cafe6b-2f2a-469b-85c4-eec3b9c972ba" providerId="ADAL" clId="{9F9E9FDF-7C61-4792-941E-3BBD6C5DB2FE}" dt="2021-02-01T17:05:13.081" v="1080"/>
          <ac:spMkLst>
            <pc:docMk/>
            <pc:sldMk cId="2585887928" sldId="391"/>
            <ac:spMk id="2" creationId="{11E5EEC8-6493-4BA0-8811-4A3F48FE62AF}"/>
          </ac:spMkLst>
        </pc:spChg>
        <pc:spChg chg="del">
          <ac:chgData name="Thomas Stensitzki" userId="75cafe6b-2f2a-469b-85c4-eec3b9c972ba" providerId="ADAL" clId="{9F9E9FDF-7C61-4792-941E-3BBD6C5DB2FE}" dt="2021-02-01T16:54:28.929" v="892" actId="478"/>
          <ac:spMkLst>
            <pc:docMk/>
            <pc:sldMk cId="2585887928" sldId="391"/>
            <ac:spMk id="3" creationId="{CAE56BB2-30FF-4890-8015-D3777AA14D19}"/>
          </ac:spMkLst>
        </pc:spChg>
        <pc:picChg chg="mod">
          <ac:chgData name="Thomas Stensitzki" userId="75cafe6b-2f2a-469b-85c4-eec3b9c972ba" providerId="ADAL" clId="{9F9E9FDF-7C61-4792-941E-3BBD6C5DB2FE}" dt="2021-02-02T13:15:11.072" v="1782" actId="1440"/>
          <ac:picMkLst>
            <pc:docMk/>
            <pc:sldMk cId="2585887928" sldId="391"/>
            <ac:picMk id="15362" creationId="{B90975DC-5162-4F41-B5F2-BBBE15E2112E}"/>
          </ac:picMkLst>
        </pc:picChg>
        <pc:picChg chg="mod">
          <ac:chgData name="Thomas Stensitzki" userId="75cafe6b-2f2a-469b-85c4-eec3b9c972ba" providerId="ADAL" clId="{9F9E9FDF-7C61-4792-941E-3BBD6C5DB2FE}" dt="2021-02-02T13:16:37.692" v="1798" actId="1076"/>
          <ac:picMkLst>
            <pc:docMk/>
            <pc:sldMk cId="2585887928" sldId="391"/>
            <ac:picMk id="16386" creationId="{F2A275E7-9123-49B8-915C-3A94852B1686}"/>
          </ac:picMkLst>
        </pc:picChg>
        <pc:picChg chg="del mod">
          <ac:chgData name="Thomas Stensitzki" userId="75cafe6b-2f2a-469b-85c4-eec3b9c972ba" providerId="ADAL" clId="{9F9E9FDF-7C61-4792-941E-3BBD6C5DB2FE}" dt="2021-02-02T13:16:30.043" v="1796" actId="478"/>
          <ac:picMkLst>
            <pc:docMk/>
            <pc:sldMk cId="2585887928" sldId="391"/>
            <ac:picMk id="17410" creationId="{EE942377-844A-497A-BCA1-1F49B9ADD376}"/>
          </ac:picMkLst>
        </pc:picChg>
        <pc:picChg chg="del mod">
          <ac:chgData name="Thomas Stensitzki" userId="75cafe6b-2f2a-469b-85c4-eec3b9c972ba" providerId="ADAL" clId="{9F9E9FDF-7C61-4792-941E-3BBD6C5DB2FE}" dt="2021-02-02T13:16:30.697" v="1797" actId="478"/>
          <ac:picMkLst>
            <pc:docMk/>
            <pc:sldMk cId="2585887928" sldId="391"/>
            <ac:picMk id="18434" creationId="{E18917D5-462E-425F-B1A7-02E0FDB5393A}"/>
          </ac:picMkLst>
        </pc:picChg>
      </pc:sldChg>
      <pc:sldChg chg="addSp">
        <pc:chgData name="Thomas Stensitzki" userId="75cafe6b-2f2a-469b-85c4-eec3b9c972ba" providerId="ADAL" clId="{9F9E9FDF-7C61-4792-941E-3BBD6C5DB2FE}" dt="2021-02-01T17:05:58.361" v="1093"/>
        <pc:sldMkLst>
          <pc:docMk/>
          <pc:sldMk cId="4010300682" sldId="391"/>
        </pc:sldMkLst>
        <pc:picChg chg="add">
          <ac:chgData name="Thomas Stensitzki" userId="75cafe6b-2f2a-469b-85c4-eec3b9c972ba" providerId="ADAL" clId="{9F9E9FDF-7C61-4792-941E-3BBD6C5DB2FE}" dt="2021-02-01T17:05:58.361" v="1093"/>
          <ac:picMkLst>
            <pc:docMk/>
            <pc:sldMk cId="4010300682" sldId="391"/>
            <ac:picMk id="18434" creationId="{E18917D5-462E-425F-B1A7-02E0FDB5393A}"/>
          </ac:picMkLst>
        </pc:picChg>
      </pc:sldChg>
      <pc:sldChg chg="addSp">
        <pc:chgData name="Thomas Stensitzki" userId="75cafe6b-2f2a-469b-85c4-eec3b9c972ba" providerId="ADAL" clId="{9F9E9FDF-7C61-4792-941E-3BBD6C5DB2FE}" dt="2021-02-01T17:05:50.791" v="1089"/>
        <pc:sldMkLst>
          <pc:docMk/>
          <pc:sldMk cId="4134506492" sldId="391"/>
        </pc:sldMkLst>
        <pc:picChg chg="add">
          <ac:chgData name="Thomas Stensitzki" userId="75cafe6b-2f2a-469b-85c4-eec3b9c972ba" providerId="ADAL" clId="{9F9E9FDF-7C61-4792-941E-3BBD6C5DB2FE}" dt="2021-02-01T17:05:50.791" v="1089"/>
          <ac:picMkLst>
            <pc:docMk/>
            <pc:sldMk cId="4134506492" sldId="391"/>
            <ac:picMk id="17410" creationId="{EE942377-844A-497A-BCA1-1F49B9ADD376}"/>
          </ac:picMkLst>
        </pc:picChg>
      </pc:sldChg>
      <pc:sldChg chg="addSp modSp add mod ord modTransition">
        <pc:chgData name="Thomas Stensitzki" userId="75cafe6b-2f2a-469b-85c4-eec3b9c972ba" providerId="ADAL" clId="{9F9E9FDF-7C61-4792-941E-3BBD6C5DB2FE}" dt="2021-02-02T13:14:44.120" v="1777" actId="1076"/>
        <pc:sldMkLst>
          <pc:docMk/>
          <pc:sldMk cId="2708846828" sldId="392"/>
        </pc:sldMkLst>
        <pc:picChg chg="add mod">
          <ac:chgData name="Thomas Stensitzki" userId="75cafe6b-2f2a-469b-85c4-eec3b9c972ba" providerId="ADAL" clId="{9F9E9FDF-7C61-4792-941E-3BBD6C5DB2FE}" dt="2021-02-02T13:14:44.120" v="1777" actId="1076"/>
          <ac:picMkLst>
            <pc:docMk/>
            <pc:sldMk cId="2708846828" sldId="392"/>
            <ac:picMk id="4" creationId="{4F4D8847-2D1E-4810-BA5F-7518BE667DB4}"/>
          </ac:picMkLst>
        </pc:picChg>
      </pc:sldChg>
      <pc:sldChg chg="modSp add del mod modTransition modNotesTx">
        <pc:chgData name="Thomas Stensitzki" userId="75cafe6b-2f2a-469b-85c4-eec3b9c972ba" providerId="ADAL" clId="{9F9E9FDF-7C61-4792-941E-3BBD6C5DB2FE}" dt="2021-02-02T13:02:45.293" v="1708" actId="1440"/>
        <pc:sldMkLst>
          <pc:docMk/>
          <pc:sldMk cId="63085039" sldId="393"/>
        </pc:sldMkLst>
        <pc:spChg chg="mod">
          <ac:chgData name="Thomas Stensitzki" userId="75cafe6b-2f2a-469b-85c4-eec3b9c972ba" providerId="ADAL" clId="{9F9E9FDF-7C61-4792-941E-3BBD6C5DB2FE}" dt="2021-02-01T17:13:42.016" v="1157"/>
          <ac:spMkLst>
            <pc:docMk/>
            <pc:sldMk cId="63085039" sldId="393"/>
            <ac:spMk id="2" creationId="{50183ADD-E6D0-4570-B5FB-F95BA9130DEC}"/>
          </ac:spMkLst>
        </pc:spChg>
        <pc:picChg chg="mod">
          <ac:chgData name="Thomas Stensitzki" userId="75cafe6b-2f2a-469b-85c4-eec3b9c972ba" providerId="ADAL" clId="{9F9E9FDF-7C61-4792-941E-3BBD6C5DB2FE}" dt="2021-02-02T13:02:45.293" v="1708" actId="1440"/>
          <ac:picMkLst>
            <pc:docMk/>
            <pc:sldMk cId="63085039" sldId="393"/>
            <ac:picMk id="20482" creationId="{A212661B-E975-4803-8346-25C0D9EF720B}"/>
          </ac:picMkLst>
        </pc:picChg>
      </pc:sldChg>
      <pc:sldChg chg="addSp">
        <pc:chgData name="Thomas Stensitzki" userId="75cafe6b-2f2a-469b-85c4-eec3b9c972ba" providerId="ADAL" clId="{9F9E9FDF-7C61-4792-941E-3BBD6C5DB2FE}" dt="2021-02-01T17:14:23.385" v="1172"/>
        <pc:sldMkLst>
          <pc:docMk/>
          <pc:sldMk cId="4246133730" sldId="393"/>
        </pc:sldMkLst>
        <pc:picChg chg="add">
          <ac:chgData name="Thomas Stensitzki" userId="75cafe6b-2f2a-469b-85c4-eec3b9c972ba" providerId="ADAL" clId="{9F9E9FDF-7C61-4792-941E-3BBD6C5DB2FE}" dt="2021-02-01T17:14:23.385" v="1172"/>
          <ac:picMkLst>
            <pc:docMk/>
            <pc:sldMk cId="4246133730" sldId="393"/>
            <ac:picMk id="20482" creationId="{A212661B-E975-4803-8346-25C0D9EF720B}"/>
          </ac:picMkLst>
        </pc:picChg>
      </pc:sldChg>
      <pc:sldChg chg="addSp delSp modSp add mod ord modTransition modNotesTx">
        <pc:chgData name="Thomas Stensitzki" userId="75cafe6b-2f2a-469b-85c4-eec3b9c972ba" providerId="ADAL" clId="{9F9E9FDF-7C61-4792-941E-3BBD6C5DB2FE}" dt="2021-02-02T12:42:29.825" v="1681" actId="1076"/>
        <pc:sldMkLst>
          <pc:docMk/>
          <pc:sldMk cId="3125518215" sldId="394"/>
        </pc:sldMkLst>
        <pc:spChg chg="mod">
          <ac:chgData name="Thomas Stensitzki" userId="75cafe6b-2f2a-469b-85c4-eec3b9c972ba" providerId="ADAL" clId="{9F9E9FDF-7C61-4792-941E-3BBD6C5DB2FE}" dt="2021-02-01T16:58:35.704" v="924"/>
          <ac:spMkLst>
            <pc:docMk/>
            <pc:sldMk cId="3125518215" sldId="394"/>
            <ac:spMk id="2" creationId="{50183ADD-E6D0-4570-B5FB-F95BA9130DEC}"/>
          </ac:spMkLst>
        </pc:spChg>
        <pc:picChg chg="add del mod">
          <ac:chgData name="Thomas Stensitzki" userId="75cafe6b-2f2a-469b-85c4-eec3b9c972ba" providerId="ADAL" clId="{9F9E9FDF-7C61-4792-941E-3BBD6C5DB2FE}" dt="2021-02-01T17:12:37.007" v="1146"/>
          <ac:picMkLst>
            <pc:docMk/>
            <pc:sldMk cId="3125518215" sldId="394"/>
            <ac:picMk id="3" creationId="{F65C3E2C-D2FC-4DBB-A0C0-8BA9A3100F72}"/>
          </ac:picMkLst>
        </pc:picChg>
        <pc:picChg chg="add mod">
          <ac:chgData name="Thomas Stensitzki" userId="75cafe6b-2f2a-469b-85c4-eec3b9c972ba" providerId="ADAL" clId="{9F9E9FDF-7C61-4792-941E-3BBD6C5DB2FE}" dt="2021-02-02T12:42:29.825" v="1681" actId="1076"/>
          <ac:picMkLst>
            <pc:docMk/>
            <pc:sldMk cId="3125518215" sldId="394"/>
            <ac:picMk id="4" creationId="{12785D05-5E49-4868-B8E4-454539F5AA8A}"/>
          </ac:picMkLst>
        </pc:picChg>
      </pc:sldChg>
      <pc:sldChg chg="modSp add mod ord modTransition">
        <pc:chgData name="Thomas Stensitzki" userId="75cafe6b-2f2a-469b-85c4-eec3b9c972ba" providerId="ADAL" clId="{9F9E9FDF-7C61-4792-941E-3BBD6C5DB2FE}" dt="2021-02-02T13:18:53.187" v="1838"/>
        <pc:sldMkLst>
          <pc:docMk/>
          <pc:sldMk cId="3389754536" sldId="395"/>
        </pc:sldMkLst>
        <pc:spChg chg="mod">
          <ac:chgData name="Thomas Stensitzki" userId="75cafe6b-2f2a-469b-85c4-eec3b9c972ba" providerId="ADAL" clId="{9F9E9FDF-7C61-4792-941E-3BBD6C5DB2FE}" dt="2021-02-01T17:06:26.701" v="1097"/>
          <ac:spMkLst>
            <pc:docMk/>
            <pc:sldMk cId="3389754536" sldId="395"/>
            <ac:spMk id="2" creationId="{11E5EEC8-6493-4BA0-8811-4A3F48FE62AF}"/>
          </ac:spMkLst>
        </pc:spChg>
      </pc:sldChg>
      <pc:sldChg chg="add del modTransition">
        <pc:chgData name="Thomas Stensitzki" userId="75cafe6b-2f2a-469b-85c4-eec3b9c972ba" providerId="ADAL" clId="{9F9E9FDF-7C61-4792-941E-3BBD6C5DB2FE}" dt="2021-02-02T13:18:40.287" v="1835" actId="47"/>
        <pc:sldMkLst>
          <pc:docMk/>
          <pc:sldMk cId="293137779" sldId="396"/>
        </pc:sldMkLst>
      </pc:sldChg>
      <pc:sldChg chg="modSp add mod modTransition modNotesTx">
        <pc:chgData name="Thomas Stensitzki" userId="75cafe6b-2f2a-469b-85c4-eec3b9c972ba" providerId="ADAL" clId="{9F9E9FDF-7C61-4792-941E-3BBD6C5DB2FE}" dt="2021-02-02T13:19:08.353" v="1840" actId="20577"/>
        <pc:sldMkLst>
          <pc:docMk/>
          <pc:sldMk cId="3169144543" sldId="397"/>
        </pc:sldMkLst>
        <pc:spChg chg="mod">
          <ac:chgData name="Thomas Stensitzki" userId="75cafe6b-2f2a-469b-85c4-eec3b9c972ba" providerId="ADAL" clId="{9F9E9FDF-7C61-4792-941E-3BBD6C5DB2FE}" dt="2021-02-02T13:18:27.180" v="1834" actId="14100"/>
          <ac:spMkLst>
            <pc:docMk/>
            <pc:sldMk cId="3169144543" sldId="397"/>
            <ac:spMk id="2" creationId="{909DC09D-B9A6-4493-9A72-1CA7ECB1F5CA}"/>
          </ac:spMkLst>
        </pc:spChg>
        <pc:spChg chg="mod">
          <ac:chgData name="Thomas Stensitzki" userId="75cafe6b-2f2a-469b-85c4-eec3b9c972ba" providerId="ADAL" clId="{9F9E9FDF-7C61-4792-941E-3BBD6C5DB2FE}" dt="2021-02-01T17:25:07.974" v="1463" actId="20577"/>
          <ac:spMkLst>
            <pc:docMk/>
            <pc:sldMk cId="3169144543" sldId="397"/>
            <ac:spMk id="5" creationId="{C24DACB5-1BEC-4C86-9652-BAFD8DE56FEF}"/>
          </ac:spMkLst>
        </pc:spChg>
      </pc:sldChg>
      <pc:sldChg chg="modSp add mod modTransition modNotesTx">
        <pc:chgData name="Thomas Stensitzki" userId="75cafe6b-2f2a-469b-85c4-eec3b9c972ba" providerId="ADAL" clId="{9F9E9FDF-7C61-4792-941E-3BBD6C5DB2FE}" dt="2021-02-02T13:06:32.909" v="1757"/>
        <pc:sldMkLst>
          <pc:docMk/>
          <pc:sldMk cId="482102076" sldId="398"/>
        </pc:sldMkLst>
        <pc:spChg chg="mod">
          <ac:chgData name="Thomas Stensitzki" userId="75cafe6b-2f2a-469b-85c4-eec3b9c972ba" providerId="ADAL" clId="{9F9E9FDF-7C61-4792-941E-3BBD6C5DB2FE}" dt="2021-02-02T12:52:39.821" v="1694" actId="1036"/>
          <ac:spMkLst>
            <pc:docMk/>
            <pc:sldMk cId="482102076" sldId="398"/>
            <ac:spMk id="2" creationId="{909DC09D-B9A6-4493-9A72-1CA7ECB1F5CA}"/>
          </ac:spMkLst>
        </pc:spChg>
        <pc:spChg chg="mod">
          <ac:chgData name="Thomas Stensitzki" userId="75cafe6b-2f2a-469b-85c4-eec3b9c972ba" providerId="ADAL" clId="{9F9E9FDF-7C61-4792-941E-3BBD6C5DB2FE}" dt="2021-02-02T13:06:32.909" v="1757"/>
          <ac:spMkLst>
            <pc:docMk/>
            <pc:sldMk cId="482102076" sldId="398"/>
            <ac:spMk id="5" creationId="{C24DACB5-1BEC-4C86-9652-BAFD8DE56FEF}"/>
          </ac:spMkLst>
        </pc:spChg>
      </pc:sldChg>
      <pc:sldChg chg="addSp">
        <pc:chgData name="Thomas Stensitzki" userId="75cafe6b-2f2a-469b-85c4-eec3b9c972ba" providerId="ADAL" clId="{9F9E9FDF-7C61-4792-941E-3BBD6C5DB2FE}" dt="2021-02-01T17:28:31.521" v="1504"/>
        <pc:sldMkLst>
          <pc:docMk/>
          <pc:sldMk cId="3485267665" sldId="399"/>
        </pc:sldMkLst>
        <pc:picChg chg="add">
          <ac:chgData name="Thomas Stensitzki" userId="75cafe6b-2f2a-469b-85c4-eec3b9c972ba" providerId="ADAL" clId="{9F9E9FDF-7C61-4792-941E-3BBD6C5DB2FE}" dt="2021-02-01T17:28:31.521" v="1504"/>
          <ac:picMkLst>
            <pc:docMk/>
            <pc:sldMk cId="3485267665" sldId="399"/>
            <ac:picMk id="22530" creationId="{EF8A0CF6-EBB1-47C5-B089-EDBB735405DB}"/>
          </ac:picMkLst>
        </pc:picChg>
      </pc:sldChg>
      <pc:sldChg chg="modSp add del mod modTransition modNotesTx">
        <pc:chgData name="Thomas Stensitzki" userId="75cafe6b-2f2a-469b-85c4-eec3b9c972ba" providerId="ADAL" clId="{9F9E9FDF-7C61-4792-941E-3BBD6C5DB2FE}" dt="2021-02-02T13:05:23.236" v="1737" actId="1440"/>
        <pc:sldMkLst>
          <pc:docMk/>
          <pc:sldMk cId="3771242240" sldId="399"/>
        </pc:sldMkLst>
        <pc:spChg chg="mod">
          <ac:chgData name="Thomas Stensitzki" userId="75cafe6b-2f2a-469b-85c4-eec3b9c972ba" providerId="ADAL" clId="{9F9E9FDF-7C61-4792-941E-3BBD6C5DB2FE}" dt="2021-02-01T17:28:26.346" v="1503"/>
          <ac:spMkLst>
            <pc:docMk/>
            <pc:sldMk cId="3771242240" sldId="399"/>
            <ac:spMk id="2" creationId="{50183ADD-E6D0-4570-B5FB-F95BA9130DEC}"/>
          </ac:spMkLst>
        </pc:spChg>
        <pc:picChg chg="mod">
          <ac:chgData name="Thomas Stensitzki" userId="75cafe6b-2f2a-469b-85c4-eec3b9c972ba" providerId="ADAL" clId="{9F9E9FDF-7C61-4792-941E-3BBD6C5DB2FE}" dt="2021-02-02T13:05:23.236" v="1737" actId="1440"/>
          <ac:picMkLst>
            <pc:docMk/>
            <pc:sldMk cId="3771242240" sldId="399"/>
            <ac:picMk id="22530" creationId="{EF8A0CF6-EBB1-47C5-B089-EDBB735405DB}"/>
          </ac:picMkLst>
        </pc:picChg>
      </pc:sldChg>
      <pc:sldChg chg="addSp modSp add mod modTransition modAnim modNotesTx">
        <pc:chgData name="Thomas Stensitzki" userId="75cafe6b-2f2a-469b-85c4-eec3b9c972ba" providerId="ADAL" clId="{9F9E9FDF-7C61-4792-941E-3BBD6C5DB2FE}" dt="2021-02-02T13:04:36.215" v="1725" actId="14100"/>
        <pc:sldMkLst>
          <pc:docMk/>
          <pc:sldMk cId="425308375" sldId="400"/>
        </pc:sldMkLst>
        <pc:spChg chg="mod">
          <ac:chgData name="Thomas Stensitzki" userId="75cafe6b-2f2a-469b-85c4-eec3b9c972ba" providerId="ADAL" clId="{9F9E9FDF-7C61-4792-941E-3BBD6C5DB2FE}" dt="2021-02-01T17:15:38.954" v="1203" actId="20577"/>
          <ac:spMkLst>
            <pc:docMk/>
            <pc:sldMk cId="425308375" sldId="400"/>
            <ac:spMk id="2" creationId="{50183ADD-E6D0-4570-B5FB-F95BA9130DEC}"/>
          </ac:spMkLst>
        </pc:spChg>
        <pc:spChg chg="add mod">
          <ac:chgData name="Thomas Stensitzki" userId="75cafe6b-2f2a-469b-85c4-eec3b9c972ba" providerId="ADAL" clId="{9F9E9FDF-7C61-4792-941E-3BBD6C5DB2FE}" dt="2021-02-02T13:04:36.215" v="1725" actId="14100"/>
          <ac:spMkLst>
            <pc:docMk/>
            <pc:sldMk cId="425308375" sldId="400"/>
            <ac:spMk id="5" creationId="{FCF996B8-EE24-4322-A598-0FCE05AE77D5}"/>
          </ac:spMkLst>
        </pc:spChg>
        <pc:picChg chg="add mod">
          <ac:chgData name="Thomas Stensitzki" userId="75cafe6b-2f2a-469b-85c4-eec3b9c972ba" providerId="ADAL" clId="{9F9E9FDF-7C61-4792-941E-3BBD6C5DB2FE}" dt="2021-02-02T13:04:31.511" v="1724" actId="1076"/>
          <ac:picMkLst>
            <pc:docMk/>
            <pc:sldMk cId="425308375" sldId="400"/>
            <ac:picMk id="3" creationId="{8EB4E173-662F-417E-9197-857FCAF37B61}"/>
          </ac:picMkLst>
        </pc:picChg>
        <pc:picChg chg="add mod">
          <ac:chgData name="Thomas Stensitzki" userId="75cafe6b-2f2a-469b-85c4-eec3b9c972ba" providerId="ADAL" clId="{9F9E9FDF-7C61-4792-941E-3BBD6C5DB2FE}" dt="2021-02-02T13:03:23.633" v="1714" actId="1440"/>
          <ac:picMkLst>
            <pc:docMk/>
            <pc:sldMk cId="425308375" sldId="400"/>
            <ac:picMk id="4" creationId="{F4B40881-C338-4763-A029-3B7DC696DC34}"/>
          </ac:picMkLst>
        </pc:picChg>
      </pc:sldChg>
      <pc:sldChg chg="add del modTransition">
        <pc:chgData name="Thomas Stensitzki" userId="75cafe6b-2f2a-469b-85c4-eec3b9c972ba" providerId="ADAL" clId="{9F9E9FDF-7C61-4792-941E-3BBD6C5DB2FE}" dt="2021-02-02T13:06:41.388" v="1758" actId="47"/>
        <pc:sldMkLst>
          <pc:docMk/>
          <pc:sldMk cId="1085090997" sldId="401"/>
        </pc:sldMkLst>
      </pc:sldChg>
      <pc:sldChg chg="addSp">
        <pc:chgData name="Thomas Stensitzki" userId="75cafe6b-2f2a-469b-85c4-eec3b9c972ba" providerId="ADAL" clId="{9F9E9FDF-7C61-4792-941E-3BBD6C5DB2FE}" dt="2021-02-01T17:15:55.241" v="1207"/>
        <pc:sldMkLst>
          <pc:docMk/>
          <pc:sldMk cId="2128800882" sldId="402"/>
        </pc:sldMkLst>
        <pc:picChg chg="add">
          <ac:chgData name="Thomas Stensitzki" userId="75cafe6b-2f2a-469b-85c4-eec3b9c972ba" providerId="ADAL" clId="{9F9E9FDF-7C61-4792-941E-3BBD6C5DB2FE}" dt="2021-02-01T17:15:55.241" v="1207"/>
          <ac:picMkLst>
            <pc:docMk/>
            <pc:sldMk cId="2128800882" sldId="402"/>
            <ac:picMk id="21506" creationId="{C3C61B88-DA23-4330-B34D-216A1F942FEF}"/>
          </ac:picMkLst>
        </pc:picChg>
      </pc:sldChg>
      <pc:sldChg chg="addSp delSp modSp add del mod modTransition modAnim modNotesTx">
        <pc:chgData name="Thomas Stensitzki" userId="75cafe6b-2f2a-469b-85c4-eec3b9c972ba" providerId="ADAL" clId="{9F9E9FDF-7C61-4792-941E-3BBD6C5DB2FE}" dt="2021-02-02T13:07:04.146" v="1763"/>
        <pc:sldMkLst>
          <pc:docMk/>
          <pc:sldMk cId="3556353505" sldId="402"/>
        </pc:sldMkLst>
        <pc:spChg chg="mod">
          <ac:chgData name="Thomas Stensitzki" userId="75cafe6b-2f2a-469b-85c4-eec3b9c972ba" providerId="ADAL" clId="{9F9E9FDF-7C61-4792-941E-3BBD6C5DB2FE}" dt="2021-02-01T17:29:02.402" v="1507"/>
          <ac:spMkLst>
            <pc:docMk/>
            <pc:sldMk cId="3556353505" sldId="402"/>
            <ac:spMk id="2" creationId="{50183ADD-E6D0-4570-B5FB-F95BA9130DEC}"/>
          </ac:spMkLst>
        </pc:spChg>
        <pc:picChg chg="add del mod">
          <ac:chgData name="Thomas Stensitzki" userId="75cafe6b-2f2a-469b-85c4-eec3b9c972ba" providerId="ADAL" clId="{9F9E9FDF-7C61-4792-941E-3BBD6C5DB2FE}" dt="2021-02-01T17:17:41.325" v="1216" actId="478"/>
          <ac:picMkLst>
            <pc:docMk/>
            <pc:sldMk cId="3556353505" sldId="402"/>
            <ac:picMk id="4" creationId="{D96DA14E-1E36-4B14-B466-0A5021045F3D}"/>
          </ac:picMkLst>
        </pc:picChg>
        <pc:picChg chg="del mod">
          <ac:chgData name="Thomas Stensitzki" userId="75cafe6b-2f2a-469b-85c4-eec3b9c972ba" providerId="ADAL" clId="{9F9E9FDF-7C61-4792-941E-3BBD6C5DB2FE}" dt="2021-02-01T17:17:41.325" v="1216" actId="478"/>
          <ac:picMkLst>
            <pc:docMk/>
            <pc:sldMk cId="3556353505" sldId="402"/>
            <ac:picMk id="21506" creationId="{C3C61B88-DA23-4330-B34D-216A1F942FEF}"/>
          </ac:picMkLst>
        </pc:picChg>
        <pc:picChg chg="mod">
          <ac:chgData name="Thomas Stensitzki" userId="75cafe6b-2f2a-469b-85c4-eec3b9c972ba" providerId="ADAL" clId="{9F9E9FDF-7C61-4792-941E-3BBD6C5DB2FE}" dt="2021-02-02T13:06:51.055" v="1760" actId="1440"/>
          <ac:picMkLst>
            <pc:docMk/>
            <pc:sldMk cId="3556353505" sldId="402"/>
            <ac:picMk id="23554" creationId="{F5FDDD86-DAEF-47CB-9EDD-2FDD418290C6}"/>
          </ac:picMkLst>
        </pc:picChg>
        <pc:picChg chg="mod">
          <ac:chgData name="Thomas Stensitzki" userId="75cafe6b-2f2a-469b-85c4-eec3b9c972ba" providerId="ADAL" clId="{9F9E9FDF-7C61-4792-941E-3BBD6C5DB2FE}" dt="2021-02-02T13:06:59.503" v="1762" actId="1076"/>
          <ac:picMkLst>
            <pc:docMk/>
            <pc:sldMk cId="3556353505" sldId="402"/>
            <ac:picMk id="24578" creationId="{7AC08E14-008C-49B1-9CD0-E4AD1B6ED434}"/>
          </ac:picMkLst>
        </pc:picChg>
      </pc:sldChg>
      <pc:sldChg chg="addSp">
        <pc:chgData name="Thomas Stensitzki" userId="75cafe6b-2f2a-469b-85c4-eec3b9c972ba" providerId="ADAL" clId="{9F9E9FDF-7C61-4792-941E-3BBD6C5DB2FE}" dt="2021-02-01T17:29:38.916" v="1513"/>
        <pc:sldMkLst>
          <pc:docMk/>
          <pc:sldMk cId="3846898001" sldId="402"/>
        </pc:sldMkLst>
        <pc:picChg chg="add">
          <ac:chgData name="Thomas Stensitzki" userId="75cafe6b-2f2a-469b-85c4-eec3b9c972ba" providerId="ADAL" clId="{9F9E9FDF-7C61-4792-941E-3BBD6C5DB2FE}" dt="2021-02-01T17:29:38.916" v="1513"/>
          <ac:picMkLst>
            <pc:docMk/>
            <pc:sldMk cId="3846898001" sldId="402"/>
            <ac:picMk id="23554" creationId="{F5FDDD86-DAEF-47CB-9EDD-2FDD418290C6}"/>
          </ac:picMkLst>
        </pc:picChg>
      </pc:sldChg>
      <pc:sldChg chg="addSp">
        <pc:chgData name="Thomas Stensitzki" userId="75cafe6b-2f2a-469b-85c4-eec3b9c972ba" providerId="ADAL" clId="{9F9E9FDF-7C61-4792-941E-3BBD6C5DB2FE}" dt="2021-02-01T17:29:50.964" v="1517"/>
        <pc:sldMkLst>
          <pc:docMk/>
          <pc:sldMk cId="3942718026" sldId="402"/>
        </pc:sldMkLst>
        <pc:picChg chg="add">
          <ac:chgData name="Thomas Stensitzki" userId="75cafe6b-2f2a-469b-85c4-eec3b9c972ba" providerId="ADAL" clId="{9F9E9FDF-7C61-4792-941E-3BBD6C5DB2FE}" dt="2021-02-01T17:29:50.964" v="1517"/>
          <ac:picMkLst>
            <pc:docMk/>
            <pc:sldMk cId="3942718026" sldId="402"/>
            <ac:picMk id="24578" creationId="{7AC08E14-008C-49B1-9CD0-E4AD1B6ED434}"/>
          </ac:picMkLst>
        </pc:picChg>
      </pc:sldChg>
      <pc:sldChg chg="modSp add mod modTransition modNotesTx">
        <pc:chgData name="Thomas Stensitzki" userId="75cafe6b-2f2a-469b-85c4-eec3b9c972ba" providerId="ADAL" clId="{9F9E9FDF-7C61-4792-941E-3BBD6C5DB2FE}" dt="2021-02-02T13:19:58.795" v="1851" actId="6549"/>
        <pc:sldMkLst>
          <pc:docMk/>
          <pc:sldMk cId="3957297632" sldId="403"/>
        </pc:sldMkLst>
        <pc:spChg chg="mod">
          <ac:chgData name="Thomas Stensitzki" userId="75cafe6b-2f2a-469b-85c4-eec3b9c972ba" providerId="ADAL" clId="{9F9E9FDF-7C61-4792-941E-3BBD6C5DB2FE}" dt="2021-02-02T13:19:55.688" v="1850" actId="1076"/>
          <ac:spMkLst>
            <pc:docMk/>
            <pc:sldMk cId="3957297632" sldId="403"/>
            <ac:spMk id="2" creationId="{909DC09D-B9A6-4493-9A72-1CA7ECB1F5CA}"/>
          </ac:spMkLst>
        </pc:spChg>
        <pc:spChg chg="mod">
          <ac:chgData name="Thomas Stensitzki" userId="75cafe6b-2f2a-469b-85c4-eec3b9c972ba" providerId="ADAL" clId="{9F9E9FDF-7C61-4792-941E-3BBD6C5DB2FE}" dt="2021-02-01T17:27:36.898" v="1480" actId="20577"/>
          <ac:spMkLst>
            <pc:docMk/>
            <pc:sldMk cId="3957297632" sldId="403"/>
            <ac:spMk id="5" creationId="{C24DACB5-1BEC-4C86-9652-BAFD8DE56FEF}"/>
          </ac:spMkLst>
        </pc:spChg>
      </pc:sldChg>
      <pc:sldChg chg="modSp add mod ord">
        <pc:chgData name="Thomas Stensitzki" userId="75cafe6b-2f2a-469b-85c4-eec3b9c972ba" providerId="ADAL" clId="{9F9E9FDF-7C61-4792-941E-3BBD6C5DB2FE}" dt="2021-02-02T12:16:28.806" v="1544" actId="1076"/>
        <pc:sldMkLst>
          <pc:docMk/>
          <pc:sldMk cId="4270566703" sldId="404"/>
        </pc:sldMkLst>
        <pc:spChg chg="mod">
          <ac:chgData name="Thomas Stensitzki" userId="75cafe6b-2f2a-469b-85c4-eec3b9c972ba" providerId="ADAL" clId="{9F9E9FDF-7C61-4792-941E-3BBD6C5DB2FE}" dt="2021-02-02T12:16:28.806" v="1544" actId="1076"/>
          <ac:spMkLst>
            <pc:docMk/>
            <pc:sldMk cId="4270566703" sldId="404"/>
            <ac:spMk id="2" creationId="{909DC09D-B9A6-4493-9A72-1CA7ECB1F5CA}"/>
          </ac:spMkLst>
        </pc:spChg>
      </pc:sldChg>
      <pc:sldChg chg="modSp add mod">
        <pc:chgData name="Thomas Stensitzki" userId="75cafe6b-2f2a-469b-85c4-eec3b9c972ba" providerId="ADAL" clId="{9F9E9FDF-7C61-4792-941E-3BBD6C5DB2FE}" dt="2021-02-02T12:16:50.712" v="1547" actId="14100"/>
        <pc:sldMkLst>
          <pc:docMk/>
          <pc:sldMk cId="21006271" sldId="405"/>
        </pc:sldMkLst>
        <pc:spChg chg="mod">
          <ac:chgData name="Thomas Stensitzki" userId="75cafe6b-2f2a-469b-85c4-eec3b9c972ba" providerId="ADAL" clId="{9F9E9FDF-7C61-4792-941E-3BBD6C5DB2FE}" dt="2021-02-02T12:16:50.712" v="1547" actId="14100"/>
          <ac:spMkLst>
            <pc:docMk/>
            <pc:sldMk cId="21006271" sldId="405"/>
            <ac:spMk id="2" creationId="{909DC09D-B9A6-4493-9A72-1CA7ECB1F5CA}"/>
          </ac:spMkLst>
        </pc:spChg>
      </pc:sldChg>
      <pc:sldChg chg="modSp add mod ord">
        <pc:chgData name="Thomas Stensitzki" userId="75cafe6b-2f2a-469b-85c4-eec3b9c972ba" providerId="ADAL" clId="{9F9E9FDF-7C61-4792-941E-3BBD6C5DB2FE}" dt="2021-02-02T12:18:30.841" v="1558" actId="1076"/>
        <pc:sldMkLst>
          <pc:docMk/>
          <pc:sldMk cId="550572939" sldId="406"/>
        </pc:sldMkLst>
        <pc:spChg chg="mod">
          <ac:chgData name="Thomas Stensitzki" userId="75cafe6b-2f2a-469b-85c4-eec3b9c972ba" providerId="ADAL" clId="{9F9E9FDF-7C61-4792-941E-3BBD6C5DB2FE}" dt="2021-02-02T12:18:30.841" v="1558" actId="1076"/>
          <ac:spMkLst>
            <pc:docMk/>
            <pc:sldMk cId="550572939" sldId="406"/>
            <ac:spMk id="2" creationId="{909DC09D-B9A6-4493-9A72-1CA7ECB1F5CA}"/>
          </ac:spMkLst>
        </pc:spChg>
      </pc:sldChg>
      <pc:sldChg chg="add del">
        <pc:chgData name="Thomas Stensitzki" userId="75cafe6b-2f2a-469b-85c4-eec3b9c972ba" providerId="ADAL" clId="{9F9E9FDF-7C61-4792-941E-3BBD6C5DB2FE}" dt="2021-02-02T12:20:47.203" v="1564" actId="22"/>
        <pc:sldMkLst>
          <pc:docMk/>
          <pc:sldMk cId="1044965248" sldId="407"/>
        </pc:sldMkLst>
      </pc:sldChg>
      <pc:sldChg chg="modSp add mod ord">
        <pc:chgData name="Thomas Stensitzki" userId="75cafe6b-2f2a-469b-85c4-eec3b9c972ba" providerId="ADAL" clId="{9F9E9FDF-7C61-4792-941E-3BBD6C5DB2FE}" dt="2021-02-02T12:21:01.223" v="1569" actId="14100"/>
        <pc:sldMkLst>
          <pc:docMk/>
          <pc:sldMk cId="3064330710" sldId="407"/>
        </pc:sldMkLst>
        <pc:spChg chg="mod">
          <ac:chgData name="Thomas Stensitzki" userId="75cafe6b-2f2a-469b-85c4-eec3b9c972ba" providerId="ADAL" clId="{9F9E9FDF-7C61-4792-941E-3BBD6C5DB2FE}" dt="2021-02-02T12:21:01.223" v="1569" actId="14100"/>
          <ac:spMkLst>
            <pc:docMk/>
            <pc:sldMk cId="3064330710" sldId="407"/>
            <ac:spMk id="2" creationId="{909DC09D-B9A6-4493-9A72-1CA7ECB1F5CA}"/>
          </ac:spMkLst>
        </pc:spChg>
      </pc:sldChg>
      <pc:sldChg chg="modSp add mod ord modNotesTx">
        <pc:chgData name="Thomas Stensitzki" userId="75cafe6b-2f2a-469b-85c4-eec3b9c972ba" providerId="ADAL" clId="{9F9E9FDF-7C61-4792-941E-3BBD6C5DB2FE}" dt="2021-02-02T12:25:10.336" v="1607" actId="20577"/>
        <pc:sldMkLst>
          <pc:docMk/>
          <pc:sldMk cId="1323954105" sldId="408"/>
        </pc:sldMkLst>
        <pc:spChg chg="mod">
          <ac:chgData name="Thomas Stensitzki" userId="75cafe6b-2f2a-469b-85c4-eec3b9c972ba" providerId="ADAL" clId="{9F9E9FDF-7C61-4792-941E-3BBD6C5DB2FE}" dt="2021-02-02T12:25:08.442" v="1606" actId="1076"/>
          <ac:spMkLst>
            <pc:docMk/>
            <pc:sldMk cId="1323954105" sldId="408"/>
            <ac:spMk id="2" creationId="{909DC09D-B9A6-4493-9A72-1CA7ECB1F5CA}"/>
          </ac:spMkLst>
        </pc:spChg>
      </pc:sldChg>
      <pc:sldChg chg="add del ord">
        <pc:chgData name="Thomas Stensitzki" userId="75cafe6b-2f2a-469b-85c4-eec3b9c972ba" providerId="ADAL" clId="{9F9E9FDF-7C61-4792-941E-3BBD6C5DB2FE}" dt="2021-02-02T12:24:36.836" v="1601" actId="47"/>
        <pc:sldMkLst>
          <pc:docMk/>
          <pc:sldMk cId="2400166738" sldId="408"/>
        </pc:sldMkLst>
      </pc:sldChg>
      <pc:sldChg chg="modSp add mod ord modTransition">
        <pc:chgData name="Thomas Stensitzki" userId="75cafe6b-2f2a-469b-85c4-eec3b9c972ba" providerId="ADAL" clId="{9F9E9FDF-7C61-4792-941E-3BBD6C5DB2FE}" dt="2021-02-02T12:28:48.157" v="1628" actId="14100"/>
        <pc:sldMkLst>
          <pc:docMk/>
          <pc:sldMk cId="974386544" sldId="409"/>
        </pc:sldMkLst>
        <pc:spChg chg="mod">
          <ac:chgData name="Thomas Stensitzki" userId="75cafe6b-2f2a-469b-85c4-eec3b9c972ba" providerId="ADAL" clId="{9F9E9FDF-7C61-4792-941E-3BBD6C5DB2FE}" dt="2021-02-02T12:28:48.157" v="1628" actId="14100"/>
          <ac:spMkLst>
            <pc:docMk/>
            <pc:sldMk cId="974386544" sldId="409"/>
            <ac:spMk id="2" creationId="{909DC09D-B9A6-4493-9A72-1CA7ECB1F5CA}"/>
          </ac:spMkLst>
        </pc:spChg>
      </pc:sldChg>
      <pc:sldChg chg="modSp add mod ord">
        <pc:chgData name="Thomas Stensitzki" userId="75cafe6b-2f2a-469b-85c4-eec3b9c972ba" providerId="ADAL" clId="{9F9E9FDF-7C61-4792-941E-3BBD6C5DB2FE}" dt="2021-02-02T12:30:11.295" v="1643" actId="14100"/>
        <pc:sldMkLst>
          <pc:docMk/>
          <pc:sldMk cId="179439695" sldId="410"/>
        </pc:sldMkLst>
        <pc:spChg chg="mod">
          <ac:chgData name="Thomas Stensitzki" userId="75cafe6b-2f2a-469b-85c4-eec3b9c972ba" providerId="ADAL" clId="{9F9E9FDF-7C61-4792-941E-3BBD6C5DB2FE}" dt="2021-02-02T12:30:11.295" v="1643" actId="14100"/>
          <ac:spMkLst>
            <pc:docMk/>
            <pc:sldMk cId="179439695" sldId="410"/>
            <ac:spMk id="2" creationId="{909DC09D-B9A6-4493-9A72-1CA7ECB1F5CA}"/>
          </ac:spMkLst>
        </pc:spChg>
      </pc:sldChg>
      <pc:sldChg chg="modSp add mod ord">
        <pc:chgData name="Thomas Stensitzki" userId="75cafe6b-2f2a-469b-85c4-eec3b9c972ba" providerId="ADAL" clId="{9F9E9FDF-7C61-4792-941E-3BBD6C5DB2FE}" dt="2021-02-02T12:41:07.474" v="1659" actId="14100"/>
        <pc:sldMkLst>
          <pc:docMk/>
          <pc:sldMk cId="3385880885" sldId="411"/>
        </pc:sldMkLst>
        <pc:spChg chg="mod">
          <ac:chgData name="Thomas Stensitzki" userId="75cafe6b-2f2a-469b-85c4-eec3b9c972ba" providerId="ADAL" clId="{9F9E9FDF-7C61-4792-941E-3BBD6C5DB2FE}" dt="2021-02-02T12:41:07.474" v="1659" actId="14100"/>
          <ac:spMkLst>
            <pc:docMk/>
            <pc:sldMk cId="3385880885" sldId="411"/>
            <ac:spMk id="2" creationId="{909DC09D-B9A6-4493-9A72-1CA7ECB1F5CA}"/>
          </ac:spMkLst>
        </pc:spChg>
      </pc:sldChg>
      <pc:sldChg chg="modSp add mod ord">
        <pc:chgData name="Thomas Stensitzki" userId="75cafe6b-2f2a-469b-85c4-eec3b9c972ba" providerId="ADAL" clId="{9F9E9FDF-7C61-4792-941E-3BBD6C5DB2FE}" dt="2021-02-02T12:41:38.118" v="1670" actId="14100"/>
        <pc:sldMkLst>
          <pc:docMk/>
          <pc:sldMk cId="439447182" sldId="412"/>
        </pc:sldMkLst>
        <pc:spChg chg="mod">
          <ac:chgData name="Thomas Stensitzki" userId="75cafe6b-2f2a-469b-85c4-eec3b9c972ba" providerId="ADAL" clId="{9F9E9FDF-7C61-4792-941E-3BBD6C5DB2FE}" dt="2021-02-02T12:41:38.118" v="1670" actId="14100"/>
          <ac:spMkLst>
            <pc:docMk/>
            <pc:sldMk cId="439447182" sldId="412"/>
            <ac:spMk id="2" creationId="{909DC09D-B9A6-4493-9A72-1CA7ECB1F5CA}"/>
          </ac:spMkLst>
        </pc:spChg>
      </pc:sldChg>
      <pc:sldChg chg="modSp add mod ord">
        <pc:chgData name="Thomas Stensitzki" userId="75cafe6b-2f2a-469b-85c4-eec3b9c972ba" providerId="ADAL" clId="{9F9E9FDF-7C61-4792-941E-3BBD6C5DB2FE}" dt="2021-02-02T12:42:15.645" v="1677" actId="1076"/>
        <pc:sldMkLst>
          <pc:docMk/>
          <pc:sldMk cId="2971012066" sldId="413"/>
        </pc:sldMkLst>
        <pc:spChg chg="mod">
          <ac:chgData name="Thomas Stensitzki" userId="75cafe6b-2f2a-469b-85c4-eec3b9c972ba" providerId="ADAL" clId="{9F9E9FDF-7C61-4792-941E-3BBD6C5DB2FE}" dt="2021-02-02T12:42:15.645" v="1677" actId="1076"/>
          <ac:spMkLst>
            <pc:docMk/>
            <pc:sldMk cId="2971012066" sldId="413"/>
            <ac:spMk id="2" creationId="{909DC09D-B9A6-4493-9A72-1CA7ECB1F5CA}"/>
          </ac:spMkLst>
        </pc:spChg>
      </pc:sldChg>
      <pc:sldChg chg="modSp add mod ord">
        <pc:chgData name="Thomas Stensitzki" userId="75cafe6b-2f2a-469b-85c4-eec3b9c972ba" providerId="ADAL" clId="{9F9E9FDF-7C61-4792-941E-3BBD6C5DB2FE}" dt="2021-02-02T12:52:08.234" v="1685" actId="1076"/>
        <pc:sldMkLst>
          <pc:docMk/>
          <pc:sldMk cId="1183984408" sldId="414"/>
        </pc:sldMkLst>
        <pc:spChg chg="mod">
          <ac:chgData name="Thomas Stensitzki" userId="75cafe6b-2f2a-469b-85c4-eec3b9c972ba" providerId="ADAL" clId="{9F9E9FDF-7C61-4792-941E-3BBD6C5DB2FE}" dt="2021-02-02T12:52:08.234" v="1685" actId="1076"/>
          <ac:spMkLst>
            <pc:docMk/>
            <pc:sldMk cId="1183984408" sldId="414"/>
            <ac:spMk id="2" creationId="{909DC09D-B9A6-4493-9A72-1CA7ECB1F5CA}"/>
          </ac:spMkLst>
        </pc:spChg>
      </pc:sldChg>
      <pc:sldChg chg="modSp add mod ord modTransition">
        <pc:chgData name="Thomas Stensitzki" userId="75cafe6b-2f2a-469b-85c4-eec3b9c972ba" providerId="ADAL" clId="{9F9E9FDF-7C61-4792-941E-3BBD6C5DB2FE}" dt="2021-02-02T13:06:28.027" v="1756"/>
        <pc:sldMkLst>
          <pc:docMk/>
          <pc:sldMk cId="1388017731" sldId="415"/>
        </pc:sldMkLst>
        <pc:spChg chg="mod">
          <ac:chgData name="Thomas Stensitzki" userId="75cafe6b-2f2a-469b-85c4-eec3b9c972ba" providerId="ADAL" clId="{9F9E9FDF-7C61-4792-941E-3BBD6C5DB2FE}" dt="2021-02-02T13:02:33.697" v="1707" actId="1076"/>
          <ac:spMkLst>
            <pc:docMk/>
            <pc:sldMk cId="1388017731" sldId="415"/>
            <ac:spMk id="2" creationId="{909DC09D-B9A6-4493-9A72-1CA7ECB1F5CA}"/>
          </ac:spMkLst>
        </pc:spChg>
        <pc:spChg chg="mod">
          <ac:chgData name="Thomas Stensitzki" userId="75cafe6b-2f2a-469b-85c4-eec3b9c972ba" providerId="ADAL" clId="{9F9E9FDF-7C61-4792-941E-3BBD6C5DB2FE}" dt="2021-02-02T13:06:28.027" v="1756"/>
          <ac:spMkLst>
            <pc:docMk/>
            <pc:sldMk cId="1388017731" sldId="415"/>
            <ac:spMk id="5" creationId="{C24DACB5-1BEC-4C86-9652-BAFD8DE56FEF}"/>
          </ac:spMkLst>
        </pc:spChg>
      </pc:sldChg>
      <pc:sldChg chg="modSp add mod ord">
        <pc:chgData name="Thomas Stensitzki" userId="75cafe6b-2f2a-469b-85c4-eec3b9c972ba" providerId="ADAL" clId="{9F9E9FDF-7C61-4792-941E-3BBD6C5DB2FE}" dt="2021-02-02T13:06:23.328" v="1755"/>
        <pc:sldMkLst>
          <pc:docMk/>
          <pc:sldMk cId="1390187629" sldId="416"/>
        </pc:sldMkLst>
        <pc:spChg chg="mod">
          <ac:chgData name="Thomas Stensitzki" userId="75cafe6b-2f2a-469b-85c4-eec3b9c972ba" providerId="ADAL" clId="{9F9E9FDF-7C61-4792-941E-3BBD6C5DB2FE}" dt="2021-02-02T13:04:55.161" v="1730" actId="14100"/>
          <ac:spMkLst>
            <pc:docMk/>
            <pc:sldMk cId="1390187629" sldId="416"/>
            <ac:spMk id="2" creationId="{909DC09D-B9A6-4493-9A72-1CA7ECB1F5CA}"/>
          </ac:spMkLst>
        </pc:spChg>
        <pc:spChg chg="mod">
          <ac:chgData name="Thomas Stensitzki" userId="75cafe6b-2f2a-469b-85c4-eec3b9c972ba" providerId="ADAL" clId="{9F9E9FDF-7C61-4792-941E-3BBD6C5DB2FE}" dt="2021-02-02T13:06:23.328" v="1755"/>
          <ac:spMkLst>
            <pc:docMk/>
            <pc:sldMk cId="1390187629" sldId="416"/>
            <ac:spMk id="5" creationId="{C24DACB5-1BEC-4C86-9652-BAFD8DE56FEF}"/>
          </ac:spMkLst>
        </pc:spChg>
      </pc:sldChg>
      <pc:sldChg chg="add del ord">
        <pc:chgData name="Thomas Stensitzki" userId="75cafe6b-2f2a-469b-85c4-eec3b9c972ba" providerId="ADAL" clId="{9F9E9FDF-7C61-4792-941E-3BBD6C5DB2FE}" dt="2021-02-02T13:05:00.073" v="1731" actId="47"/>
        <pc:sldMkLst>
          <pc:docMk/>
          <pc:sldMk cId="2205660386" sldId="417"/>
        </pc:sldMkLst>
      </pc:sldChg>
      <pc:sldChg chg="modSp add mod ord">
        <pc:chgData name="Thomas Stensitzki" userId="75cafe6b-2f2a-469b-85c4-eec3b9c972ba" providerId="ADAL" clId="{9F9E9FDF-7C61-4792-941E-3BBD6C5DB2FE}" dt="2021-02-02T13:06:11.123" v="1753" actId="20577"/>
        <pc:sldMkLst>
          <pc:docMk/>
          <pc:sldMk cId="3737910627" sldId="417"/>
        </pc:sldMkLst>
        <pc:spChg chg="mod">
          <ac:chgData name="Thomas Stensitzki" userId="75cafe6b-2f2a-469b-85c4-eec3b9c972ba" providerId="ADAL" clId="{9F9E9FDF-7C61-4792-941E-3BBD6C5DB2FE}" dt="2021-02-02T13:05:11.384" v="1735" actId="1076"/>
          <ac:spMkLst>
            <pc:docMk/>
            <pc:sldMk cId="3737910627" sldId="417"/>
            <ac:spMk id="2" creationId="{909DC09D-B9A6-4493-9A72-1CA7ECB1F5CA}"/>
          </ac:spMkLst>
        </pc:spChg>
        <pc:spChg chg="mod">
          <ac:chgData name="Thomas Stensitzki" userId="75cafe6b-2f2a-469b-85c4-eec3b9c972ba" providerId="ADAL" clId="{9F9E9FDF-7C61-4792-941E-3BBD6C5DB2FE}" dt="2021-02-02T13:06:11.123" v="1753" actId="20577"/>
          <ac:spMkLst>
            <pc:docMk/>
            <pc:sldMk cId="3737910627" sldId="417"/>
            <ac:spMk id="5" creationId="{C24DACB5-1BEC-4C86-9652-BAFD8DE56FEF}"/>
          </ac:spMkLst>
        </pc:spChg>
      </pc:sldChg>
      <pc:sldChg chg="modSp add mod ord">
        <pc:chgData name="Thomas Stensitzki" userId="75cafe6b-2f2a-469b-85c4-eec3b9c972ba" providerId="ADAL" clId="{9F9E9FDF-7C61-4792-941E-3BBD6C5DB2FE}" dt="2021-02-02T13:06:19.924" v="1754"/>
        <pc:sldMkLst>
          <pc:docMk/>
          <pc:sldMk cId="1540827525" sldId="418"/>
        </pc:sldMkLst>
        <pc:spChg chg="mod">
          <ac:chgData name="Thomas Stensitzki" userId="75cafe6b-2f2a-469b-85c4-eec3b9c972ba" providerId="ADAL" clId="{9F9E9FDF-7C61-4792-941E-3BBD6C5DB2FE}" dt="2021-02-02T13:05:33.942" v="1741" actId="1076"/>
          <ac:spMkLst>
            <pc:docMk/>
            <pc:sldMk cId="1540827525" sldId="418"/>
            <ac:spMk id="2" creationId="{909DC09D-B9A6-4493-9A72-1CA7ECB1F5CA}"/>
          </ac:spMkLst>
        </pc:spChg>
        <pc:spChg chg="mod">
          <ac:chgData name="Thomas Stensitzki" userId="75cafe6b-2f2a-469b-85c4-eec3b9c972ba" providerId="ADAL" clId="{9F9E9FDF-7C61-4792-941E-3BBD6C5DB2FE}" dt="2021-02-02T13:06:19.924" v="1754"/>
          <ac:spMkLst>
            <pc:docMk/>
            <pc:sldMk cId="1540827525" sldId="418"/>
            <ac:spMk id="5" creationId="{C24DACB5-1BEC-4C86-9652-BAFD8DE56FEF}"/>
          </ac:spMkLst>
        </pc:spChg>
      </pc:sldChg>
      <pc:sldChg chg="modSp add mod">
        <pc:chgData name="Thomas Stensitzki" userId="75cafe6b-2f2a-469b-85c4-eec3b9c972ba" providerId="ADAL" clId="{9F9E9FDF-7C61-4792-941E-3BBD6C5DB2FE}" dt="2021-02-02T13:14:12.513" v="1768" actId="14100"/>
        <pc:sldMkLst>
          <pc:docMk/>
          <pc:sldMk cId="2335610676" sldId="419"/>
        </pc:sldMkLst>
        <pc:spChg chg="mod">
          <ac:chgData name="Thomas Stensitzki" userId="75cafe6b-2f2a-469b-85c4-eec3b9c972ba" providerId="ADAL" clId="{9F9E9FDF-7C61-4792-941E-3BBD6C5DB2FE}" dt="2021-02-02T13:14:12.513" v="1768" actId="14100"/>
          <ac:spMkLst>
            <pc:docMk/>
            <pc:sldMk cId="2335610676" sldId="419"/>
            <ac:spMk id="2" creationId="{909DC09D-B9A6-4493-9A72-1CA7ECB1F5CA}"/>
          </ac:spMkLst>
        </pc:spChg>
      </pc:sldChg>
      <pc:sldChg chg="modSp add mod">
        <pc:chgData name="Thomas Stensitzki" userId="75cafe6b-2f2a-469b-85c4-eec3b9c972ba" providerId="ADAL" clId="{9F9E9FDF-7C61-4792-941E-3BBD6C5DB2FE}" dt="2021-02-02T13:14:25.084" v="1771" actId="14100"/>
        <pc:sldMkLst>
          <pc:docMk/>
          <pc:sldMk cId="1865896873" sldId="420"/>
        </pc:sldMkLst>
        <pc:spChg chg="mod">
          <ac:chgData name="Thomas Stensitzki" userId="75cafe6b-2f2a-469b-85c4-eec3b9c972ba" providerId="ADAL" clId="{9F9E9FDF-7C61-4792-941E-3BBD6C5DB2FE}" dt="2021-02-02T13:14:25.084" v="1771" actId="14100"/>
          <ac:spMkLst>
            <pc:docMk/>
            <pc:sldMk cId="1865896873" sldId="420"/>
            <ac:spMk id="2" creationId="{909DC09D-B9A6-4493-9A72-1CA7ECB1F5CA}"/>
          </ac:spMkLst>
        </pc:spChg>
      </pc:sldChg>
      <pc:sldChg chg="modSp add mod">
        <pc:chgData name="Thomas Stensitzki" userId="75cafe6b-2f2a-469b-85c4-eec3b9c972ba" providerId="ADAL" clId="{9F9E9FDF-7C61-4792-941E-3BBD6C5DB2FE}" dt="2021-02-02T13:15:02.889" v="1779" actId="1076"/>
        <pc:sldMkLst>
          <pc:docMk/>
          <pc:sldMk cId="1524395293" sldId="421"/>
        </pc:sldMkLst>
        <pc:spChg chg="mod">
          <ac:chgData name="Thomas Stensitzki" userId="75cafe6b-2f2a-469b-85c4-eec3b9c972ba" providerId="ADAL" clId="{9F9E9FDF-7C61-4792-941E-3BBD6C5DB2FE}" dt="2021-02-02T13:15:02.889" v="1779" actId="1076"/>
          <ac:spMkLst>
            <pc:docMk/>
            <pc:sldMk cId="1524395293" sldId="421"/>
            <ac:spMk id="2" creationId="{909DC09D-B9A6-4493-9A72-1CA7ECB1F5CA}"/>
          </ac:spMkLst>
        </pc:spChg>
      </pc:sldChg>
      <pc:sldChg chg="addSp delSp modSp add mod modAnim">
        <pc:chgData name="Thomas Stensitzki" userId="75cafe6b-2f2a-469b-85c4-eec3b9c972ba" providerId="ADAL" clId="{9F9E9FDF-7C61-4792-941E-3BBD6C5DB2FE}" dt="2021-02-02T13:18:15.918" v="1832"/>
        <pc:sldMkLst>
          <pc:docMk/>
          <pc:sldMk cId="1280545839" sldId="422"/>
        </pc:sldMkLst>
        <pc:spChg chg="add mod">
          <ac:chgData name="Thomas Stensitzki" userId="75cafe6b-2f2a-469b-85c4-eec3b9c972ba" providerId="ADAL" clId="{9F9E9FDF-7C61-4792-941E-3BBD6C5DB2FE}" dt="2021-02-02T13:17:28.456" v="1810" actId="14100"/>
          <ac:spMkLst>
            <pc:docMk/>
            <pc:sldMk cId="1280545839" sldId="422"/>
            <ac:spMk id="7" creationId="{C6191598-7775-4D95-899B-0E2D0541313F}"/>
          </ac:spMkLst>
        </pc:spChg>
        <pc:picChg chg="del">
          <ac:chgData name="Thomas Stensitzki" userId="75cafe6b-2f2a-469b-85c4-eec3b9c972ba" providerId="ADAL" clId="{9F9E9FDF-7C61-4792-941E-3BBD6C5DB2FE}" dt="2021-02-02T13:16:43.441" v="1800" actId="478"/>
          <ac:picMkLst>
            <pc:docMk/>
            <pc:sldMk cId="1280545839" sldId="422"/>
            <ac:picMk id="15362" creationId="{B90975DC-5162-4F41-B5F2-BBBE15E2112E}"/>
          </ac:picMkLst>
        </pc:picChg>
        <pc:picChg chg="del">
          <ac:chgData name="Thomas Stensitzki" userId="75cafe6b-2f2a-469b-85c4-eec3b9c972ba" providerId="ADAL" clId="{9F9E9FDF-7C61-4792-941E-3BBD6C5DB2FE}" dt="2021-02-02T13:16:44.071" v="1801" actId="478"/>
          <ac:picMkLst>
            <pc:docMk/>
            <pc:sldMk cId="1280545839" sldId="422"/>
            <ac:picMk id="16386" creationId="{F2A275E7-9123-49B8-915C-3A94852B1686}"/>
          </ac:picMkLst>
        </pc:picChg>
        <pc:picChg chg="mod">
          <ac:chgData name="Thomas Stensitzki" userId="75cafe6b-2f2a-469b-85c4-eec3b9c972ba" providerId="ADAL" clId="{9F9E9FDF-7C61-4792-941E-3BBD6C5DB2FE}" dt="2021-02-02T13:16:46.311" v="1802" actId="1076"/>
          <ac:picMkLst>
            <pc:docMk/>
            <pc:sldMk cId="1280545839" sldId="422"/>
            <ac:picMk id="17410" creationId="{EE942377-844A-497A-BCA1-1F49B9ADD376}"/>
          </ac:picMkLst>
        </pc:picChg>
        <pc:picChg chg="mod">
          <ac:chgData name="Thomas Stensitzki" userId="75cafe6b-2f2a-469b-85c4-eec3b9c972ba" providerId="ADAL" clId="{9F9E9FDF-7C61-4792-941E-3BBD6C5DB2FE}" dt="2021-02-02T13:16:50.835" v="1803" actId="1076"/>
          <ac:picMkLst>
            <pc:docMk/>
            <pc:sldMk cId="1280545839" sldId="422"/>
            <ac:picMk id="18434" creationId="{E18917D5-462E-425F-B1A7-02E0FDB5393A}"/>
          </ac:picMkLst>
        </pc:picChg>
      </pc:sldChg>
      <pc:sldChg chg="modSp add mod">
        <pc:chgData name="Thomas Stensitzki" userId="75cafe6b-2f2a-469b-85c4-eec3b9c972ba" providerId="ADAL" clId="{9F9E9FDF-7C61-4792-941E-3BBD6C5DB2FE}" dt="2021-02-02T13:18:59.786" v="1839" actId="1076"/>
        <pc:sldMkLst>
          <pc:docMk/>
          <pc:sldMk cId="3310606032" sldId="423"/>
        </pc:sldMkLst>
        <pc:spChg chg="mod">
          <ac:chgData name="Thomas Stensitzki" userId="75cafe6b-2f2a-469b-85c4-eec3b9c972ba" providerId="ADAL" clId="{9F9E9FDF-7C61-4792-941E-3BBD6C5DB2FE}" dt="2021-02-02T13:18:59.786" v="1839" actId="1076"/>
          <ac:spMkLst>
            <pc:docMk/>
            <pc:sldMk cId="3310606032" sldId="423"/>
            <ac:spMk id="2" creationId="{909DC09D-B9A6-4493-9A72-1CA7ECB1F5CA}"/>
          </ac:spMkLst>
        </pc:spChg>
      </pc:sldChg>
      <pc:sldChg chg="modSp add mod modNotesTx">
        <pc:chgData name="Thomas Stensitzki" userId="75cafe6b-2f2a-469b-85c4-eec3b9c972ba" providerId="ADAL" clId="{9F9E9FDF-7C61-4792-941E-3BBD6C5DB2FE}" dt="2021-02-02T13:19:27.066" v="1845" actId="14100"/>
        <pc:sldMkLst>
          <pc:docMk/>
          <pc:sldMk cId="2775711133" sldId="424"/>
        </pc:sldMkLst>
        <pc:spChg chg="mod">
          <ac:chgData name="Thomas Stensitzki" userId="75cafe6b-2f2a-469b-85c4-eec3b9c972ba" providerId="ADAL" clId="{9F9E9FDF-7C61-4792-941E-3BBD6C5DB2FE}" dt="2021-02-02T13:19:27.066" v="1845" actId="14100"/>
          <ac:spMkLst>
            <pc:docMk/>
            <pc:sldMk cId="2775711133" sldId="424"/>
            <ac:spMk id="2" creationId="{909DC09D-B9A6-4493-9A72-1CA7ECB1F5CA}"/>
          </ac:spMkLst>
        </pc:spChg>
      </pc:sldChg>
      <pc:sldChg chg="modSp add mod">
        <pc:chgData name="Thomas Stensitzki" userId="75cafe6b-2f2a-469b-85c4-eec3b9c972ba" providerId="ADAL" clId="{9F9E9FDF-7C61-4792-941E-3BBD6C5DB2FE}" dt="2021-02-02T13:19:41.191" v="1848" actId="14100"/>
        <pc:sldMkLst>
          <pc:docMk/>
          <pc:sldMk cId="1206553185" sldId="425"/>
        </pc:sldMkLst>
        <pc:spChg chg="mod">
          <ac:chgData name="Thomas Stensitzki" userId="75cafe6b-2f2a-469b-85c4-eec3b9c972ba" providerId="ADAL" clId="{9F9E9FDF-7C61-4792-941E-3BBD6C5DB2FE}" dt="2021-02-02T13:19:41.191" v="1848" actId="14100"/>
          <ac:spMkLst>
            <pc:docMk/>
            <pc:sldMk cId="1206553185" sldId="425"/>
            <ac:spMk id="2" creationId="{909DC09D-B9A6-4493-9A72-1CA7ECB1F5CA}"/>
          </ac:spMkLst>
        </pc:spChg>
      </pc:sldChg>
      <pc:sldMasterChg chg="modSp mod modSldLayout">
        <pc:chgData name="Thomas Stensitzki" userId="75cafe6b-2f2a-469b-85c4-eec3b9c972ba" providerId="ADAL" clId="{9F9E9FDF-7C61-4792-941E-3BBD6C5DB2FE}" dt="2021-02-01T13:29:14.397" v="45" actId="20577"/>
        <pc:sldMasterMkLst>
          <pc:docMk/>
          <pc:sldMasterMk cId="277911257" sldId="2147483648"/>
        </pc:sldMasterMkLst>
        <pc:spChg chg="mod">
          <ac:chgData name="Thomas Stensitzki" userId="75cafe6b-2f2a-469b-85c4-eec3b9c972ba" providerId="ADAL" clId="{9F9E9FDF-7C61-4792-941E-3BBD6C5DB2FE}" dt="2021-02-01T13:29:09.034" v="39" actId="20577"/>
          <ac:spMkLst>
            <pc:docMk/>
            <pc:sldMasterMk cId="277911257" sldId="2147483648"/>
            <ac:spMk id="9" creationId="{2406A12C-E783-4BE5-BEFC-AA493EA54917}"/>
          </ac:spMkLst>
        </pc:spChg>
        <pc:sldLayoutChg chg="modSp mod">
          <pc:chgData name="Thomas Stensitzki" userId="75cafe6b-2f2a-469b-85c4-eec3b9c972ba" providerId="ADAL" clId="{9F9E9FDF-7C61-4792-941E-3BBD6C5DB2FE}" dt="2021-02-01T13:29:14.397" v="45" actId="20577"/>
          <pc:sldLayoutMkLst>
            <pc:docMk/>
            <pc:sldMasterMk cId="277911257" sldId="2147483648"/>
            <pc:sldLayoutMk cId="3364905932" sldId="2147483649"/>
          </pc:sldLayoutMkLst>
          <pc:spChg chg="mod">
            <ac:chgData name="Thomas Stensitzki" userId="75cafe6b-2f2a-469b-85c4-eec3b9c972ba" providerId="ADAL" clId="{9F9E9FDF-7C61-4792-941E-3BBD6C5DB2FE}" dt="2021-02-01T13:29:14.397" v="45" actId="20577"/>
            <ac:spMkLst>
              <pc:docMk/>
              <pc:sldMasterMk cId="277911257" sldId="2147483648"/>
              <pc:sldLayoutMk cId="3364905932" sldId="2147483649"/>
              <ac:spMk id="4" creationId="{DC492C04-9595-4D88-A6FA-ABEAC2147667}"/>
            </ac:spMkLst>
          </pc:spChg>
        </pc:sldLayoutChg>
      </pc:sldMasterChg>
    </pc:docChg>
  </pc:docChgLst>
  <pc:docChgLst>
    <pc:chgData name="Thomas Stensitzki" userId="S::thomas.stensitzki@granikos.eu::75cafe6b-2f2a-469b-85c4-eec3b9c972ba" providerId="AD" clId="Web-{4149DE1F-7438-D6D1-324A-7810524F4E46}"/>
    <pc:docChg chg="addSld modSld modSection">
      <pc:chgData name="Thomas Stensitzki" userId="S::thomas.stensitzki@granikos.eu::75cafe6b-2f2a-469b-85c4-eec3b9c972ba" providerId="AD" clId="Web-{4149DE1F-7438-D6D1-324A-7810524F4E46}" dt="2023-05-23T09:13:18.776" v="15"/>
      <pc:docMkLst>
        <pc:docMk/>
      </pc:docMkLst>
      <pc:sldChg chg="addSp delSp modSp modNotes">
        <pc:chgData name="Thomas Stensitzki" userId="S::thomas.stensitzki@granikos.eu::75cafe6b-2f2a-469b-85c4-eec3b9c972ba" providerId="AD" clId="Web-{4149DE1F-7438-D6D1-324A-7810524F4E46}" dt="2023-05-23T09:13:18.776" v="15"/>
        <pc:sldMkLst>
          <pc:docMk/>
          <pc:sldMk cId="2929133666" sldId="666"/>
        </pc:sldMkLst>
        <pc:spChg chg="add del mod">
          <ac:chgData name="Thomas Stensitzki" userId="S::thomas.stensitzki@granikos.eu::75cafe6b-2f2a-469b-85c4-eec3b9c972ba" providerId="AD" clId="Web-{4149DE1F-7438-D6D1-324A-7810524F4E46}" dt="2023-05-23T09:12:45.056" v="14"/>
          <ac:spMkLst>
            <pc:docMk/>
            <pc:sldMk cId="2929133666" sldId="666"/>
            <ac:spMk id="3" creationId="{2A6ECF10-85D0-50A9-A3B7-6198E269E315}"/>
          </ac:spMkLst>
        </pc:spChg>
        <pc:spChg chg="mod">
          <ac:chgData name="Thomas Stensitzki" userId="S::thomas.stensitzki@granikos.eu::75cafe6b-2f2a-469b-85c4-eec3b9c972ba" providerId="AD" clId="Web-{4149DE1F-7438-D6D1-324A-7810524F4E46}" dt="2023-05-23T09:12:37.728" v="10" actId="20577"/>
          <ac:spMkLst>
            <pc:docMk/>
            <pc:sldMk cId="2929133666" sldId="666"/>
            <ac:spMk id="4" creationId="{9D4128E2-FBA7-900F-7B66-CEEBB9C7063C}"/>
          </ac:spMkLst>
        </pc:spChg>
        <pc:spChg chg="del mod">
          <ac:chgData name="Thomas Stensitzki" userId="S::thomas.stensitzki@granikos.eu::75cafe6b-2f2a-469b-85c4-eec3b9c972ba" providerId="AD" clId="Web-{4149DE1F-7438-D6D1-324A-7810524F4E46}" dt="2023-05-23T09:12:43.541" v="13"/>
          <ac:spMkLst>
            <pc:docMk/>
            <pc:sldMk cId="2929133666" sldId="666"/>
            <ac:spMk id="5" creationId="{0C5A623D-94AE-2D59-FFE6-1DB4A44070C0}"/>
          </ac:spMkLst>
        </pc:spChg>
        <pc:picChg chg="add mod ord">
          <ac:chgData name="Thomas Stensitzki" userId="S::thomas.stensitzki@granikos.eu::75cafe6b-2f2a-469b-85c4-eec3b9c972ba" providerId="AD" clId="Web-{4149DE1F-7438-D6D1-324A-7810524F4E46}" dt="2023-05-23T09:12:45.056" v="14"/>
          <ac:picMkLst>
            <pc:docMk/>
            <pc:sldMk cId="2929133666" sldId="666"/>
            <ac:picMk id="6" creationId="{C8D4B2FE-EDD8-50E5-8B16-7E008C16F86F}"/>
          </ac:picMkLst>
        </pc:picChg>
      </pc:sldChg>
      <pc:sldChg chg="add replId">
        <pc:chgData name="Thomas Stensitzki" userId="S::thomas.stensitzki@granikos.eu::75cafe6b-2f2a-469b-85c4-eec3b9c972ba" providerId="AD" clId="Web-{4149DE1F-7438-D6D1-324A-7810524F4E46}" dt="2023-05-23T09:12:31.400" v="0"/>
        <pc:sldMkLst>
          <pc:docMk/>
          <pc:sldMk cId="1727373922" sldId="727"/>
        </pc:sldMkLst>
      </pc:sldChg>
    </pc:docChg>
  </pc:docChgLst>
  <pc:docChgLst>
    <pc:chgData name="Thomas Stensitzki" userId="75cafe6b-2f2a-469b-85c4-eec3b9c972ba" providerId="ADAL" clId="{732483C3-CB0C-4598-9DB1-778FE3877DE7}"/>
    <pc:docChg chg="undo custSel addSld delSld modSld sldOrd addSection modSection">
      <pc:chgData name="Thomas Stensitzki" userId="75cafe6b-2f2a-469b-85c4-eec3b9c972ba" providerId="ADAL" clId="{732483C3-CB0C-4598-9DB1-778FE3877DE7}" dt="2022-02-17T15:59:12.602" v="1969" actId="1076"/>
      <pc:docMkLst>
        <pc:docMk/>
      </pc:docMkLst>
      <pc:sldChg chg="modSp mod modTransition">
        <pc:chgData name="Thomas Stensitzki" userId="75cafe6b-2f2a-469b-85c4-eec3b9c972ba" providerId="ADAL" clId="{732483C3-CB0C-4598-9DB1-778FE3877DE7}" dt="2022-02-16T13:35:41.009" v="1677"/>
        <pc:sldMkLst>
          <pc:docMk/>
          <pc:sldMk cId="671489701" sldId="256"/>
        </pc:sldMkLst>
        <pc:spChg chg="mod">
          <ac:chgData name="Thomas Stensitzki" userId="75cafe6b-2f2a-469b-85c4-eec3b9c972ba" providerId="ADAL" clId="{732483C3-CB0C-4598-9DB1-778FE3877DE7}" dt="2022-02-13T12:22:51.290" v="50" actId="113"/>
          <ac:spMkLst>
            <pc:docMk/>
            <pc:sldMk cId="671489701" sldId="256"/>
            <ac:spMk id="2" creationId="{86A4A9C3-88F1-47B1-832C-DF14CF7A00CF}"/>
          </ac:spMkLst>
        </pc:spChg>
        <pc:spChg chg="mod">
          <ac:chgData name="Thomas Stensitzki" userId="75cafe6b-2f2a-469b-85c4-eec3b9c972ba" providerId="ADAL" clId="{732483C3-CB0C-4598-9DB1-778FE3877DE7}" dt="2022-02-13T12:23:22.759" v="51" actId="113"/>
          <ac:spMkLst>
            <pc:docMk/>
            <pc:sldMk cId="671489701" sldId="256"/>
            <ac:spMk id="3" creationId="{CBA95633-B02D-4A15-A8B1-A38E0A70FD27}"/>
          </ac:spMkLst>
        </pc:spChg>
      </pc:sldChg>
      <pc:sldChg chg="addSp delSp modSp mod modTransition">
        <pc:chgData name="Thomas Stensitzki" userId="75cafe6b-2f2a-469b-85c4-eec3b9c972ba" providerId="ADAL" clId="{732483C3-CB0C-4598-9DB1-778FE3877DE7}" dt="2022-02-17T15:59:12.602" v="1969" actId="1076"/>
        <pc:sldMkLst>
          <pc:docMk/>
          <pc:sldMk cId="2855324227" sldId="257"/>
        </pc:sldMkLst>
        <pc:spChg chg="mod">
          <ac:chgData name="Thomas Stensitzki" userId="75cafe6b-2f2a-469b-85c4-eec3b9c972ba" providerId="ADAL" clId="{732483C3-CB0C-4598-9DB1-778FE3877DE7}" dt="2022-02-16T13:31:32.696" v="1597"/>
          <ac:spMkLst>
            <pc:docMk/>
            <pc:sldMk cId="2855324227" sldId="257"/>
            <ac:spMk id="11" creationId="{5F7E2A8E-3488-43CE-AFB7-0DE0FE9942EC}"/>
          </ac:spMkLst>
        </pc:spChg>
        <pc:spChg chg="mod">
          <ac:chgData name="Thomas Stensitzki" userId="75cafe6b-2f2a-469b-85c4-eec3b9c972ba" providerId="ADAL" clId="{732483C3-CB0C-4598-9DB1-778FE3877DE7}" dt="2022-02-17T15:59:01.053" v="1967"/>
          <ac:spMkLst>
            <pc:docMk/>
            <pc:sldMk cId="2855324227" sldId="257"/>
            <ac:spMk id="11" creationId="{E79462DF-B80C-4577-A7E2-5A5070DE1A39}"/>
          </ac:spMkLst>
        </pc:spChg>
        <pc:spChg chg="mod">
          <ac:chgData name="Thomas Stensitzki" userId="75cafe6b-2f2a-469b-85c4-eec3b9c972ba" providerId="ADAL" clId="{732483C3-CB0C-4598-9DB1-778FE3877DE7}" dt="2022-02-17T15:59:01.053" v="1967"/>
          <ac:spMkLst>
            <pc:docMk/>
            <pc:sldMk cId="2855324227" sldId="257"/>
            <ac:spMk id="12" creationId="{2CBD1460-E995-4D48-A0A3-9B7E8FFC6E73}"/>
          </ac:spMkLst>
        </pc:spChg>
        <pc:spChg chg="mod">
          <ac:chgData name="Thomas Stensitzki" userId="75cafe6b-2f2a-469b-85c4-eec3b9c972ba" providerId="ADAL" clId="{732483C3-CB0C-4598-9DB1-778FE3877DE7}" dt="2022-02-16T13:31:32.696" v="1597"/>
          <ac:spMkLst>
            <pc:docMk/>
            <pc:sldMk cId="2855324227" sldId="257"/>
            <ac:spMk id="12" creationId="{B66D9E92-293C-402F-A9E1-9822A1F2DDE3}"/>
          </ac:spMkLst>
        </pc:spChg>
        <pc:grpChg chg="add del mod">
          <ac:chgData name="Thomas Stensitzki" userId="75cafe6b-2f2a-469b-85c4-eec3b9c972ba" providerId="ADAL" clId="{732483C3-CB0C-4598-9DB1-778FE3877DE7}" dt="2022-02-16T13:32:31.835" v="1606" actId="478"/>
          <ac:grpSpMkLst>
            <pc:docMk/>
            <pc:sldMk cId="2855324227" sldId="257"/>
            <ac:grpSpMk id="10" creationId="{16102D12-CA97-459F-9875-C86808FBFBEB}"/>
          </ac:grpSpMkLst>
        </pc:grpChg>
        <pc:grpChg chg="add mod">
          <ac:chgData name="Thomas Stensitzki" userId="75cafe6b-2f2a-469b-85c4-eec3b9c972ba" providerId="ADAL" clId="{732483C3-CB0C-4598-9DB1-778FE3877DE7}" dt="2022-02-17T15:59:12.602" v="1969" actId="1076"/>
          <ac:grpSpMkLst>
            <pc:docMk/>
            <pc:sldMk cId="2855324227" sldId="257"/>
            <ac:grpSpMk id="10" creationId="{D2AA4FDE-6B43-48F3-A5F5-5B79619A7E68}"/>
          </ac:grpSpMkLst>
        </pc:grpChg>
        <pc:graphicFrameChg chg="mod modGraphic">
          <ac:chgData name="Thomas Stensitzki" userId="75cafe6b-2f2a-469b-85c4-eec3b9c972ba" providerId="ADAL" clId="{732483C3-CB0C-4598-9DB1-778FE3877DE7}" dt="2022-02-13T12:25:25.350" v="63"/>
          <ac:graphicFrameMkLst>
            <pc:docMk/>
            <pc:sldMk cId="2855324227" sldId="257"/>
            <ac:graphicFrameMk id="6" creationId="{0F955DCC-462D-431D-BBDE-26F10687D590}"/>
          </ac:graphicFrameMkLst>
        </pc:graphicFrameChg>
        <pc:picChg chg="add del mod">
          <ac:chgData name="Thomas Stensitzki" userId="75cafe6b-2f2a-469b-85c4-eec3b9c972ba" providerId="ADAL" clId="{732483C3-CB0C-4598-9DB1-778FE3877DE7}" dt="2022-02-16T13:32:33.009" v="1607" actId="478"/>
          <ac:picMkLst>
            <pc:docMk/>
            <pc:sldMk cId="2855324227" sldId="257"/>
            <ac:picMk id="4" creationId="{69EB1147-1A9E-4968-9B6D-4419C751595B}"/>
          </ac:picMkLst>
        </pc:picChg>
        <pc:picChg chg="add del mod">
          <ac:chgData name="Thomas Stensitzki" userId="75cafe6b-2f2a-469b-85c4-eec3b9c972ba" providerId="ADAL" clId="{732483C3-CB0C-4598-9DB1-778FE3877DE7}" dt="2022-02-16T13:32:01.981" v="1601" actId="478"/>
          <ac:picMkLst>
            <pc:docMk/>
            <pc:sldMk cId="2855324227" sldId="257"/>
            <ac:picMk id="14" creationId="{6E278E7A-A6E6-47E7-9D1F-FF803ED76CF6}"/>
          </ac:picMkLst>
        </pc:picChg>
      </pc:sldChg>
      <pc:sldChg chg="modSp mod modTransition">
        <pc:chgData name="Thomas Stensitzki" userId="75cafe6b-2f2a-469b-85c4-eec3b9c972ba" providerId="ADAL" clId="{732483C3-CB0C-4598-9DB1-778FE3877DE7}" dt="2022-02-16T13:35:41.009" v="1677"/>
        <pc:sldMkLst>
          <pc:docMk/>
          <pc:sldMk cId="3332792154" sldId="258"/>
        </pc:sldMkLst>
        <pc:spChg chg="mod">
          <ac:chgData name="Thomas Stensitzki" userId="75cafe6b-2f2a-469b-85c4-eec3b9c972ba" providerId="ADAL" clId="{732483C3-CB0C-4598-9DB1-778FE3877DE7}" dt="2022-02-13T12:41:53.547" v="314" actId="6549"/>
          <ac:spMkLst>
            <pc:docMk/>
            <pc:sldMk cId="3332792154" sldId="258"/>
            <ac:spMk id="3" creationId="{3A5A44EB-7FB9-473A-8ED3-C49DDD2E65AB}"/>
          </ac:spMkLst>
        </pc:spChg>
      </pc:sldChg>
      <pc:sldChg chg="modTransition">
        <pc:chgData name="Thomas Stensitzki" userId="75cafe6b-2f2a-469b-85c4-eec3b9c972ba" providerId="ADAL" clId="{732483C3-CB0C-4598-9DB1-778FE3877DE7}" dt="2022-02-16T13:35:41.009" v="1677"/>
        <pc:sldMkLst>
          <pc:docMk/>
          <pc:sldMk cId="1545829058" sldId="259"/>
        </pc:sldMkLst>
      </pc:sldChg>
      <pc:sldChg chg="modSp mod modTransition">
        <pc:chgData name="Thomas Stensitzki" userId="75cafe6b-2f2a-469b-85c4-eec3b9c972ba" providerId="ADAL" clId="{732483C3-CB0C-4598-9DB1-778FE3877DE7}" dt="2022-02-16T13:35:41.009" v="1677"/>
        <pc:sldMkLst>
          <pc:docMk/>
          <pc:sldMk cId="2698998357" sldId="260"/>
        </pc:sldMkLst>
        <pc:spChg chg="mod">
          <ac:chgData name="Thomas Stensitzki" userId="75cafe6b-2f2a-469b-85c4-eec3b9c972ba" providerId="ADAL" clId="{732483C3-CB0C-4598-9DB1-778FE3877DE7}" dt="2022-02-13T12:27:18.416" v="64"/>
          <ac:spMkLst>
            <pc:docMk/>
            <pc:sldMk cId="2698998357" sldId="260"/>
            <ac:spMk id="4" creationId="{F3A15CBD-C746-44A3-A4F0-4898CE2F02E6}"/>
          </ac:spMkLst>
        </pc:spChg>
        <pc:spChg chg="mod">
          <ac:chgData name="Thomas Stensitzki" userId="75cafe6b-2f2a-469b-85c4-eec3b9c972ba" providerId="ADAL" clId="{732483C3-CB0C-4598-9DB1-778FE3877DE7}" dt="2022-02-13T12:28:37.463" v="70" actId="114"/>
          <ac:spMkLst>
            <pc:docMk/>
            <pc:sldMk cId="2698998357" sldId="260"/>
            <ac:spMk id="5" creationId="{F3459BE7-1731-4733-A912-12977C68CFD6}"/>
          </ac:spMkLst>
        </pc:spChg>
      </pc:sldChg>
      <pc:sldChg chg="modSp mod modTransition">
        <pc:chgData name="Thomas Stensitzki" userId="75cafe6b-2f2a-469b-85c4-eec3b9c972ba" providerId="ADAL" clId="{732483C3-CB0C-4598-9DB1-778FE3877DE7}" dt="2022-02-16T13:35:41.009" v="1677"/>
        <pc:sldMkLst>
          <pc:docMk/>
          <pc:sldMk cId="4007670073" sldId="268"/>
        </pc:sldMkLst>
        <pc:spChg chg="mod">
          <ac:chgData name="Thomas Stensitzki" userId="75cafe6b-2f2a-469b-85c4-eec3b9c972ba" providerId="ADAL" clId="{732483C3-CB0C-4598-9DB1-778FE3877DE7}" dt="2022-02-13T12:28:46.343" v="72" actId="20577"/>
          <ac:spMkLst>
            <pc:docMk/>
            <pc:sldMk cId="4007670073" sldId="268"/>
            <ac:spMk id="5" creationId="{F3459BE7-1731-4733-A912-12977C68CFD6}"/>
          </ac:spMkLst>
        </pc:spChg>
      </pc:sldChg>
      <pc:sldChg chg="modSp add del mod modTransition">
        <pc:chgData name="Thomas Stensitzki" userId="75cafe6b-2f2a-469b-85c4-eec3b9c972ba" providerId="ADAL" clId="{732483C3-CB0C-4598-9DB1-778FE3877DE7}" dt="2022-02-16T13:35:41.009" v="1677"/>
        <pc:sldMkLst>
          <pc:docMk/>
          <pc:sldMk cId="2721051844" sldId="269"/>
        </pc:sldMkLst>
        <pc:spChg chg="mod">
          <ac:chgData name="Thomas Stensitzki" userId="75cafe6b-2f2a-469b-85c4-eec3b9c972ba" providerId="ADAL" clId="{732483C3-CB0C-4598-9DB1-778FE3877DE7}" dt="2022-02-13T12:36:47.285" v="163" actId="20577"/>
          <ac:spMkLst>
            <pc:docMk/>
            <pc:sldMk cId="2721051844" sldId="269"/>
            <ac:spMk id="5" creationId="{C24DACB5-1BEC-4C86-9652-BAFD8DE56FEF}"/>
          </ac:spMkLst>
        </pc:spChg>
      </pc:sldChg>
      <pc:sldChg chg="modTransition">
        <pc:chgData name="Thomas Stensitzki" userId="75cafe6b-2f2a-469b-85c4-eec3b9c972ba" providerId="ADAL" clId="{732483C3-CB0C-4598-9DB1-778FE3877DE7}" dt="2022-02-16T13:35:41.009" v="1677"/>
        <pc:sldMkLst>
          <pc:docMk/>
          <pc:sldMk cId="1928334901" sldId="295"/>
        </pc:sldMkLst>
      </pc:sldChg>
      <pc:sldChg chg="modTransition">
        <pc:chgData name="Thomas Stensitzki" userId="75cafe6b-2f2a-469b-85c4-eec3b9c972ba" providerId="ADAL" clId="{732483C3-CB0C-4598-9DB1-778FE3877DE7}" dt="2022-02-16T13:35:41.009" v="1677"/>
        <pc:sldMkLst>
          <pc:docMk/>
          <pc:sldMk cId="466045460" sldId="296"/>
        </pc:sldMkLst>
      </pc:sldChg>
      <pc:sldChg chg="modSp mod modTransition modShow">
        <pc:chgData name="Thomas Stensitzki" userId="75cafe6b-2f2a-469b-85c4-eec3b9c972ba" providerId="ADAL" clId="{732483C3-CB0C-4598-9DB1-778FE3877DE7}" dt="2022-02-16T13:54:43.015" v="1912" actId="729"/>
        <pc:sldMkLst>
          <pc:docMk/>
          <pc:sldMk cId="53967156" sldId="297"/>
        </pc:sldMkLst>
        <pc:spChg chg="mod">
          <ac:chgData name="Thomas Stensitzki" userId="75cafe6b-2f2a-469b-85c4-eec3b9c972ba" providerId="ADAL" clId="{732483C3-CB0C-4598-9DB1-778FE3877DE7}" dt="2022-02-13T12:38:16.414" v="168" actId="20577"/>
          <ac:spMkLst>
            <pc:docMk/>
            <pc:sldMk cId="53967156" sldId="297"/>
            <ac:spMk id="4" creationId="{F3A15CBD-C746-44A3-A4F0-4898CE2F02E6}"/>
          </ac:spMkLst>
        </pc:spChg>
        <pc:spChg chg="mod">
          <ac:chgData name="Thomas Stensitzki" userId="75cafe6b-2f2a-469b-85c4-eec3b9c972ba" providerId="ADAL" clId="{732483C3-CB0C-4598-9DB1-778FE3877DE7}" dt="2022-02-13T12:38:33.111" v="198" actId="20577"/>
          <ac:spMkLst>
            <pc:docMk/>
            <pc:sldMk cId="53967156" sldId="297"/>
            <ac:spMk id="5" creationId="{F3459BE7-1731-4733-A912-12977C68CFD6}"/>
          </ac:spMkLst>
        </pc:spChg>
      </pc:sldChg>
      <pc:sldChg chg="modTransition">
        <pc:chgData name="Thomas Stensitzki" userId="75cafe6b-2f2a-469b-85c4-eec3b9c972ba" providerId="ADAL" clId="{732483C3-CB0C-4598-9DB1-778FE3877DE7}" dt="2022-02-16T13:35:41.009" v="1677"/>
        <pc:sldMkLst>
          <pc:docMk/>
          <pc:sldMk cId="2814967912" sldId="311"/>
        </pc:sldMkLst>
      </pc:sldChg>
      <pc:sldChg chg="modTransition">
        <pc:chgData name="Thomas Stensitzki" userId="75cafe6b-2f2a-469b-85c4-eec3b9c972ba" providerId="ADAL" clId="{732483C3-CB0C-4598-9DB1-778FE3877DE7}" dt="2022-02-16T13:35:41.009" v="1677"/>
        <pc:sldMkLst>
          <pc:docMk/>
          <pc:sldMk cId="726195275" sldId="313"/>
        </pc:sldMkLst>
      </pc:sldChg>
      <pc:sldChg chg="modSp mod modTransition">
        <pc:chgData name="Thomas Stensitzki" userId="75cafe6b-2f2a-469b-85c4-eec3b9c972ba" providerId="ADAL" clId="{732483C3-CB0C-4598-9DB1-778FE3877DE7}" dt="2022-02-16T13:35:41.009" v="1677"/>
        <pc:sldMkLst>
          <pc:docMk/>
          <pc:sldMk cId="2227487991" sldId="378"/>
        </pc:sldMkLst>
        <pc:spChg chg="mod">
          <ac:chgData name="Thomas Stensitzki" userId="75cafe6b-2f2a-469b-85c4-eec3b9c972ba" providerId="ADAL" clId="{732483C3-CB0C-4598-9DB1-778FE3877DE7}" dt="2022-02-14T11:33:44.170" v="1247" actId="1076"/>
          <ac:spMkLst>
            <pc:docMk/>
            <pc:sldMk cId="2227487991" sldId="378"/>
            <ac:spMk id="2" creationId="{909DC09D-B9A6-4493-9A72-1CA7ECB1F5CA}"/>
          </ac:spMkLst>
        </pc:spChg>
        <pc:spChg chg="mod">
          <ac:chgData name="Thomas Stensitzki" userId="75cafe6b-2f2a-469b-85c4-eec3b9c972ba" providerId="ADAL" clId="{732483C3-CB0C-4598-9DB1-778FE3877DE7}" dt="2022-02-14T11:32:58.007" v="1240" actId="255"/>
          <ac:spMkLst>
            <pc:docMk/>
            <pc:sldMk cId="2227487991" sldId="378"/>
            <ac:spMk id="5" creationId="{C24DACB5-1BEC-4C86-9652-BAFD8DE56FEF}"/>
          </ac:spMkLst>
        </pc:spChg>
      </pc:sldChg>
      <pc:sldChg chg="modTransition">
        <pc:chgData name="Thomas Stensitzki" userId="75cafe6b-2f2a-469b-85c4-eec3b9c972ba" providerId="ADAL" clId="{732483C3-CB0C-4598-9DB1-778FE3877DE7}" dt="2022-02-16T13:35:41.009" v="1677"/>
        <pc:sldMkLst>
          <pc:docMk/>
          <pc:sldMk cId="2923837414" sldId="513"/>
        </pc:sldMkLst>
      </pc:sldChg>
      <pc:sldChg chg="modTransition">
        <pc:chgData name="Thomas Stensitzki" userId="75cafe6b-2f2a-469b-85c4-eec3b9c972ba" providerId="ADAL" clId="{732483C3-CB0C-4598-9DB1-778FE3877DE7}" dt="2022-02-16T13:35:41.009" v="1677"/>
        <pc:sldMkLst>
          <pc:docMk/>
          <pc:sldMk cId="2395924320" sldId="514"/>
        </pc:sldMkLst>
      </pc:sldChg>
      <pc:sldChg chg="modSp mod modTransition modNotesTx">
        <pc:chgData name="Thomas Stensitzki" userId="75cafe6b-2f2a-469b-85c4-eec3b9c972ba" providerId="ADAL" clId="{732483C3-CB0C-4598-9DB1-778FE3877DE7}" dt="2022-02-16T13:52:51.083" v="1895" actId="6549"/>
        <pc:sldMkLst>
          <pc:docMk/>
          <pc:sldMk cId="3797754622" sldId="515"/>
        </pc:sldMkLst>
        <pc:spChg chg="mod">
          <ac:chgData name="Thomas Stensitzki" userId="75cafe6b-2f2a-469b-85c4-eec3b9c972ba" providerId="ADAL" clId="{732483C3-CB0C-4598-9DB1-778FE3877DE7}" dt="2022-02-16T13:47:59.697" v="1848" actId="1076"/>
          <ac:spMkLst>
            <pc:docMk/>
            <pc:sldMk cId="3797754622" sldId="515"/>
            <ac:spMk id="2" creationId="{909DC09D-B9A6-4493-9A72-1CA7ECB1F5CA}"/>
          </ac:spMkLst>
        </pc:spChg>
        <pc:spChg chg="mod">
          <ac:chgData name="Thomas Stensitzki" userId="75cafe6b-2f2a-469b-85c4-eec3b9c972ba" providerId="ADAL" clId="{732483C3-CB0C-4598-9DB1-778FE3877DE7}" dt="2022-02-14T11:33:21.124" v="1244" actId="255"/>
          <ac:spMkLst>
            <pc:docMk/>
            <pc:sldMk cId="3797754622" sldId="515"/>
            <ac:spMk id="5" creationId="{C24DACB5-1BEC-4C86-9652-BAFD8DE56FEF}"/>
          </ac:spMkLst>
        </pc:spChg>
      </pc:sldChg>
      <pc:sldChg chg="modTransition">
        <pc:chgData name="Thomas Stensitzki" userId="75cafe6b-2f2a-469b-85c4-eec3b9c972ba" providerId="ADAL" clId="{732483C3-CB0C-4598-9DB1-778FE3877DE7}" dt="2022-02-16T13:35:41.009" v="1677"/>
        <pc:sldMkLst>
          <pc:docMk/>
          <pc:sldMk cId="2791634409" sldId="560"/>
        </pc:sldMkLst>
      </pc:sldChg>
      <pc:sldChg chg="modSp mod modTransition">
        <pc:chgData name="Thomas Stensitzki" userId="75cafe6b-2f2a-469b-85c4-eec3b9c972ba" providerId="ADAL" clId="{732483C3-CB0C-4598-9DB1-778FE3877DE7}" dt="2022-02-16T13:58:52.710" v="1966" actId="20577"/>
        <pc:sldMkLst>
          <pc:docMk/>
          <pc:sldMk cId="1728515471" sldId="561"/>
        </pc:sldMkLst>
        <pc:graphicFrameChg chg="mod modGraphic">
          <ac:chgData name="Thomas Stensitzki" userId="75cafe6b-2f2a-469b-85c4-eec3b9c972ba" providerId="ADAL" clId="{732483C3-CB0C-4598-9DB1-778FE3877DE7}" dt="2022-02-16T13:58:52.710" v="1966" actId="20577"/>
          <ac:graphicFrameMkLst>
            <pc:docMk/>
            <pc:sldMk cId="1728515471" sldId="561"/>
            <ac:graphicFrameMk id="4" creationId="{55EDB790-67BC-42E5-B64A-5647620B8383}"/>
          </ac:graphicFrameMkLst>
        </pc:graphicFrameChg>
      </pc:sldChg>
      <pc:sldChg chg="del">
        <pc:chgData name="Thomas Stensitzki" userId="75cafe6b-2f2a-469b-85c4-eec3b9c972ba" providerId="ADAL" clId="{732483C3-CB0C-4598-9DB1-778FE3877DE7}" dt="2022-02-13T12:29:09.990" v="73" actId="47"/>
        <pc:sldMkLst>
          <pc:docMk/>
          <pc:sldMk cId="897532384" sldId="562"/>
        </pc:sldMkLst>
      </pc:sldChg>
      <pc:sldChg chg="del">
        <pc:chgData name="Thomas Stensitzki" userId="75cafe6b-2f2a-469b-85c4-eec3b9c972ba" providerId="ADAL" clId="{732483C3-CB0C-4598-9DB1-778FE3877DE7}" dt="2022-02-13T12:29:09.990" v="73" actId="47"/>
        <pc:sldMkLst>
          <pc:docMk/>
          <pc:sldMk cId="2102933315" sldId="563"/>
        </pc:sldMkLst>
      </pc:sldChg>
      <pc:sldChg chg="del">
        <pc:chgData name="Thomas Stensitzki" userId="75cafe6b-2f2a-469b-85c4-eec3b9c972ba" providerId="ADAL" clId="{732483C3-CB0C-4598-9DB1-778FE3877DE7}" dt="2022-02-13T12:29:09.990" v="73" actId="47"/>
        <pc:sldMkLst>
          <pc:docMk/>
          <pc:sldMk cId="2675026296" sldId="564"/>
        </pc:sldMkLst>
      </pc:sldChg>
      <pc:sldChg chg="del">
        <pc:chgData name="Thomas Stensitzki" userId="75cafe6b-2f2a-469b-85c4-eec3b9c972ba" providerId="ADAL" clId="{732483C3-CB0C-4598-9DB1-778FE3877DE7}" dt="2022-02-13T12:29:09.990" v="73" actId="47"/>
        <pc:sldMkLst>
          <pc:docMk/>
          <pc:sldMk cId="3751554083" sldId="565"/>
        </pc:sldMkLst>
      </pc:sldChg>
      <pc:sldChg chg="del">
        <pc:chgData name="Thomas Stensitzki" userId="75cafe6b-2f2a-469b-85c4-eec3b9c972ba" providerId="ADAL" clId="{732483C3-CB0C-4598-9DB1-778FE3877DE7}" dt="2022-02-13T12:29:09.990" v="73" actId="47"/>
        <pc:sldMkLst>
          <pc:docMk/>
          <pc:sldMk cId="3413303963" sldId="566"/>
        </pc:sldMkLst>
      </pc:sldChg>
      <pc:sldChg chg="modSp mod ord modTransition modNotesTx">
        <pc:chgData name="Thomas Stensitzki" userId="75cafe6b-2f2a-469b-85c4-eec3b9c972ba" providerId="ADAL" clId="{732483C3-CB0C-4598-9DB1-778FE3877DE7}" dt="2022-02-16T13:48:53.982" v="1853"/>
        <pc:sldMkLst>
          <pc:docMk/>
          <pc:sldMk cId="4104137776" sldId="567"/>
        </pc:sldMkLst>
        <pc:spChg chg="mod">
          <ac:chgData name="Thomas Stensitzki" userId="75cafe6b-2f2a-469b-85c4-eec3b9c972ba" providerId="ADAL" clId="{732483C3-CB0C-4598-9DB1-778FE3877DE7}" dt="2022-02-13T12:50:50.841" v="328" actId="20577"/>
          <ac:spMkLst>
            <pc:docMk/>
            <pc:sldMk cId="4104137776" sldId="567"/>
            <ac:spMk id="2" creationId="{EC46AD28-746E-4246-884F-4DAE24C62042}"/>
          </ac:spMkLst>
        </pc:spChg>
        <pc:spChg chg="mod">
          <ac:chgData name="Thomas Stensitzki" userId="75cafe6b-2f2a-469b-85c4-eec3b9c972ba" providerId="ADAL" clId="{732483C3-CB0C-4598-9DB1-778FE3877DE7}" dt="2022-02-13T12:51:14.659" v="333" actId="15"/>
          <ac:spMkLst>
            <pc:docMk/>
            <pc:sldMk cId="4104137776" sldId="567"/>
            <ac:spMk id="3" creationId="{4B4B1B02-433C-4551-A25C-9193BE90D3D9}"/>
          </ac:spMkLst>
        </pc:spChg>
      </pc:sldChg>
      <pc:sldChg chg="modSp new mod modTransition">
        <pc:chgData name="Thomas Stensitzki" userId="75cafe6b-2f2a-469b-85c4-eec3b9c972ba" providerId="ADAL" clId="{732483C3-CB0C-4598-9DB1-778FE3877DE7}" dt="2022-02-16T13:35:41.009" v="1677"/>
        <pc:sldMkLst>
          <pc:docMk/>
          <pc:sldMk cId="2374589673" sldId="568"/>
        </pc:sldMkLst>
        <pc:spChg chg="mod">
          <ac:chgData name="Thomas Stensitzki" userId="75cafe6b-2f2a-469b-85c4-eec3b9c972ba" providerId="ADAL" clId="{732483C3-CB0C-4598-9DB1-778FE3877DE7}" dt="2022-02-13T12:49:26.398" v="319"/>
          <ac:spMkLst>
            <pc:docMk/>
            <pc:sldMk cId="2374589673" sldId="568"/>
            <ac:spMk id="2" creationId="{6A814F1C-A68B-4C48-BFC7-E0C8475DD978}"/>
          </ac:spMkLst>
        </pc:spChg>
        <pc:spChg chg="mod">
          <ac:chgData name="Thomas Stensitzki" userId="75cafe6b-2f2a-469b-85c4-eec3b9c972ba" providerId="ADAL" clId="{732483C3-CB0C-4598-9DB1-778FE3877DE7}" dt="2022-02-16T13:35:25.184" v="1676" actId="20577"/>
          <ac:spMkLst>
            <pc:docMk/>
            <pc:sldMk cId="2374589673" sldId="568"/>
            <ac:spMk id="3" creationId="{4FF3BEF0-B65A-4D8F-9E68-52DE5DDDED8D}"/>
          </ac:spMkLst>
        </pc:spChg>
      </pc:sldChg>
      <pc:sldChg chg="del">
        <pc:chgData name="Thomas Stensitzki" userId="75cafe6b-2f2a-469b-85c4-eec3b9c972ba" providerId="ADAL" clId="{732483C3-CB0C-4598-9DB1-778FE3877DE7}" dt="2022-02-13T12:29:09.990" v="73" actId="47"/>
        <pc:sldMkLst>
          <pc:docMk/>
          <pc:sldMk cId="2906341100" sldId="568"/>
        </pc:sldMkLst>
      </pc:sldChg>
      <pc:sldChg chg="addSp delSp modSp new mod modTransition modNotesTx">
        <pc:chgData name="Thomas Stensitzki" userId="75cafe6b-2f2a-469b-85c4-eec3b9c972ba" providerId="ADAL" clId="{732483C3-CB0C-4598-9DB1-778FE3877DE7}" dt="2022-02-16T13:35:41.009" v="1677"/>
        <pc:sldMkLst>
          <pc:docMk/>
          <pc:sldMk cId="1152622229" sldId="569"/>
        </pc:sldMkLst>
        <pc:spChg chg="mod">
          <ac:chgData name="Thomas Stensitzki" userId="75cafe6b-2f2a-469b-85c4-eec3b9c972ba" providerId="ADAL" clId="{732483C3-CB0C-4598-9DB1-778FE3877DE7}" dt="2022-02-13T12:52:27.868" v="345"/>
          <ac:spMkLst>
            <pc:docMk/>
            <pc:sldMk cId="1152622229" sldId="569"/>
            <ac:spMk id="2" creationId="{D134A1E6-1853-44BA-9137-1BEBEA3C99F0}"/>
          </ac:spMkLst>
        </pc:spChg>
        <pc:spChg chg="del">
          <ac:chgData name="Thomas Stensitzki" userId="75cafe6b-2f2a-469b-85c4-eec3b9c972ba" providerId="ADAL" clId="{732483C3-CB0C-4598-9DB1-778FE3877DE7}" dt="2022-02-13T12:52:55.345" v="346" actId="478"/>
          <ac:spMkLst>
            <pc:docMk/>
            <pc:sldMk cId="1152622229" sldId="569"/>
            <ac:spMk id="3" creationId="{DEDCB31E-113D-46E3-BC44-C4B104FC3C5E}"/>
          </ac:spMkLst>
        </pc:spChg>
        <pc:spChg chg="add del">
          <ac:chgData name="Thomas Stensitzki" userId="75cafe6b-2f2a-469b-85c4-eec3b9c972ba" providerId="ADAL" clId="{732483C3-CB0C-4598-9DB1-778FE3877DE7}" dt="2022-02-13T12:53:00.511" v="348" actId="22"/>
          <ac:spMkLst>
            <pc:docMk/>
            <pc:sldMk cId="1152622229" sldId="569"/>
            <ac:spMk id="5" creationId="{149A395E-84FB-4E0E-A6A6-74CFBAF08561}"/>
          </ac:spMkLst>
        </pc:spChg>
        <pc:spChg chg="add mod">
          <ac:chgData name="Thomas Stensitzki" userId="75cafe6b-2f2a-469b-85c4-eec3b9c972ba" providerId="ADAL" clId="{732483C3-CB0C-4598-9DB1-778FE3877DE7}" dt="2022-02-13T12:54:31.382" v="359" actId="11530"/>
          <ac:spMkLst>
            <pc:docMk/>
            <pc:sldMk cId="1152622229" sldId="569"/>
            <ac:spMk id="7" creationId="{75A56EB6-960B-4016-97A6-CA24652E2B73}"/>
          </ac:spMkLst>
        </pc:spChg>
        <pc:picChg chg="add mod">
          <ac:chgData name="Thomas Stensitzki" userId="75cafe6b-2f2a-469b-85c4-eec3b9c972ba" providerId="ADAL" clId="{732483C3-CB0C-4598-9DB1-778FE3877DE7}" dt="2022-02-13T12:53:37.056" v="352" actId="1440"/>
          <ac:picMkLst>
            <pc:docMk/>
            <pc:sldMk cId="1152622229" sldId="569"/>
            <ac:picMk id="1026" creationId="{17A553F8-26FB-43E5-A033-ACFB8F72AABF}"/>
          </ac:picMkLst>
        </pc:picChg>
      </pc:sldChg>
      <pc:sldChg chg="del">
        <pc:chgData name="Thomas Stensitzki" userId="75cafe6b-2f2a-469b-85c4-eec3b9c972ba" providerId="ADAL" clId="{732483C3-CB0C-4598-9DB1-778FE3877DE7}" dt="2022-02-13T12:29:09.990" v="73" actId="47"/>
        <pc:sldMkLst>
          <pc:docMk/>
          <pc:sldMk cId="3640343721" sldId="569"/>
        </pc:sldMkLst>
      </pc:sldChg>
      <pc:sldChg chg="del">
        <pc:chgData name="Thomas Stensitzki" userId="75cafe6b-2f2a-469b-85c4-eec3b9c972ba" providerId="ADAL" clId="{732483C3-CB0C-4598-9DB1-778FE3877DE7}" dt="2022-02-13T12:29:09.990" v="73" actId="47"/>
        <pc:sldMkLst>
          <pc:docMk/>
          <pc:sldMk cId="1487249929" sldId="570"/>
        </pc:sldMkLst>
      </pc:sldChg>
      <pc:sldChg chg="addSp modSp new mod modTransition modNotesTx">
        <pc:chgData name="Thomas Stensitzki" userId="75cafe6b-2f2a-469b-85c4-eec3b9c972ba" providerId="ADAL" clId="{732483C3-CB0C-4598-9DB1-778FE3877DE7}" dt="2022-02-16T13:35:41.009" v="1677"/>
        <pc:sldMkLst>
          <pc:docMk/>
          <pc:sldMk cId="1687430561" sldId="570"/>
        </pc:sldMkLst>
        <pc:spChg chg="mod">
          <ac:chgData name="Thomas Stensitzki" userId="75cafe6b-2f2a-469b-85c4-eec3b9c972ba" providerId="ADAL" clId="{732483C3-CB0C-4598-9DB1-778FE3877DE7}" dt="2022-02-13T12:59:30.721" v="463" actId="1076"/>
          <ac:spMkLst>
            <pc:docMk/>
            <pc:sldMk cId="1687430561" sldId="570"/>
            <ac:spMk id="2" creationId="{B65A418D-D640-48C7-A300-246643E23BDE}"/>
          </ac:spMkLst>
        </pc:spChg>
        <pc:spChg chg="mod">
          <ac:chgData name="Thomas Stensitzki" userId="75cafe6b-2f2a-469b-85c4-eec3b9c972ba" providerId="ADAL" clId="{732483C3-CB0C-4598-9DB1-778FE3877DE7}" dt="2022-02-13T12:59:15.099" v="460" actId="6549"/>
          <ac:spMkLst>
            <pc:docMk/>
            <pc:sldMk cId="1687430561" sldId="570"/>
            <ac:spMk id="3" creationId="{700F3494-0841-4002-904A-7AC9949D6AF0}"/>
          </ac:spMkLst>
        </pc:spChg>
        <pc:picChg chg="add mod">
          <ac:chgData name="Thomas Stensitzki" userId="75cafe6b-2f2a-469b-85c4-eec3b9c972ba" providerId="ADAL" clId="{732483C3-CB0C-4598-9DB1-778FE3877DE7}" dt="2022-02-13T12:59:44.152" v="465" actId="1440"/>
          <ac:picMkLst>
            <pc:docMk/>
            <pc:sldMk cId="1687430561" sldId="570"/>
            <ac:picMk id="2050" creationId="{0C202E6E-91EF-4C4D-9DF6-2046E7E2816F}"/>
          </ac:picMkLst>
        </pc:picChg>
      </pc:sldChg>
      <pc:sldChg chg="del">
        <pc:chgData name="Thomas Stensitzki" userId="75cafe6b-2f2a-469b-85c4-eec3b9c972ba" providerId="ADAL" clId="{732483C3-CB0C-4598-9DB1-778FE3877DE7}" dt="2022-02-13T12:29:17.530" v="74" actId="47"/>
        <pc:sldMkLst>
          <pc:docMk/>
          <pc:sldMk cId="3439814073" sldId="571"/>
        </pc:sldMkLst>
      </pc:sldChg>
      <pc:sldChg chg="modSp new mod modTransition modNotesTx">
        <pc:chgData name="Thomas Stensitzki" userId="75cafe6b-2f2a-469b-85c4-eec3b9c972ba" providerId="ADAL" clId="{732483C3-CB0C-4598-9DB1-778FE3877DE7}" dt="2022-02-16T13:35:41.009" v="1677"/>
        <pc:sldMkLst>
          <pc:docMk/>
          <pc:sldMk cId="3500137736" sldId="571"/>
        </pc:sldMkLst>
        <pc:spChg chg="mod">
          <ac:chgData name="Thomas Stensitzki" userId="75cafe6b-2f2a-469b-85c4-eec3b9c972ba" providerId="ADAL" clId="{732483C3-CB0C-4598-9DB1-778FE3877DE7}" dt="2022-02-13T13:01:25.016" v="476"/>
          <ac:spMkLst>
            <pc:docMk/>
            <pc:sldMk cId="3500137736" sldId="571"/>
            <ac:spMk id="2" creationId="{72018619-2CAF-432E-A6A8-ECD748C02E56}"/>
          </ac:spMkLst>
        </pc:spChg>
        <pc:spChg chg="mod">
          <ac:chgData name="Thomas Stensitzki" userId="75cafe6b-2f2a-469b-85c4-eec3b9c972ba" providerId="ADAL" clId="{732483C3-CB0C-4598-9DB1-778FE3877DE7}" dt="2022-02-13T13:02:16.429" v="477"/>
          <ac:spMkLst>
            <pc:docMk/>
            <pc:sldMk cId="3500137736" sldId="571"/>
            <ac:spMk id="3" creationId="{A4F1D448-84D0-4496-9C85-0BA3EE3C11D8}"/>
          </ac:spMkLst>
        </pc:spChg>
      </pc:sldChg>
      <pc:sldChg chg="modSp new mod modTransition modNotesTx">
        <pc:chgData name="Thomas Stensitzki" userId="75cafe6b-2f2a-469b-85c4-eec3b9c972ba" providerId="ADAL" clId="{732483C3-CB0C-4598-9DB1-778FE3877DE7}" dt="2022-02-16T13:37:00.310" v="1735" actId="20577"/>
        <pc:sldMkLst>
          <pc:docMk/>
          <pc:sldMk cId="3650339848" sldId="572"/>
        </pc:sldMkLst>
        <pc:spChg chg="mod">
          <ac:chgData name="Thomas Stensitzki" userId="75cafe6b-2f2a-469b-85c4-eec3b9c972ba" providerId="ADAL" clId="{732483C3-CB0C-4598-9DB1-778FE3877DE7}" dt="2022-02-13T13:03:23.173" v="485"/>
          <ac:spMkLst>
            <pc:docMk/>
            <pc:sldMk cId="3650339848" sldId="572"/>
            <ac:spMk id="2" creationId="{4AF704F4-5793-49CA-9C72-9AB75DFEFCA3}"/>
          </ac:spMkLst>
        </pc:spChg>
        <pc:spChg chg="mod">
          <ac:chgData name="Thomas Stensitzki" userId="75cafe6b-2f2a-469b-85c4-eec3b9c972ba" providerId="ADAL" clId="{732483C3-CB0C-4598-9DB1-778FE3877DE7}" dt="2022-02-16T13:37:00.310" v="1735" actId="20577"/>
          <ac:spMkLst>
            <pc:docMk/>
            <pc:sldMk cId="3650339848" sldId="572"/>
            <ac:spMk id="3" creationId="{FB4F1D8E-EA0D-4E76-891B-10A0B7D3A069}"/>
          </ac:spMkLst>
        </pc:spChg>
      </pc:sldChg>
      <pc:sldChg chg="del">
        <pc:chgData name="Thomas Stensitzki" userId="75cafe6b-2f2a-469b-85c4-eec3b9c972ba" providerId="ADAL" clId="{732483C3-CB0C-4598-9DB1-778FE3877DE7}" dt="2022-02-13T12:29:48.194" v="77" actId="47"/>
        <pc:sldMkLst>
          <pc:docMk/>
          <pc:sldMk cId="3856037473" sldId="572"/>
        </pc:sldMkLst>
      </pc:sldChg>
      <pc:sldChg chg="del">
        <pc:chgData name="Thomas Stensitzki" userId="75cafe6b-2f2a-469b-85c4-eec3b9c972ba" providerId="ADAL" clId="{732483C3-CB0C-4598-9DB1-778FE3877DE7}" dt="2022-02-13T12:29:09.990" v="73" actId="47"/>
        <pc:sldMkLst>
          <pc:docMk/>
          <pc:sldMk cId="438806011" sldId="573"/>
        </pc:sldMkLst>
      </pc:sldChg>
      <pc:sldChg chg="addSp delSp modSp new mod modTransition">
        <pc:chgData name="Thomas Stensitzki" userId="75cafe6b-2f2a-469b-85c4-eec3b9c972ba" providerId="ADAL" clId="{732483C3-CB0C-4598-9DB1-778FE3877DE7}" dt="2022-02-16T13:35:41.009" v="1677"/>
        <pc:sldMkLst>
          <pc:docMk/>
          <pc:sldMk cId="1013366872" sldId="573"/>
        </pc:sldMkLst>
        <pc:spChg chg="mod">
          <ac:chgData name="Thomas Stensitzki" userId="75cafe6b-2f2a-469b-85c4-eec3b9c972ba" providerId="ADAL" clId="{732483C3-CB0C-4598-9DB1-778FE3877DE7}" dt="2022-02-13T13:08:48.738" v="585"/>
          <ac:spMkLst>
            <pc:docMk/>
            <pc:sldMk cId="1013366872" sldId="573"/>
            <ac:spMk id="2" creationId="{529C4F4D-6397-41DA-944A-CF3D73EDBDF4}"/>
          </ac:spMkLst>
        </pc:spChg>
        <pc:spChg chg="del">
          <ac:chgData name="Thomas Stensitzki" userId="75cafe6b-2f2a-469b-85c4-eec3b9c972ba" providerId="ADAL" clId="{732483C3-CB0C-4598-9DB1-778FE3877DE7}" dt="2022-02-13T13:09:09.901" v="586" actId="478"/>
          <ac:spMkLst>
            <pc:docMk/>
            <pc:sldMk cId="1013366872" sldId="573"/>
            <ac:spMk id="3" creationId="{F5CBA397-74A1-4F37-8C68-56FA72B7281E}"/>
          </ac:spMkLst>
        </pc:spChg>
        <pc:spChg chg="add mod">
          <ac:chgData name="Thomas Stensitzki" userId="75cafe6b-2f2a-469b-85c4-eec3b9c972ba" providerId="ADAL" clId="{732483C3-CB0C-4598-9DB1-778FE3877DE7}" dt="2022-02-13T13:09:52.727" v="593" actId="14100"/>
          <ac:spMkLst>
            <pc:docMk/>
            <pc:sldMk cId="1013366872" sldId="573"/>
            <ac:spMk id="5" creationId="{AF2206FE-E125-4BB8-A4FB-6790C85E456D}"/>
          </ac:spMkLst>
        </pc:spChg>
        <pc:picChg chg="add mod">
          <ac:chgData name="Thomas Stensitzki" userId="75cafe6b-2f2a-469b-85c4-eec3b9c972ba" providerId="ADAL" clId="{732483C3-CB0C-4598-9DB1-778FE3877DE7}" dt="2022-02-13T13:09:29.785" v="590" actId="1440"/>
          <ac:picMkLst>
            <pc:docMk/>
            <pc:sldMk cId="1013366872" sldId="573"/>
            <ac:picMk id="3074" creationId="{D6F0604D-887C-4CCF-AD31-4C8A7DFFC46A}"/>
          </ac:picMkLst>
        </pc:picChg>
      </pc:sldChg>
      <pc:sldChg chg="del">
        <pc:chgData name="Thomas Stensitzki" userId="75cafe6b-2f2a-469b-85c4-eec3b9c972ba" providerId="ADAL" clId="{732483C3-CB0C-4598-9DB1-778FE3877DE7}" dt="2022-02-13T12:29:09.990" v="73" actId="47"/>
        <pc:sldMkLst>
          <pc:docMk/>
          <pc:sldMk cId="1351629711" sldId="574"/>
        </pc:sldMkLst>
      </pc:sldChg>
      <pc:sldChg chg="addSp modSp new mod modTransition">
        <pc:chgData name="Thomas Stensitzki" userId="75cafe6b-2f2a-469b-85c4-eec3b9c972ba" providerId="ADAL" clId="{732483C3-CB0C-4598-9DB1-778FE3877DE7}" dt="2022-02-16T13:39:26.308" v="1796" actId="20577"/>
        <pc:sldMkLst>
          <pc:docMk/>
          <pc:sldMk cId="3064786489" sldId="574"/>
        </pc:sldMkLst>
        <pc:spChg chg="mod">
          <ac:chgData name="Thomas Stensitzki" userId="75cafe6b-2f2a-469b-85c4-eec3b9c972ba" providerId="ADAL" clId="{732483C3-CB0C-4598-9DB1-778FE3877DE7}" dt="2022-02-13T13:36:27.855" v="621"/>
          <ac:spMkLst>
            <pc:docMk/>
            <pc:sldMk cId="3064786489" sldId="574"/>
            <ac:spMk id="2" creationId="{FBC6064E-5EE8-453C-8B3F-2CD673C03B44}"/>
          </ac:spMkLst>
        </pc:spChg>
        <pc:spChg chg="mod">
          <ac:chgData name="Thomas Stensitzki" userId="75cafe6b-2f2a-469b-85c4-eec3b9c972ba" providerId="ADAL" clId="{732483C3-CB0C-4598-9DB1-778FE3877DE7}" dt="2022-02-16T13:39:26.308" v="1796" actId="20577"/>
          <ac:spMkLst>
            <pc:docMk/>
            <pc:sldMk cId="3064786489" sldId="574"/>
            <ac:spMk id="3" creationId="{E4843152-CFE7-423B-860D-D9674DAF34EE}"/>
          </ac:spMkLst>
        </pc:spChg>
        <pc:picChg chg="add mod">
          <ac:chgData name="Thomas Stensitzki" userId="75cafe6b-2f2a-469b-85c4-eec3b9c972ba" providerId="ADAL" clId="{732483C3-CB0C-4598-9DB1-778FE3877DE7}" dt="2022-02-16T13:39:02.539" v="1792" actId="1440"/>
          <ac:picMkLst>
            <pc:docMk/>
            <pc:sldMk cId="3064786489" sldId="574"/>
            <ac:picMk id="4098" creationId="{9E78F526-137A-4B35-A6B9-0E97739C21F4}"/>
          </ac:picMkLst>
        </pc:picChg>
      </pc:sldChg>
      <pc:sldChg chg="del">
        <pc:chgData name="Thomas Stensitzki" userId="75cafe6b-2f2a-469b-85c4-eec3b9c972ba" providerId="ADAL" clId="{732483C3-CB0C-4598-9DB1-778FE3877DE7}" dt="2022-02-13T12:29:09.990" v="73" actId="47"/>
        <pc:sldMkLst>
          <pc:docMk/>
          <pc:sldMk cId="482620437" sldId="575"/>
        </pc:sldMkLst>
      </pc:sldChg>
      <pc:sldChg chg="modSp add mod ord modTransition">
        <pc:chgData name="Thomas Stensitzki" userId="75cafe6b-2f2a-469b-85c4-eec3b9c972ba" providerId="ADAL" clId="{732483C3-CB0C-4598-9DB1-778FE3877DE7}" dt="2022-02-16T13:35:41.009" v="1677"/>
        <pc:sldMkLst>
          <pc:docMk/>
          <pc:sldMk cId="2959338283" sldId="575"/>
        </pc:sldMkLst>
        <pc:spChg chg="mod">
          <ac:chgData name="Thomas Stensitzki" userId="75cafe6b-2f2a-469b-85c4-eec3b9c972ba" providerId="ADAL" clId="{732483C3-CB0C-4598-9DB1-778FE3877DE7}" dt="2022-02-14T11:34:16.007" v="1269" actId="1035"/>
          <ac:spMkLst>
            <pc:docMk/>
            <pc:sldMk cId="2959338283" sldId="575"/>
            <ac:spMk id="2" creationId="{909DC09D-B9A6-4493-9A72-1CA7ECB1F5CA}"/>
          </ac:spMkLst>
        </pc:spChg>
        <pc:spChg chg="mod">
          <ac:chgData name="Thomas Stensitzki" userId="75cafe6b-2f2a-469b-85c4-eec3b9c972ba" providerId="ADAL" clId="{732483C3-CB0C-4598-9DB1-778FE3877DE7}" dt="2022-02-14T08:51:53" v="1204"/>
          <ac:spMkLst>
            <pc:docMk/>
            <pc:sldMk cId="2959338283" sldId="575"/>
            <ac:spMk id="5" creationId="{C24DACB5-1BEC-4C86-9652-BAFD8DE56FEF}"/>
          </ac:spMkLst>
        </pc:spChg>
      </pc:sldChg>
      <pc:sldChg chg="addSp delSp modSp new mod modTransition modAnim modNotesTx">
        <pc:chgData name="Thomas Stensitzki" userId="75cafe6b-2f2a-469b-85c4-eec3b9c972ba" providerId="ADAL" clId="{732483C3-CB0C-4598-9DB1-778FE3877DE7}" dt="2022-02-16T13:40:46.227" v="1802" actId="1076"/>
        <pc:sldMkLst>
          <pc:docMk/>
          <pc:sldMk cId="267886642" sldId="576"/>
        </pc:sldMkLst>
        <pc:spChg chg="mod">
          <ac:chgData name="Thomas Stensitzki" userId="75cafe6b-2f2a-469b-85c4-eec3b9c972ba" providerId="ADAL" clId="{732483C3-CB0C-4598-9DB1-778FE3877DE7}" dt="2022-02-13T13:38:41.418" v="651"/>
          <ac:spMkLst>
            <pc:docMk/>
            <pc:sldMk cId="267886642" sldId="576"/>
            <ac:spMk id="2" creationId="{89843AE1-87BD-4263-8527-5A5117F6CE06}"/>
          </ac:spMkLst>
        </pc:spChg>
        <pc:spChg chg="del">
          <ac:chgData name="Thomas Stensitzki" userId="75cafe6b-2f2a-469b-85c4-eec3b9c972ba" providerId="ADAL" clId="{732483C3-CB0C-4598-9DB1-778FE3877DE7}" dt="2022-02-13T13:39:03.050" v="653" actId="478"/>
          <ac:spMkLst>
            <pc:docMk/>
            <pc:sldMk cId="267886642" sldId="576"/>
            <ac:spMk id="3" creationId="{CE4850BA-55A8-4DFD-A73A-C49ADEA45D9E}"/>
          </ac:spMkLst>
        </pc:spChg>
        <pc:spChg chg="add mod">
          <ac:chgData name="Thomas Stensitzki" userId="75cafe6b-2f2a-469b-85c4-eec3b9c972ba" providerId="ADAL" clId="{732483C3-CB0C-4598-9DB1-778FE3877DE7}" dt="2022-02-16T13:40:36.290" v="1801" actId="14100"/>
          <ac:spMkLst>
            <pc:docMk/>
            <pc:sldMk cId="267886642" sldId="576"/>
            <ac:spMk id="5" creationId="{DB51CC4D-58A1-41A1-8B67-9B71EF6CFE7A}"/>
          </ac:spMkLst>
        </pc:spChg>
        <pc:picChg chg="add mod">
          <ac:chgData name="Thomas Stensitzki" userId="75cafe6b-2f2a-469b-85c4-eec3b9c972ba" providerId="ADAL" clId="{732483C3-CB0C-4598-9DB1-778FE3877DE7}" dt="2022-02-13T13:39:28.915" v="659" actId="1076"/>
          <ac:picMkLst>
            <pc:docMk/>
            <pc:sldMk cId="267886642" sldId="576"/>
            <ac:picMk id="5122" creationId="{341A99A4-FFA5-49A2-857B-71EDA6366F0A}"/>
          </ac:picMkLst>
        </pc:picChg>
        <pc:picChg chg="add mod">
          <ac:chgData name="Thomas Stensitzki" userId="75cafe6b-2f2a-469b-85c4-eec3b9c972ba" providerId="ADAL" clId="{732483C3-CB0C-4598-9DB1-778FE3877DE7}" dt="2022-02-16T13:40:46.227" v="1802" actId="1076"/>
          <ac:picMkLst>
            <pc:docMk/>
            <pc:sldMk cId="267886642" sldId="576"/>
            <ac:picMk id="5124" creationId="{6B04FE5D-029D-4028-BA72-74A013D5D499}"/>
          </ac:picMkLst>
        </pc:picChg>
      </pc:sldChg>
      <pc:sldChg chg="add del">
        <pc:chgData name="Thomas Stensitzki" userId="75cafe6b-2f2a-469b-85c4-eec3b9c972ba" providerId="ADAL" clId="{732483C3-CB0C-4598-9DB1-778FE3877DE7}" dt="2022-02-13T12:29:48.194" v="77" actId="47"/>
        <pc:sldMkLst>
          <pc:docMk/>
          <pc:sldMk cId="1228494520" sldId="576"/>
        </pc:sldMkLst>
      </pc:sldChg>
      <pc:sldChg chg="add del">
        <pc:chgData name="Thomas Stensitzki" userId="75cafe6b-2f2a-469b-85c4-eec3b9c972ba" providerId="ADAL" clId="{732483C3-CB0C-4598-9DB1-778FE3877DE7}" dt="2022-02-13T12:29:48.194" v="77" actId="47"/>
        <pc:sldMkLst>
          <pc:docMk/>
          <pc:sldMk cId="2011711741" sldId="577"/>
        </pc:sldMkLst>
      </pc:sldChg>
      <pc:sldChg chg="addSp modSp new mod modTransition">
        <pc:chgData name="Thomas Stensitzki" userId="75cafe6b-2f2a-469b-85c4-eec3b9c972ba" providerId="ADAL" clId="{732483C3-CB0C-4598-9DB1-778FE3877DE7}" dt="2022-02-16T13:35:41.009" v="1677"/>
        <pc:sldMkLst>
          <pc:docMk/>
          <pc:sldMk cId="3394268917" sldId="577"/>
        </pc:sldMkLst>
        <pc:spChg chg="mod">
          <ac:chgData name="Thomas Stensitzki" userId="75cafe6b-2f2a-469b-85c4-eec3b9c972ba" providerId="ADAL" clId="{732483C3-CB0C-4598-9DB1-778FE3877DE7}" dt="2022-02-13T13:40:44.909" v="666"/>
          <ac:spMkLst>
            <pc:docMk/>
            <pc:sldMk cId="3394268917" sldId="577"/>
            <ac:spMk id="2" creationId="{14E06E20-F5A8-4CF9-9629-C11ACC38DD5C}"/>
          </ac:spMkLst>
        </pc:spChg>
        <pc:spChg chg="mod">
          <ac:chgData name="Thomas Stensitzki" userId="75cafe6b-2f2a-469b-85c4-eec3b9c972ba" providerId="ADAL" clId="{732483C3-CB0C-4598-9DB1-778FE3877DE7}" dt="2022-02-13T13:45:13.531" v="718" actId="20577"/>
          <ac:spMkLst>
            <pc:docMk/>
            <pc:sldMk cId="3394268917" sldId="577"/>
            <ac:spMk id="3" creationId="{D3D386A5-5B5A-4243-89A1-011C243D89A4}"/>
          </ac:spMkLst>
        </pc:spChg>
        <pc:picChg chg="add mod">
          <ac:chgData name="Thomas Stensitzki" userId="75cafe6b-2f2a-469b-85c4-eec3b9c972ba" providerId="ADAL" clId="{732483C3-CB0C-4598-9DB1-778FE3877DE7}" dt="2022-02-13T13:41:00.137" v="669" actId="1440"/>
          <ac:picMkLst>
            <pc:docMk/>
            <pc:sldMk cId="3394268917" sldId="577"/>
            <ac:picMk id="6146" creationId="{1EF13E2D-2D5F-4BD3-A3ED-3805FD26C60A}"/>
          </ac:picMkLst>
        </pc:picChg>
        <pc:picChg chg="add mod">
          <ac:chgData name="Thomas Stensitzki" userId="75cafe6b-2f2a-469b-85c4-eec3b9c972ba" providerId="ADAL" clId="{732483C3-CB0C-4598-9DB1-778FE3877DE7}" dt="2022-02-13T13:41:53.514" v="675" actId="1440"/>
          <ac:picMkLst>
            <pc:docMk/>
            <pc:sldMk cId="3394268917" sldId="577"/>
            <ac:picMk id="6148" creationId="{62EBD371-2D59-4540-BD6F-91B4F6A6F34D}"/>
          </ac:picMkLst>
        </pc:picChg>
      </pc:sldChg>
      <pc:sldChg chg="addSp modSp new mod modTransition modAnim">
        <pc:chgData name="Thomas Stensitzki" userId="75cafe6b-2f2a-469b-85c4-eec3b9c972ba" providerId="ADAL" clId="{732483C3-CB0C-4598-9DB1-778FE3877DE7}" dt="2022-02-16T13:42:51.770" v="1821"/>
        <pc:sldMkLst>
          <pc:docMk/>
          <pc:sldMk cId="42815850" sldId="578"/>
        </pc:sldMkLst>
        <pc:spChg chg="mod">
          <ac:chgData name="Thomas Stensitzki" userId="75cafe6b-2f2a-469b-85c4-eec3b9c972ba" providerId="ADAL" clId="{732483C3-CB0C-4598-9DB1-778FE3877DE7}" dt="2022-02-13T13:46:01.694" v="722"/>
          <ac:spMkLst>
            <pc:docMk/>
            <pc:sldMk cId="42815850" sldId="578"/>
            <ac:spMk id="2" creationId="{F2BAC164-C67C-4CF6-8FEF-0A58F7C186FB}"/>
          </ac:spMkLst>
        </pc:spChg>
        <pc:spChg chg="mod">
          <ac:chgData name="Thomas Stensitzki" userId="75cafe6b-2f2a-469b-85c4-eec3b9c972ba" providerId="ADAL" clId="{732483C3-CB0C-4598-9DB1-778FE3877DE7}" dt="2022-02-13T13:47:40.594" v="918" actId="20577"/>
          <ac:spMkLst>
            <pc:docMk/>
            <pc:sldMk cId="42815850" sldId="578"/>
            <ac:spMk id="3" creationId="{61FAB764-0135-40E5-880E-B674B87488B2}"/>
          </ac:spMkLst>
        </pc:spChg>
        <pc:spChg chg="add mod">
          <ac:chgData name="Thomas Stensitzki" userId="75cafe6b-2f2a-469b-85c4-eec3b9c972ba" providerId="ADAL" clId="{732483C3-CB0C-4598-9DB1-778FE3877DE7}" dt="2022-02-16T13:42:20.013" v="1814" actId="1076"/>
          <ac:spMkLst>
            <pc:docMk/>
            <pc:sldMk cId="42815850" sldId="578"/>
            <ac:spMk id="6" creationId="{B07F98FC-3D39-4D44-B4B7-EE3809037F7F}"/>
          </ac:spMkLst>
        </pc:spChg>
        <pc:spChg chg="add mod">
          <ac:chgData name="Thomas Stensitzki" userId="75cafe6b-2f2a-469b-85c4-eec3b9c972ba" providerId="ADAL" clId="{732483C3-CB0C-4598-9DB1-778FE3877DE7}" dt="2022-02-16T13:42:42.406" v="1819" actId="14100"/>
          <ac:spMkLst>
            <pc:docMk/>
            <pc:sldMk cId="42815850" sldId="578"/>
            <ac:spMk id="7" creationId="{5CFD42B4-85AC-4C1D-9619-39E2A48AE104}"/>
          </ac:spMkLst>
        </pc:spChg>
        <pc:picChg chg="add mod">
          <ac:chgData name="Thomas Stensitzki" userId="75cafe6b-2f2a-469b-85c4-eec3b9c972ba" providerId="ADAL" clId="{732483C3-CB0C-4598-9DB1-778FE3877DE7}" dt="2022-02-16T13:42:15.053" v="1813" actId="1076"/>
          <ac:picMkLst>
            <pc:docMk/>
            <pc:sldMk cId="42815850" sldId="578"/>
            <ac:picMk id="7170" creationId="{05E65FA8-5D0A-43D3-A0DE-BB2312EB1910}"/>
          </ac:picMkLst>
        </pc:picChg>
        <pc:picChg chg="add mod">
          <ac:chgData name="Thomas Stensitzki" userId="75cafe6b-2f2a-469b-85c4-eec3b9c972ba" providerId="ADAL" clId="{732483C3-CB0C-4598-9DB1-778FE3877DE7}" dt="2022-02-16T13:42:24.405" v="1815" actId="1076"/>
          <ac:picMkLst>
            <pc:docMk/>
            <pc:sldMk cId="42815850" sldId="578"/>
            <ac:picMk id="7172" creationId="{91719DFD-3AFB-46AB-ADBC-A2DC13B65408}"/>
          </ac:picMkLst>
        </pc:picChg>
      </pc:sldChg>
      <pc:sldChg chg="add del">
        <pc:chgData name="Thomas Stensitzki" userId="75cafe6b-2f2a-469b-85c4-eec3b9c972ba" providerId="ADAL" clId="{732483C3-CB0C-4598-9DB1-778FE3877DE7}" dt="2022-02-13T12:29:48.194" v="77" actId="47"/>
        <pc:sldMkLst>
          <pc:docMk/>
          <pc:sldMk cId="4025581486" sldId="578"/>
        </pc:sldMkLst>
      </pc:sldChg>
      <pc:sldChg chg="add del">
        <pc:chgData name="Thomas Stensitzki" userId="75cafe6b-2f2a-469b-85c4-eec3b9c972ba" providerId="ADAL" clId="{732483C3-CB0C-4598-9DB1-778FE3877DE7}" dt="2022-02-13T12:29:48.194" v="77" actId="47"/>
        <pc:sldMkLst>
          <pc:docMk/>
          <pc:sldMk cId="3181657178" sldId="579"/>
        </pc:sldMkLst>
      </pc:sldChg>
      <pc:sldChg chg="modSp new del mod modTransition">
        <pc:chgData name="Thomas Stensitzki" userId="75cafe6b-2f2a-469b-85c4-eec3b9c972ba" providerId="ADAL" clId="{732483C3-CB0C-4598-9DB1-778FE3877DE7}" dt="2022-02-16T13:48:26.935" v="1849" actId="47"/>
        <pc:sldMkLst>
          <pc:docMk/>
          <pc:sldMk cId="3415779109" sldId="579"/>
        </pc:sldMkLst>
        <pc:spChg chg="mod">
          <ac:chgData name="Thomas Stensitzki" userId="75cafe6b-2f2a-469b-85c4-eec3b9c972ba" providerId="ADAL" clId="{732483C3-CB0C-4598-9DB1-778FE3877DE7}" dt="2022-02-13T13:50:42.335" v="929"/>
          <ac:spMkLst>
            <pc:docMk/>
            <pc:sldMk cId="3415779109" sldId="579"/>
            <ac:spMk id="2" creationId="{75150DFA-0036-42B2-B4B8-455E5CBE9AA4}"/>
          </ac:spMkLst>
        </pc:spChg>
      </pc:sldChg>
      <pc:sldChg chg="add del">
        <pc:chgData name="Thomas Stensitzki" userId="75cafe6b-2f2a-469b-85c4-eec3b9c972ba" providerId="ADAL" clId="{732483C3-CB0C-4598-9DB1-778FE3877DE7}" dt="2022-02-13T12:29:48.194" v="77" actId="47"/>
        <pc:sldMkLst>
          <pc:docMk/>
          <pc:sldMk cId="324323579" sldId="580"/>
        </pc:sldMkLst>
      </pc:sldChg>
      <pc:sldChg chg="modSp add mod ord modTransition modNotesTx">
        <pc:chgData name="Thomas Stensitzki" userId="75cafe6b-2f2a-469b-85c4-eec3b9c972ba" providerId="ADAL" clId="{732483C3-CB0C-4598-9DB1-778FE3877DE7}" dt="2022-02-16T13:52:25.024" v="1891" actId="6549"/>
        <pc:sldMkLst>
          <pc:docMk/>
          <pc:sldMk cId="1853019381" sldId="580"/>
        </pc:sldMkLst>
        <pc:spChg chg="mod">
          <ac:chgData name="Thomas Stensitzki" userId="75cafe6b-2f2a-469b-85c4-eec3b9c972ba" providerId="ADAL" clId="{732483C3-CB0C-4598-9DB1-778FE3877DE7}" dt="2022-02-16T13:50:53.819" v="1881" actId="1076"/>
          <ac:spMkLst>
            <pc:docMk/>
            <pc:sldMk cId="1853019381" sldId="580"/>
            <ac:spMk id="2" creationId="{909DC09D-B9A6-4493-9A72-1CA7ECB1F5CA}"/>
          </ac:spMkLst>
        </pc:spChg>
        <pc:spChg chg="mod">
          <ac:chgData name="Thomas Stensitzki" userId="75cafe6b-2f2a-469b-85c4-eec3b9c972ba" providerId="ADAL" clId="{732483C3-CB0C-4598-9DB1-778FE3877DE7}" dt="2022-02-16T13:51:36.032" v="1888" actId="20577"/>
          <ac:spMkLst>
            <pc:docMk/>
            <pc:sldMk cId="1853019381" sldId="580"/>
            <ac:spMk id="5" creationId="{C24DACB5-1BEC-4C86-9652-BAFD8DE56FEF}"/>
          </ac:spMkLst>
        </pc:spChg>
      </pc:sldChg>
      <pc:sldChg chg="modSp new mod modTransition modNotesTx">
        <pc:chgData name="Thomas Stensitzki" userId="75cafe6b-2f2a-469b-85c4-eec3b9c972ba" providerId="ADAL" clId="{732483C3-CB0C-4598-9DB1-778FE3877DE7}" dt="2022-02-16T13:45:19.322" v="1829" actId="113"/>
        <pc:sldMkLst>
          <pc:docMk/>
          <pc:sldMk cId="2983071606" sldId="581"/>
        </pc:sldMkLst>
        <pc:spChg chg="mod">
          <ac:chgData name="Thomas Stensitzki" userId="75cafe6b-2f2a-469b-85c4-eec3b9c972ba" providerId="ADAL" clId="{732483C3-CB0C-4598-9DB1-778FE3877DE7}" dt="2022-02-13T13:54:02.519" v="936"/>
          <ac:spMkLst>
            <pc:docMk/>
            <pc:sldMk cId="2983071606" sldId="581"/>
            <ac:spMk id="2" creationId="{72A8CA07-04E5-4D86-AF4F-FD491A7FB84D}"/>
          </ac:spMkLst>
        </pc:spChg>
        <pc:spChg chg="mod">
          <ac:chgData name="Thomas Stensitzki" userId="75cafe6b-2f2a-469b-85c4-eec3b9c972ba" providerId="ADAL" clId="{732483C3-CB0C-4598-9DB1-778FE3877DE7}" dt="2022-02-16T13:45:19.322" v="1829" actId="113"/>
          <ac:spMkLst>
            <pc:docMk/>
            <pc:sldMk cId="2983071606" sldId="581"/>
            <ac:spMk id="3" creationId="{B13549D5-F412-4F7E-B7AA-30C47BE72C34}"/>
          </ac:spMkLst>
        </pc:spChg>
      </pc:sldChg>
      <pc:sldChg chg="add del">
        <pc:chgData name="Thomas Stensitzki" userId="75cafe6b-2f2a-469b-85c4-eec3b9c972ba" providerId="ADAL" clId="{732483C3-CB0C-4598-9DB1-778FE3877DE7}" dt="2022-02-13T12:29:48.194" v="77" actId="47"/>
        <pc:sldMkLst>
          <pc:docMk/>
          <pc:sldMk cId="3981601369" sldId="581"/>
        </pc:sldMkLst>
      </pc:sldChg>
      <pc:sldChg chg="addSp delSp modSp new mod modTransition modNotesTx">
        <pc:chgData name="Thomas Stensitzki" userId="75cafe6b-2f2a-469b-85c4-eec3b9c972ba" providerId="ADAL" clId="{732483C3-CB0C-4598-9DB1-778FE3877DE7}" dt="2022-02-16T13:46:29.889" v="1837" actId="478"/>
        <pc:sldMkLst>
          <pc:docMk/>
          <pc:sldMk cId="170210111" sldId="582"/>
        </pc:sldMkLst>
        <pc:spChg chg="mod">
          <ac:chgData name="Thomas Stensitzki" userId="75cafe6b-2f2a-469b-85c4-eec3b9c972ba" providerId="ADAL" clId="{732483C3-CB0C-4598-9DB1-778FE3877DE7}" dt="2022-02-13T13:55:11.343" v="942"/>
          <ac:spMkLst>
            <pc:docMk/>
            <pc:sldMk cId="170210111" sldId="582"/>
            <ac:spMk id="2" creationId="{B81C7D31-11B7-43A6-9C01-962FDD5B52DF}"/>
          </ac:spMkLst>
        </pc:spChg>
        <pc:spChg chg="del">
          <ac:chgData name="Thomas Stensitzki" userId="75cafe6b-2f2a-469b-85c4-eec3b9c972ba" providerId="ADAL" clId="{732483C3-CB0C-4598-9DB1-778FE3877DE7}" dt="2022-02-13T13:55:20.235" v="943" actId="478"/>
          <ac:spMkLst>
            <pc:docMk/>
            <pc:sldMk cId="170210111" sldId="582"/>
            <ac:spMk id="3" creationId="{BD2460AC-2183-42D3-AE37-214A06B80137}"/>
          </ac:spMkLst>
        </pc:spChg>
        <pc:picChg chg="add mod">
          <ac:chgData name="Thomas Stensitzki" userId="75cafe6b-2f2a-469b-85c4-eec3b9c972ba" providerId="ADAL" clId="{732483C3-CB0C-4598-9DB1-778FE3877DE7}" dt="2022-02-16T13:46:19.643" v="1835" actId="1076"/>
          <ac:picMkLst>
            <pc:docMk/>
            <pc:sldMk cId="170210111" sldId="582"/>
            <ac:picMk id="8194" creationId="{AFD980FE-4282-4263-AD1E-4D6DAC9F98E5}"/>
          </ac:picMkLst>
        </pc:picChg>
        <pc:picChg chg="add del mod">
          <ac:chgData name="Thomas Stensitzki" userId="75cafe6b-2f2a-469b-85c4-eec3b9c972ba" providerId="ADAL" clId="{732483C3-CB0C-4598-9DB1-778FE3877DE7}" dt="2022-02-16T13:46:29.889" v="1837" actId="478"/>
          <ac:picMkLst>
            <pc:docMk/>
            <pc:sldMk cId="170210111" sldId="582"/>
            <ac:picMk id="8196" creationId="{1A602696-D323-49FA-84C8-07E65F6E0E5C}"/>
          </ac:picMkLst>
        </pc:picChg>
      </pc:sldChg>
      <pc:sldChg chg="add del">
        <pc:chgData name="Thomas Stensitzki" userId="75cafe6b-2f2a-469b-85c4-eec3b9c972ba" providerId="ADAL" clId="{732483C3-CB0C-4598-9DB1-778FE3877DE7}" dt="2022-02-13T12:29:48.194" v="77" actId="47"/>
        <pc:sldMkLst>
          <pc:docMk/>
          <pc:sldMk cId="2226521450" sldId="582"/>
        </pc:sldMkLst>
      </pc:sldChg>
      <pc:sldChg chg="addSp delSp modSp new mod modTransition">
        <pc:chgData name="Thomas Stensitzki" userId="75cafe6b-2f2a-469b-85c4-eec3b9c972ba" providerId="ADAL" clId="{732483C3-CB0C-4598-9DB1-778FE3877DE7}" dt="2022-02-16T13:35:41.009" v="1677"/>
        <pc:sldMkLst>
          <pc:docMk/>
          <pc:sldMk cId="631042199" sldId="583"/>
        </pc:sldMkLst>
        <pc:spChg chg="mod">
          <ac:chgData name="Thomas Stensitzki" userId="75cafe6b-2f2a-469b-85c4-eec3b9c972ba" providerId="ADAL" clId="{732483C3-CB0C-4598-9DB1-778FE3877DE7}" dt="2022-02-14T08:39:15.570" v="1009" actId="20577"/>
          <ac:spMkLst>
            <pc:docMk/>
            <pc:sldMk cId="631042199" sldId="583"/>
            <ac:spMk id="2" creationId="{8621DF74-9799-499F-B39C-7DF69E310C72}"/>
          </ac:spMkLst>
        </pc:spChg>
        <pc:spChg chg="del">
          <ac:chgData name="Thomas Stensitzki" userId="75cafe6b-2f2a-469b-85c4-eec3b9c972ba" providerId="ADAL" clId="{732483C3-CB0C-4598-9DB1-778FE3877DE7}" dt="2022-02-14T08:40:00.259" v="1010" actId="478"/>
          <ac:spMkLst>
            <pc:docMk/>
            <pc:sldMk cId="631042199" sldId="583"/>
            <ac:spMk id="3" creationId="{6402D234-AEB1-469A-A530-6A48CDE43F77}"/>
          </ac:spMkLst>
        </pc:spChg>
        <pc:picChg chg="add mod">
          <ac:chgData name="Thomas Stensitzki" userId="75cafe6b-2f2a-469b-85c4-eec3b9c972ba" providerId="ADAL" clId="{732483C3-CB0C-4598-9DB1-778FE3877DE7}" dt="2022-02-14T08:41:56.182" v="1018" actId="1440"/>
          <ac:picMkLst>
            <pc:docMk/>
            <pc:sldMk cId="631042199" sldId="583"/>
            <ac:picMk id="5" creationId="{99B6819A-BEB1-4C2A-8907-9147194D4C88}"/>
          </ac:picMkLst>
        </pc:picChg>
        <pc:picChg chg="add mod">
          <ac:chgData name="Thomas Stensitzki" userId="75cafe6b-2f2a-469b-85c4-eec3b9c972ba" providerId="ADAL" clId="{732483C3-CB0C-4598-9DB1-778FE3877DE7}" dt="2022-02-14T08:41:50.768" v="1017" actId="1440"/>
          <ac:picMkLst>
            <pc:docMk/>
            <pc:sldMk cId="631042199" sldId="583"/>
            <ac:picMk id="7" creationId="{F53CE288-98CF-4C30-AB19-942EAB56FB1E}"/>
          </ac:picMkLst>
        </pc:picChg>
      </pc:sldChg>
      <pc:sldChg chg="del">
        <pc:chgData name="Thomas Stensitzki" userId="75cafe6b-2f2a-469b-85c4-eec3b9c972ba" providerId="ADAL" clId="{732483C3-CB0C-4598-9DB1-778FE3877DE7}" dt="2022-02-13T12:29:09.990" v="73" actId="47"/>
        <pc:sldMkLst>
          <pc:docMk/>
          <pc:sldMk cId="3960845148" sldId="583"/>
        </pc:sldMkLst>
      </pc:sldChg>
      <pc:sldChg chg="addSp delSp modSp new mod modTransition modNotesTx">
        <pc:chgData name="Thomas Stensitzki" userId="75cafe6b-2f2a-469b-85c4-eec3b9c972ba" providerId="ADAL" clId="{732483C3-CB0C-4598-9DB1-778FE3877DE7}" dt="2022-02-16T13:35:41.009" v="1677"/>
        <pc:sldMkLst>
          <pc:docMk/>
          <pc:sldMk cId="120922638" sldId="584"/>
        </pc:sldMkLst>
        <pc:spChg chg="mod">
          <ac:chgData name="Thomas Stensitzki" userId="75cafe6b-2f2a-469b-85c4-eec3b9c972ba" providerId="ADAL" clId="{732483C3-CB0C-4598-9DB1-778FE3877DE7}" dt="2022-02-14T08:45:31.792" v="1095" actId="20577"/>
          <ac:spMkLst>
            <pc:docMk/>
            <pc:sldMk cId="120922638" sldId="584"/>
            <ac:spMk id="2" creationId="{C556861E-5551-4B01-B48C-2D4520DE757F}"/>
          </ac:spMkLst>
        </pc:spChg>
        <pc:spChg chg="del">
          <ac:chgData name="Thomas Stensitzki" userId="75cafe6b-2f2a-469b-85c4-eec3b9c972ba" providerId="ADAL" clId="{732483C3-CB0C-4598-9DB1-778FE3877DE7}" dt="2022-02-14T08:43:58.338" v="1085" actId="478"/>
          <ac:spMkLst>
            <pc:docMk/>
            <pc:sldMk cId="120922638" sldId="584"/>
            <ac:spMk id="3" creationId="{75679EB0-F1DE-44FA-9D9F-82590011543F}"/>
          </ac:spMkLst>
        </pc:spChg>
        <pc:picChg chg="add mod">
          <ac:chgData name="Thomas Stensitzki" userId="75cafe6b-2f2a-469b-85c4-eec3b9c972ba" providerId="ADAL" clId="{732483C3-CB0C-4598-9DB1-778FE3877DE7}" dt="2022-02-14T08:44:17.418" v="1089" actId="1440"/>
          <ac:picMkLst>
            <pc:docMk/>
            <pc:sldMk cId="120922638" sldId="584"/>
            <ac:picMk id="1026" creationId="{46C8CDFE-B590-4228-9496-3CF0F67428E5}"/>
          </ac:picMkLst>
        </pc:picChg>
      </pc:sldChg>
      <pc:sldChg chg="del">
        <pc:chgData name="Thomas Stensitzki" userId="75cafe6b-2f2a-469b-85c4-eec3b9c972ba" providerId="ADAL" clId="{732483C3-CB0C-4598-9DB1-778FE3877DE7}" dt="2022-02-13T12:29:09.990" v="73" actId="47"/>
        <pc:sldMkLst>
          <pc:docMk/>
          <pc:sldMk cId="2871808218" sldId="584"/>
        </pc:sldMkLst>
      </pc:sldChg>
      <pc:sldChg chg="del">
        <pc:chgData name="Thomas Stensitzki" userId="75cafe6b-2f2a-469b-85c4-eec3b9c972ba" providerId="ADAL" clId="{732483C3-CB0C-4598-9DB1-778FE3877DE7}" dt="2022-02-13T12:29:09.990" v="73" actId="47"/>
        <pc:sldMkLst>
          <pc:docMk/>
          <pc:sldMk cId="180834030" sldId="585"/>
        </pc:sldMkLst>
      </pc:sldChg>
      <pc:sldChg chg="addSp delSp modSp add mod modTransition">
        <pc:chgData name="Thomas Stensitzki" userId="75cafe6b-2f2a-469b-85c4-eec3b9c972ba" providerId="ADAL" clId="{732483C3-CB0C-4598-9DB1-778FE3877DE7}" dt="2022-02-16T13:35:41.009" v="1677"/>
        <pc:sldMkLst>
          <pc:docMk/>
          <pc:sldMk cId="569684178" sldId="585"/>
        </pc:sldMkLst>
        <pc:spChg chg="mod">
          <ac:chgData name="Thomas Stensitzki" userId="75cafe6b-2f2a-469b-85c4-eec3b9c972ba" providerId="ADAL" clId="{732483C3-CB0C-4598-9DB1-778FE3877DE7}" dt="2022-02-14T08:45:28.467" v="1094" actId="20577"/>
          <ac:spMkLst>
            <pc:docMk/>
            <pc:sldMk cId="569684178" sldId="585"/>
            <ac:spMk id="2" creationId="{C556861E-5551-4B01-B48C-2D4520DE757F}"/>
          </ac:spMkLst>
        </pc:spChg>
        <pc:spChg chg="add del">
          <ac:chgData name="Thomas Stensitzki" userId="75cafe6b-2f2a-469b-85c4-eec3b9c972ba" providerId="ADAL" clId="{732483C3-CB0C-4598-9DB1-778FE3877DE7}" dt="2022-02-14T08:45:41.811" v="1096" actId="478"/>
          <ac:spMkLst>
            <pc:docMk/>
            <pc:sldMk cId="569684178" sldId="585"/>
            <ac:spMk id="5" creationId="{996F64F6-989D-4382-A713-6B60A4389175}"/>
          </ac:spMkLst>
        </pc:spChg>
        <pc:picChg chg="del">
          <ac:chgData name="Thomas Stensitzki" userId="75cafe6b-2f2a-469b-85c4-eec3b9c972ba" providerId="ADAL" clId="{732483C3-CB0C-4598-9DB1-778FE3877DE7}" dt="2022-02-14T08:45:22.503" v="1092" actId="478"/>
          <ac:picMkLst>
            <pc:docMk/>
            <pc:sldMk cId="569684178" sldId="585"/>
            <ac:picMk id="1026" creationId="{46C8CDFE-B590-4228-9496-3CF0F67428E5}"/>
          </ac:picMkLst>
        </pc:picChg>
        <pc:picChg chg="add mod">
          <ac:chgData name="Thomas Stensitzki" userId="75cafe6b-2f2a-469b-85c4-eec3b9c972ba" providerId="ADAL" clId="{732483C3-CB0C-4598-9DB1-778FE3877DE7}" dt="2022-02-14T08:46:00.363" v="1100" actId="1440"/>
          <ac:picMkLst>
            <pc:docMk/>
            <pc:sldMk cId="569684178" sldId="585"/>
            <ac:picMk id="2050" creationId="{CF5F3097-2597-47E3-91E5-2547F725485D}"/>
          </ac:picMkLst>
        </pc:picChg>
      </pc:sldChg>
      <pc:sldChg chg="addSp delSp modSp new mod modTransition">
        <pc:chgData name="Thomas Stensitzki" userId="75cafe6b-2f2a-469b-85c4-eec3b9c972ba" providerId="ADAL" clId="{732483C3-CB0C-4598-9DB1-778FE3877DE7}" dt="2022-02-16T13:35:41.009" v="1677"/>
        <pc:sldMkLst>
          <pc:docMk/>
          <pc:sldMk cId="2892638827" sldId="586"/>
        </pc:sldMkLst>
        <pc:spChg chg="mod">
          <ac:chgData name="Thomas Stensitzki" userId="75cafe6b-2f2a-469b-85c4-eec3b9c972ba" providerId="ADAL" clId="{732483C3-CB0C-4598-9DB1-778FE3877DE7}" dt="2022-02-14T08:46:41.937" v="1104"/>
          <ac:spMkLst>
            <pc:docMk/>
            <pc:sldMk cId="2892638827" sldId="586"/>
            <ac:spMk id="2" creationId="{0732E4C7-AEAA-441F-9A7C-589775E8D0DB}"/>
          </ac:spMkLst>
        </pc:spChg>
        <pc:spChg chg="del">
          <ac:chgData name="Thomas Stensitzki" userId="75cafe6b-2f2a-469b-85c4-eec3b9c972ba" providerId="ADAL" clId="{732483C3-CB0C-4598-9DB1-778FE3877DE7}" dt="2022-02-14T08:46:50.525" v="1105" actId="478"/>
          <ac:spMkLst>
            <pc:docMk/>
            <pc:sldMk cId="2892638827" sldId="586"/>
            <ac:spMk id="3" creationId="{6536894C-3936-43E3-935A-BF4E445D1CD6}"/>
          </ac:spMkLst>
        </pc:spChg>
        <pc:picChg chg="add mod">
          <ac:chgData name="Thomas Stensitzki" userId="75cafe6b-2f2a-469b-85c4-eec3b9c972ba" providerId="ADAL" clId="{732483C3-CB0C-4598-9DB1-778FE3877DE7}" dt="2022-02-14T08:47:03.180" v="1109" actId="1440"/>
          <ac:picMkLst>
            <pc:docMk/>
            <pc:sldMk cId="2892638827" sldId="586"/>
            <ac:picMk id="3074" creationId="{CC6BD41E-A67C-4B3F-964F-1E9A4F483B83}"/>
          </ac:picMkLst>
        </pc:picChg>
      </pc:sldChg>
      <pc:sldChg chg="del">
        <pc:chgData name="Thomas Stensitzki" userId="75cafe6b-2f2a-469b-85c4-eec3b9c972ba" providerId="ADAL" clId="{732483C3-CB0C-4598-9DB1-778FE3877DE7}" dt="2022-02-13T12:29:09.990" v="73" actId="47"/>
        <pc:sldMkLst>
          <pc:docMk/>
          <pc:sldMk cId="3096191333" sldId="586"/>
        </pc:sldMkLst>
      </pc:sldChg>
      <pc:sldChg chg="modSp new mod modTransition modNotesTx">
        <pc:chgData name="Thomas Stensitzki" userId="75cafe6b-2f2a-469b-85c4-eec3b9c972ba" providerId="ADAL" clId="{732483C3-CB0C-4598-9DB1-778FE3877DE7}" dt="2022-02-16T13:35:41.009" v="1677"/>
        <pc:sldMkLst>
          <pc:docMk/>
          <pc:sldMk cId="952964549" sldId="587"/>
        </pc:sldMkLst>
        <pc:spChg chg="mod">
          <ac:chgData name="Thomas Stensitzki" userId="75cafe6b-2f2a-469b-85c4-eec3b9c972ba" providerId="ADAL" clId="{732483C3-CB0C-4598-9DB1-778FE3877DE7}" dt="2022-02-14T08:47:57.443" v="1113"/>
          <ac:spMkLst>
            <pc:docMk/>
            <pc:sldMk cId="952964549" sldId="587"/>
            <ac:spMk id="2" creationId="{0BA423E4-B806-433B-B319-3501C2828674}"/>
          </ac:spMkLst>
        </pc:spChg>
        <pc:spChg chg="mod">
          <ac:chgData name="Thomas Stensitzki" userId="75cafe6b-2f2a-469b-85c4-eec3b9c972ba" providerId="ADAL" clId="{732483C3-CB0C-4598-9DB1-778FE3877DE7}" dt="2022-02-14T08:50:33.820" v="1202" actId="113"/>
          <ac:spMkLst>
            <pc:docMk/>
            <pc:sldMk cId="952964549" sldId="587"/>
            <ac:spMk id="3" creationId="{892C9CFD-0555-461F-815C-7E869A6C691E}"/>
          </ac:spMkLst>
        </pc:spChg>
      </pc:sldChg>
      <pc:sldChg chg="del">
        <pc:chgData name="Thomas Stensitzki" userId="75cafe6b-2f2a-469b-85c4-eec3b9c972ba" providerId="ADAL" clId="{732483C3-CB0C-4598-9DB1-778FE3877DE7}" dt="2022-02-13T12:29:09.990" v="73" actId="47"/>
        <pc:sldMkLst>
          <pc:docMk/>
          <pc:sldMk cId="3386111181" sldId="587"/>
        </pc:sldMkLst>
      </pc:sldChg>
      <pc:sldChg chg="del">
        <pc:chgData name="Thomas Stensitzki" userId="75cafe6b-2f2a-469b-85c4-eec3b9c972ba" providerId="ADAL" clId="{732483C3-CB0C-4598-9DB1-778FE3877DE7}" dt="2022-02-13T12:29:09.990" v="73" actId="47"/>
        <pc:sldMkLst>
          <pc:docMk/>
          <pc:sldMk cId="3088514375" sldId="588"/>
        </pc:sldMkLst>
      </pc:sldChg>
      <pc:sldChg chg="addSp delSp modSp new add del mod modTransition">
        <pc:chgData name="Thomas Stensitzki" userId="75cafe6b-2f2a-469b-85c4-eec3b9c972ba" providerId="ADAL" clId="{732483C3-CB0C-4598-9DB1-778FE3877DE7}" dt="2022-02-16T13:35:41.009" v="1677"/>
        <pc:sldMkLst>
          <pc:docMk/>
          <pc:sldMk cId="3831261343" sldId="588"/>
        </pc:sldMkLst>
        <pc:spChg chg="mod">
          <ac:chgData name="Thomas Stensitzki" userId="75cafe6b-2f2a-469b-85c4-eec3b9c972ba" providerId="ADAL" clId="{732483C3-CB0C-4598-9DB1-778FE3877DE7}" dt="2022-02-14T08:52:01.971" v="1206"/>
          <ac:spMkLst>
            <pc:docMk/>
            <pc:sldMk cId="3831261343" sldId="588"/>
            <ac:spMk id="2" creationId="{AFA186E7-342C-499B-8453-9DD1AB1CA7F2}"/>
          </ac:spMkLst>
        </pc:spChg>
        <pc:spChg chg="del">
          <ac:chgData name="Thomas Stensitzki" userId="75cafe6b-2f2a-469b-85c4-eec3b9c972ba" providerId="ADAL" clId="{732483C3-CB0C-4598-9DB1-778FE3877DE7}" dt="2022-02-14T08:52:45.479" v="1209" actId="478"/>
          <ac:spMkLst>
            <pc:docMk/>
            <pc:sldMk cId="3831261343" sldId="588"/>
            <ac:spMk id="3" creationId="{7CD1371E-9B9E-43E9-8A5C-BF619989D07A}"/>
          </ac:spMkLst>
        </pc:spChg>
        <pc:picChg chg="add mod">
          <ac:chgData name="Thomas Stensitzki" userId="75cafe6b-2f2a-469b-85c4-eec3b9c972ba" providerId="ADAL" clId="{732483C3-CB0C-4598-9DB1-778FE3877DE7}" dt="2022-02-14T08:53:04.155" v="1213" actId="1440"/>
          <ac:picMkLst>
            <pc:docMk/>
            <pc:sldMk cId="3831261343" sldId="588"/>
            <ac:picMk id="4098" creationId="{A56F61E1-0F52-421E-822A-077CF6137CD6}"/>
          </ac:picMkLst>
        </pc:picChg>
      </pc:sldChg>
      <pc:sldChg chg="del">
        <pc:chgData name="Thomas Stensitzki" userId="75cafe6b-2f2a-469b-85c4-eec3b9c972ba" providerId="ADAL" clId="{732483C3-CB0C-4598-9DB1-778FE3877DE7}" dt="2022-02-13T12:29:09.990" v="73" actId="47"/>
        <pc:sldMkLst>
          <pc:docMk/>
          <pc:sldMk cId="1790374027" sldId="589"/>
        </pc:sldMkLst>
      </pc:sldChg>
      <pc:sldChg chg="addSp delSp modSp add modTransition">
        <pc:chgData name="Thomas Stensitzki" userId="75cafe6b-2f2a-469b-85c4-eec3b9c972ba" providerId="ADAL" clId="{732483C3-CB0C-4598-9DB1-778FE3877DE7}" dt="2022-02-16T13:35:41.009" v="1677"/>
        <pc:sldMkLst>
          <pc:docMk/>
          <pc:sldMk cId="3795303455" sldId="589"/>
        </pc:sldMkLst>
        <pc:picChg chg="del">
          <ac:chgData name="Thomas Stensitzki" userId="75cafe6b-2f2a-469b-85c4-eec3b9c972ba" providerId="ADAL" clId="{732483C3-CB0C-4598-9DB1-778FE3877DE7}" dt="2022-02-14T08:53:49.819" v="1221" actId="478"/>
          <ac:picMkLst>
            <pc:docMk/>
            <pc:sldMk cId="3795303455" sldId="589"/>
            <ac:picMk id="4098" creationId="{A56F61E1-0F52-421E-822A-077CF6137CD6}"/>
          </ac:picMkLst>
        </pc:picChg>
        <pc:picChg chg="add mod">
          <ac:chgData name="Thomas Stensitzki" userId="75cafe6b-2f2a-469b-85c4-eec3b9c972ba" providerId="ADAL" clId="{732483C3-CB0C-4598-9DB1-778FE3877DE7}" dt="2022-02-14T08:53:48.198" v="1220" actId="167"/>
          <ac:picMkLst>
            <pc:docMk/>
            <pc:sldMk cId="3795303455" sldId="589"/>
            <ac:picMk id="5122" creationId="{02D9EB72-CBDA-4744-ADBB-77E709AAC7CB}"/>
          </ac:picMkLst>
        </pc:picChg>
      </pc:sldChg>
      <pc:sldChg chg="del">
        <pc:chgData name="Thomas Stensitzki" userId="75cafe6b-2f2a-469b-85c4-eec3b9c972ba" providerId="ADAL" clId="{732483C3-CB0C-4598-9DB1-778FE3877DE7}" dt="2022-02-13T12:29:09.990" v="73" actId="47"/>
        <pc:sldMkLst>
          <pc:docMk/>
          <pc:sldMk cId="918908708" sldId="590"/>
        </pc:sldMkLst>
      </pc:sldChg>
      <pc:sldChg chg="addSp delSp modSp add modTransition modNotesTx">
        <pc:chgData name="Thomas Stensitzki" userId="75cafe6b-2f2a-469b-85c4-eec3b9c972ba" providerId="ADAL" clId="{732483C3-CB0C-4598-9DB1-778FE3877DE7}" dt="2022-02-16T13:35:41.009" v="1677"/>
        <pc:sldMkLst>
          <pc:docMk/>
          <pc:sldMk cId="3073320387" sldId="590"/>
        </pc:sldMkLst>
        <pc:picChg chg="add del">
          <ac:chgData name="Thomas Stensitzki" userId="75cafe6b-2f2a-469b-85c4-eec3b9c972ba" providerId="ADAL" clId="{732483C3-CB0C-4598-9DB1-778FE3877DE7}" dt="2022-02-14T08:54:42.380" v="1234" actId="478"/>
          <ac:picMkLst>
            <pc:docMk/>
            <pc:sldMk cId="3073320387" sldId="590"/>
            <ac:picMk id="5122" creationId="{02D9EB72-CBDA-4744-ADBB-77E709AAC7CB}"/>
          </ac:picMkLst>
        </pc:picChg>
        <pc:picChg chg="add del mod">
          <ac:chgData name="Thomas Stensitzki" userId="75cafe6b-2f2a-469b-85c4-eec3b9c972ba" providerId="ADAL" clId="{732483C3-CB0C-4598-9DB1-778FE3877DE7}" dt="2022-02-14T08:54:38.423" v="1233" actId="478"/>
          <ac:picMkLst>
            <pc:docMk/>
            <pc:sldMk cId="3073320387" sldId="590"/>
            <ac:picMk id="6146" creationId="{7DA09ABE-1DAB-4892-98B2-DA9E7FCC8947}"/>
          </ac:picMkLst>
        </pc:picChg>
      </pc:sldChg>
      <pc:sldChg chg="del">
        <pc:chgData name="Thomas Stensitzki" userId="75cafe6b-2f2a-469b-85c4-eec3b9c972ba" providerId="ADAL" clId="{732483C3-CB0C-4598-9DB1-778FE3877DE7}" dt="2022-02-13T12:29:09.990" v="73" actId="47"/>
        <pc:sldMkLst>
          <pc:docMk/>
          <pc:sldMk cId="454032179" sldId="591"/>
        </pc:sldMkLst>
      </pc:sldChg>
      <pc:sldChg chg="modSp add mod ord modTransition">
        <pc:chgData name="Thomas Stensitzki" userId="75cafe6b-2f2a-469b-85c4-eec3b9c972ba" providerId="ADAL" clId="{732483C3-CB0C-4598-9DB1-778FE3877DE7}" dt="2022-02-16T13:35:41.009" v="1677"/>
        <pc:sldMkLst>
          <pc:docMk/>
          <pc:sldMk cId="3676688735" sldId="591"/>
        </pc:sldMkLst>
        <pc:spChg chg="mod">
          <ac:chgData name="Thomas Stensitzki" userId="75cafe6b-2f2a-469b-85c4-eec3b9c972ba" providerId="ADAL" clId="{732483C3-CB0C-4598-9DB1-778FE3877DE7}" dt="2022-02-14T11:34:35.895" v="1298" actId="1036"/>
          <ac:spMkLst>
            <pc:docMk/>
            <pc:sldMk cId="3676688735" sldId="591"/>
            <ac:spMk id="2" creationId="{909DC09D-B9A6-4493-9A72-1CA7ECB1F5CA}"/>
          </ac:spMkLst>
        </pc:spChg>
      </pc:sldChg>
      <pc:sldChg chg="del">
        <pc:chgData name="Thomas Stensitzki" userId="75cafe6b-2f2a-469b-85c4-eec3b9c972ba" providerId="ADAL" clId="{732483C3-CB0C-4598-9DB1-778FE3877DE7}" dt="2022-02-13T12:29:09.990" v="73" actId="47"/>
        <pc:sldMkLst>
          <pc:docMk/>
          <pc:sldMk cId="999287501" sldId="592"/>
        </pc:sldMkLst>
      </pc:sldChg>
      <pc:sldChg chg="modSp add mod ord modTransition">
        <pc:chgData name="Thomas Stensitzki" userId="75cafe6b-2f2a-469b-85c4-eec3b9c972ba" providerId="ADAL" clId="{732483C3-CB0C-4598-9DB1-778FE3877DE7}" dt="2022-02-16T13:35:41.009" v="1677"/>
        <pc:sldMkLst>
          <pc:docMk/>
          <pc:sldMk cId="3760764139" sldId="592"/>
        </pc:sldMkLst>
        <pc:spChg chg="mod">
          <ac:chgData name="Thomas Stensitzki" userId="75cafe6b-2f2a-469b-85c4-eec3b9c972ba" providerId="ADAL" clId="{732483C3-CB0C-4598-9DB1-778FE3877DE7}" dt="2022-02-14T11:34:50.597" v="1329" actId="1036"/>
          <ac:spMkLst>
            <pc:docMk/>
            <pc:sldMk cId="3760764139" sldId="592"/>
            <ac:spMk id="2" creationId="{909DC09D-B9A6-4493-9A72-1CA7ECB1F5CA}"/>
          </ac:spMkLst>
        </pc:spChg>
      </pc:sldChg>
      <pc:sldChg chg="del">
        <pc:chgData name="Thomas Stensitzki" userId="75cafe6b-2f2a-469b-85c4-eec3b9c972ba" providerId="ADAL" clId="{732483C3-CB0C-4598-9DB1-778FE3877DE7}" dt="2022-02-13T12:29:09.990" v="73" actId="47"/>
        <pc:sldMkLst>
          <pc:docMk/>
          <pc:sldMk cId="216933282" sldId="593"/>
        </pc:sldMkLst>
      </pc:sldChg>
      <pc:sldChg chg="modSp add mod modTransition">
        <pc:chgData name="Thomas Stensitzki" userId="75cafe6b-2f2a-469b-85c4-eec3b9c972ba" providerId="ADAL" clId="{732483C3-CB0C-4598-9DB1-778FE3877DE7}" dt="2022-02-16T13:35:41.009" v="1677"/>
        <pc:sldMkLst>
          <pc:docMk/>
          <pc:sldMk cId="1160737551" sldId="593"/>
        </pc:sldMkLst>
        <pc:spChg chg="mod">
          <ac:chgData name="Thomas Stensitzki" userId="75cafe6b-2f2a-469b-85c4-eec3b9c972ba" providerId="ADAL" clId="{732483C3-CB0C-4598-9DB1-778FE3877DE7}" dt="2022-02-14T11:35:06.916" v="1387" actId="1036"/>
          <ac:spMkLst>
            <pc:docMk/>
            <pc:sldMk cId="1160737551" sldId="593"/>
            <ac:spMk id="2" creationId="{909DC09D-B9A6-4493-9A72-1CA7ECB1F5CA}"/>
          </ac:spMkLst>
        </pc:spChg>
      </pc:sldChg>
      <pc:sldChg chg="del">
        <pc:chgData name="Thomas Stensitzki" userId="75cafe6b-2f2a-469b-85c4-eec3b9c972ba" providerId="ADAL" clId="{732483C3-CB0C-4598-9DB1-778FE3877DE7}" dt="2022-02-13T12:29:09.990" v="73" actId="47"/>
        <pc:sldMkLst>
          <pc:docMk/>
          <pc:sldMk cId="1858708233" sldId="594"/>
        </pc:sldMkLst>
      </pc:sldChg>
      <pc:sldChg chg="modSp add mod ord modTransition">
        <pc:chgData name="Thomas Stensitzki" userId="75cafe6b-2f2a-469b-85c4-eec3b9c972ba" providerId="ADAL" clId="{732483C3-CB0C-4598-9DB1-778FE3877DE7}" dt="2022-02-16T13:35:41.009" v="1677"/>
        <pc:sldMkLst>
          <pc:docMk/>
          <pc:sldMk cId="3620025916" sldId="594"/>
        </pc:sldMkLst>
        <pc:spChg chg="mod">
          <ac:chgData name="Thomas Stensitzki" userId="75cafe6b-2f2a-469b-85c4-eec3b9c972ba" providerId="ADAL" clId="{732483C3-CB0C-4598-9DB1-778FE3877DE7}" dt="2022-02-14T11:35:50.809" v="1434" actId="14100"/>
          <ac:spMkLst>
            <pc:docMk/>
            <pc:sldMk cId="3620025916" sldId="594"/>
            <ac:spMk id="2" creationId="{909DC09D-B9A6-4493-9A72-1CA7ECB1F5CA}"/>
          </ac:spMkLst>
        </pc:spChg>
      </pc:sldChg>
      <pc:sldChg chg="modSp add mod ord modTransition">
        <pc:chgData name="Thomas Stensitzki" userId="75cafe6b-2f2a-469b-85c4-eec3b9c972ba" providerId="ADAL" clId="{732483C3-CB0C-4598-9DB1-778FE3877DE7}" dt="2022-02-16T13:35:41.009" v="1677"/>
        <pc:sldMkLst>
          <pc:docMk/>
          <pc:sldMk cId="2243482533" sldId="595"/>
        </pc:sldMkLst>
        <pc:spChg chg="mod">
          <ac:chgData name="Thomas Stensitzki" userId="75cafe6b-2f2a-469b-85c4-eec3b9c972ba" providerId="ADAL" clId="{732483C3-CB0C-4598-9DB1-778FE3877DE7}" dt="2022-02-14T11:36:22.623" v="1511" actId="1035"/>
          <ac:spMkLst>
            <pc:docMk/>
            <pc:sldMk cId="2243482533" sldId="595"/>
            <ac:spMk id="2" creationId="{909DC09D-B9A6-4493-9A72-1CA7ECB1F5CA}"/>
          </ac:spMkLst>
        </pc:spChg>
      </pc:sldChg>
      <pc:sldChg chg="del">
        <pc:chgData name="Thomas Stensitzki" userId="75cafe6b-2f2a-469b-85c4-eec3b9c972ba" providerId="ADAL" clId="{732483C3-CB0C-4598-9DB1-778FE3877DE7}" dt="2022-02-13T12:29:09.990" v="73" actId="47"/>
        <pc:sldMkLst>
          <pc:docMk/>
          <pc:sldMk cId="3220276594" sldId="595"/>
        </pc:sldMkLst>
      </pc:sldChg>
      <pc:sldChg chg="del">
        <pc:chgData name="Thomas Stensitzki" userId="75cafe6b-2f2a-469b-85c4-eec3b9c972ba" providerId="ADAL" clId="{732483C3-CB0C-4598-9DB1-778FE3877DE7}" dt="2022-02-13T12:29:09.990" v="73" actId="47"/>
        <pc:sldMkLst>
          <pc:docMk/>
          <pc:sldMk cId="1052203246" sldId="596"/>
        </pc:sldMkLst>
      </pc:sldChg>
      <pc:sldChg chg="add del">
        <pc:chgData name="Thomas Stensitzki" userId="75cafe6b-2f2a-469b-85c4-eec3b9c972ba" providerId="ADAL" clId="{732483C3-CB0C-4598-9DB1-778FE3877DE7}" dt="2022-02-14T11:36:33.085" v="1513"/>
        <pc:sldMkLst>
          <pc:docMk/>
          <pc:sldMk cId="1369410492" sldId="596"/>
        </pc:sldMkLst>
      </pc:sldChg>
      <pc:sldChg chg="modSp add mod modTransition">
        <pc:chgData name="Thomas Stensitzki" userId="75cafe6b-2f2a-469b-85c4-eec3b9c972ba" providerId="ADAL" clId="{732483C3-CB0C-4598-9DB1-778FE3877DE7}" dt="2022-02-16T13:35:41.009" v="1677"/>
        <pc:sldMkLst>
          <pc:docMk/>
          <pc:sldMk cId="3273231213" sldId="596"/>
        </pc:sldMkLst>
        <pc:spChg chg="mod">
          <ac:chgData name="Thomas Stensitzki" userId="75cafe6b-2f2a-469b-85c4-eec3b9c972ba" providerId="ADAL" clId="{732483C3-CB0C-4598-9DB1-778FE3877DE7}" dt="2022-02-14T11:36:49.142" v="1557" actId="1035"/>
          <ac:spMkLst>
            <pc:docMk/>
            <pc:sldMk cId="3273231213" sldId="596"/>
            <ac:spMk id="2" creationId="{909DC09D-B9A6-4493-9A72-1CA7ECB1F5CA}"/>
          </ac:spMkLst>
        </pc:spChg>
      </pc:sldChg>
      <pc:sldChg chg="del">
        <pc:chgData name="Thomas Stensitzki" userId="75cafe6b-2f2a-469b-85c4-eec3b9c972ba" providerId="ADAL" clId="{732483C3-CB0C-4598-9DB1-778FE3877DE7}" dt="2022-02-13T12:29:09.990" v="73" actId="47"/>
        <pc:sldMkLst>
          <pc:docMk/>
          <pc:sldMk cId="3073976506" sldId="597"/>
        </pc:sldMkLst>
      </pc:sldChg>
      <pc:sldChg chg="modSp add mod modTransition">
        <pc:chgData name="Thomas Stensitzki" userId="75cafe6b-2f2a-469b-85c4-eec3b9c972ba" providerId="ADAL" clId="{732483C3-CB0C-4598-9DB1-778FE3877DE7}" dt="2022-02-16T13:35:41.009" v="1677"/>
        <pc:sldMkLst>
          <pc:docMk/>
          <pc:sldMk cId="3646966063" sldId="597"/>
        </pc:sldMkLst>
        <pc:spChg chg="mod">
          <ac:chgData name="Thomas Stensitzki" userId="75cafe6b-2f2a-469b-85c4-eec3b9c972ba" providerId="ADAL" clId="{732483C3-CB0C-4598-9DB1-778FE3877DE7}" dt="2022-02-14T11:37:06.350" v="1587" actId="1036"/>
          <ac:spMkLst>
            <pc:docMk/>
            <pc:sldMk cId="3646966063" sldId="597"/>
            <ac:spMk id="2" creationId="{909DC09D-B9A6-4493-9A72-1CA7ECB1F5CA}"/>
          </ac:spMkLst>
        </pc:spChg>
      </pc:sldChg>
      <pc:sldChg chg="del">
        <pc:chgData name="Thomas Stensitzki" userId="75cafe6b-2f2a-469b-85c4-eec3b9c972ba" providerId="ADAL" clId="{732483C3-CB0C-4598-9DB1-778FE3877DE7}" dt="2022-02-13T12:29:17.530" v="74" actId="47"/>
        <pc:sldMkLst>
          <pc:docMk/>
          <pc:sldMk cId="1359738840" sldId="598"/>
        </pc:sldMkLst>
      </pc:sldChg>
      <pc:sldChg chg="modSp add mod ord modTransition">
        <pc:chgData name="Thomas Stensitzki" userId="75cafe6b-2f2a-469b-85c4-eec3b9c972ba" providerId="ADAL" clId="{732483C3-CB0C-4598-9DB1-778FE3877DE7}" dt="2022-02-16T13:35:41.009" v="1677"/>
        <pc:sldMkLst>
          <pc:docMk/>
          <pc:sldMk cId="2538300061" sldId="598"/>
        </pc:sldMkLst>
        <pc:spChg chg="mod">
          <ac:chgData name="Thomas Stensitzki" userId="75cafe6b-2f2a-469b-85c4-eec3b9c972ba" providerId="ADAL" clId="{732483C3-CB0C-4598-9DB1-778FE3877DE7}" dt="2022-02-14T11:37:21.695" v="1596" actId="1035"/>
          <ac:spMkLst>
            <pc:docMk/>
            <pc:sldMk cId="2538300061" sldId="598"/>
            <ac:spMk id="2" creationId="{909DC09D-B9A6-4493-9A72-1CA7ECB1F5CA}"/>
          </ac:spMkLst>
        </pc:spChg>
      </pc:sldChg>
      <pc:sldChg chg="del">
        <pc:chgData name="Thomas Stensitzki" userId="75cafe6b-2f2a-469b-85c4-eec3b9c972ba" providerId="ADAL" clId="{732483C3-CB0C-4598-9DB1-778FE3877DE7}" dt="2022-02-13T12:29:17.530" v="74" actId="47"/>
        <pc:sldMkLst>
          <pc:docMk/>
          <pc:sldMk cId="497042959" sldId="599"/>
        </pc:sldMkLst>
      </pc:sldChg>
      <pc:sldChg chg="modSp add mod ord">
        <pc:chgData name="Thomas Stensitzki" userId="75cafe6b-2f2a-469b-85c4-eec3b9c972ba" providerId="ADAL" clId="{732483C3-CB0C-4598-9DB1-778FE3877DE7}" dt="2022-02-16T13:43:10.358" v="1825" actId="1076"/>
        <pc:sldMkLst>
          <pc:docMk/>
          <pc:sldMk cId="2905309205" sldId="599"/>
        </pc:sldMkLst>
        <pc:spChg chg="mod">
          <ac:chgData name="Thomas Stensitzki" userId="75cafe6b-2f2a-469b-85c4-eec3b9c972ba" providerId="ADAL" clId="{732483C3-CB0C-4598-9DB1-778FE3877DE7}" dt="2022-02-16T13:43:10.358" v="1825" actId="1076"/>
          <ac:spMkLst>
            <pc:docMk/>
            <pc:sldMk cId="2905309205" sldId="599"/>
            <ac:spMk id="2" creationId="{909DC09D-B9A6-4493-9A72-1CA7ECB1F5CA}"/>
          </ac:spMkLst>
        </pc:spChg>
      </pc:sldChg>
      <pc:sldChg chg="modSp add mod ord">
        <pc:chgData name="Thomas Stensitzki" userId="75cafe6b-2f2a-469b-85c4-eec3b9c972ba" providerId="ADAL" clId="{732483C3-CB0C-4598-9DB1-778FE3877DE7}" dt="2022-02-16T13:45:36.823" v="1833" actId="1076"/>
        <pc:sldMkLst>
          <pc:docMk/>
          <pc:sldMk cId="2549681173" sldId="600"/>
        </pc:sldMkLst>
        <pc:spChg chg="mod">
          <ac:chgData name="Thomas Stensitzki" userId="75cafe6b-2f2a-469b-85c4-eec3b9c972ba" providerId="ADAL" clId="{732483C3-CB0C-4598-9DB1-778FE3877DE7}" dt="2022-02-16T13:45:36.823" v="1833" actId="1076"/>
          <ac:spMkLst>
            <pc:docMk/>
            <pc:sldMk cId="2549681173" sldId="600"/>
            <ac:spMk id="2" creationId="{909DC09D-B9A6-4493-9A72-1CA7ECB1F5CA}"/>
          </ac:spMkLst>
        </pc:spChg>
      </pc:sldChg>
      <pc:sldChg chg="add del">
        <pc:chgData name="Thomas Stensitzki" userId="75cafe6b-2f2a-469b-85c4-eec3b9c972ba" providerId="ADAL" clId="{732483C3-CB0C-4598-9DB1-778FE3877DE7}" dt="2022-02-13T12:29:48.194" v="77" actId="47"/>
        <pc:sldMkLst>
          <pc:docMk/>
          <pc:sldMk cId="3647128677" sldId="600"/>
        </pc:sldMkLst>
      </pc:sldChg>
      <pc:sldChg chg="delSp modSp add">
        <pc:chgData name="Thomas Stensitzki" userId="75cafe6b-2f2a-469b-85c4-eec3b9c972ba" providerId="ADAL" clId="{732483C3-CB0C-4598-9DB1-778FE3877DE7}" dt="2022-02-16T13:46:44.696" v="1839" actId="1076"/>
        <pc:sldMkLst>
          <pc:docMk/>
          <pc:sldMk cId="1353242244" sldId="601"/>
        </pc:sldMkLst>
        <pc:picChg chg="del">
          <ac:chgData name="Thomas Stensitzki" userId="75cafe6b-2f2a-469b-85c4-eec3b9c972ba" providerId="ADAL" clId="{732483C3-CB0C-4598-9DB1-778FE3877DE7}" dt="2022-02-16T13:46:33.100" v="1838" actId="478"/>
          <ac:picMkLst>
            <pc:docMk/>
            <pc:sldMk cId="1353242244" sldId="601"/>
            <ac:picMk id="8194" creationId="{AFD980FE-4282-4263-AD1E-4D6DAC9F98E5}"/>
          </ac:picMkLst>
        </pc:picChg>
        <pc:picChg chg="mod">
          <ac:chgData name="Thomas Stensitzki" userId="75cafe6b-2f2a-469b-85c4-eec3b9c972ba" providerId="ADAL" clId="{732483C3-CB0C-4598-9DB1-778FE3877DE7}" dt="2022-02-16T13:46:44.696" v="1839" actId="1076"/>
          <ac:picMkLst>
            <pc:docMk/>
            <pc:sldMk cId="1353242244" sldId="601"/>
            <ac:picMk id="8196" creationId="{1A602696-D323-49FA-84C8-07E65F6E0E5C}"/>
          </ac:picMkLst>
        </pc:picChg>
      </pc:sldChg>
      <pc:sldChg chg="add del">
        <pc:chgData name="Thomas Stensitzki" userId="75cafe6b-2f2a-469b-85c4-eec3b9c972ba" providerId="ADAL" clId="{732483C3-CB0C-4598-9DB1-778FE3877DE7}" dt="2022-02-13T12:29:48.194" v="77" actId="47"/>
        <pc:sldMkLst>
          <pc:docMk/>
          <pc:sldMk cId="2742369230" sldId="601"/>
        </pc:sldMkLst>
      </pc:sldChg>
      <pc:sldChg chg="add del">
        <pc:chgData name="Thomas Stensitzki" userId="75cafe6b-2f2a-469b-85c4-eec3b9c972ba" providerId="ADAL" clId="{732483C3-CB0C-4598-9DB1-778FE3877DE7}" dt="2022-02-13T12:29:48.194" v="77" actId="47"/>
        <pc:sldMkLst>
          <pc:docMk/>
          <pc:sldMk cId="525318874" sldId="602"/>
        </pc:sldMkLst>
      </pc:sldChg>
      <pc:sldChg chg="modSp add mod ord">
        <pc:chgData name="Thomas Stensitzki" userId="75cafe6b-2f2a-469b-85c4-eec3b9c972ba" providerId="ADAL" clId="{732483C3-CB0C-4598-9DB1-778FE3877DE7}" dt="2022-02-16T13:47:16.871" v="1843" actId="1076"/>
        <pc:sldMkLst>
          <pc:docMk/>
          <pc:sldMk cId="1032519195" sldId="602"/>
        </pc:sldMkLst>
        <pc:spChg chg="mod">
          <ac:chgData name="Thomas Stensitzki" userId="75cafe6b-2f2a-469b-85c4-eec3b9c972ba" providerId="ADAL" clId="{732483C3-CB0C-4598-9DB1-778FE3877DE7}" dt="2022-02-16T13:47:16.871" v="1843" actId="1076"/>
          <ac:spMkLst>
            <pc:docMk/>
            <pc:sldMk cId="1032519195" sldId="602"/>
            <ac:spMk id="2" creationId="{909DC09D-B9A6-4493-9A72-1CA7ECB1F5CA}"/>
          </ac:spMkLst>
        </pc:spChg>
      </pc:sldChg>
      <pc:sldChg chg="modSp add mod ord">
        <pc:chgData name="Thomas Stensitzki" userId="75cafe6b-2f2a-469b-85c4-eec3b9c972ba" providerId="ADAL" clId="{732483C3-CB0C-4598-9DB1-778FE3877DE7}" dt="2022-02-16T13:47:31.127" v="1847" actId="1076"/>
        <pc:sldMkLst>
          <pc:docMk/>
          <pc:sldMk cId="167954962" sldId="603"/>
        </pc:sldMkLst>
        <pc:spChg chg="mod">
          <ac:chgData name="Thomas Stensitzki" userId="75cafe6b-2f2a-469b-85c4-eec3b9c972ba" providerId="ADAL" clId="{732483C3-CB0C-4598-9DB1-778FE3877DE7}" dt="2022-02-16T13:47:31.127" v="1847" actId="1076"/>
          <ac:spMkLst>
            <pc:docMk/>
            <pc:sldMk cId="167954962" sldId="603"/>
            <ac:spMk id="2" creationId="{909DC09D-B9A6-4493-9A72-1CA7ECB1F5CA}"/>
          </ac:spMkLst>
        </pc:spChg>
      </pc:sldChg>
      <pc:sldChg chg="add del">
        <pc:chgData name="Thomas Stensitzki" userId="75cafe6b-2f2a-469b-85c4-eec3b9c972ba" providerId="ADAL" clId="{732483C3-CB0C-4598-9DB1-778FE3877DE7}" dt="2022-02-13T12:29:48.194" v="77" actId="47"/>
        <pc:sldMkLst>
          <pc:docMk/>
          <pc:sldMk cId="4145302730" sldId="603"/>
        </pc:sldMkLst>
      </pc:sldChg>
      <pc:sldChg chg="add del">
        <pc:chgData name="Thomas Stensitzki" userId="75cafe6b-2f2a-469b-85c4-eec3b9c972ba" providerId="ADAL" clId="{732483C3-CB0C-4598-9DB1-778FE3877DE7}" dt="2022-02-13T12:29:48.194" v="77" actId="47"/>
        <pc:sldMkLst>
          <pc:docMk/>
          <pc:sldMk cId="166632333" sldId="604"/>
        </pc:sldMkLst>
      </pc:sldChg>
      <pc:sldChg chg="modSp add mod ord modNotesTx">
        <pc:chgData name="Thomas Stensitzki" userId="75cafe6b-2f2a-469b-85c4-eec3b9c972ba" providerId="ADAL" clId="{732483C3-CB0C-4598-9DB1-778FE3877DE7}" dt="2022-02-16T13:52:44.405" v="1894" actId="6549"/>
        <pc:sldMkLst>
          <pc:docMk/>
          <pc:sldMk cId="1319860976" sldId="604"/>
        </pc:sldMkLst>
        <pc:spChg chg="mod">
          <ac:chgData name="Thomas Stensitzki" userId="75cafe6b-2f2a-469b-85c4-eec3b9c972ba" providerId="ADAL" clId="{732483C3-CB0C-4598-9DB1-778FE3877DE7}" dt="2022-02-16T13:49:21.649" v="1861" actId="1076"/>
          <ac:spMkLst>
            <pc:docMk/>
            <pc:sldMk cId="1319860976" sldId="604"/>
            <ac:spMk id="2" creationId="{909DC09D-B9A6-4493-9A72-1CA7ECB1F5CA}"/>
          </ac:spMkLst>
        </pc:spChg>
      </pc:sldChg>
      <pc:sldChg chg="modSp add mod ord">
        <pc:chgData name="Thomas Stensitzki" userId="75cafe6b-2f2a-469b-85c4-eec3b9c972ba" providerId="ADAL" clId="{732483C3-CB0C-4598-9DB1-778FE3877DE7}" dt="2022-02-16T13:49:39.605" v="1865" actId="1076"/>
        <pc:sldMkLst>
          <pc:docMk/>
          <pc:sldMk cId="960196194" sldId="605"/>
        </pc:sldMkLst>
        <pc:spChg chg="mod">
          <ac:chgData name="Thomas Stensitzki" userId="75cafe6b-2f2a-469b-85c4-eec3b9c972ba" providerId="ADAL" clId="{732483C3-CB0C-4598-9DB1-778FE3877DE7}" dt="2022-02-16T13:49:39.605" v="1865" actId="1076"/>
          <ac:spMkLst>
            <pc:docMk/>
            <pc:sldMk cId="960196194" sldId="605"/>
            <ac:spMk id="2" creationId="{909DC09D-B9A6-4493-9A72-1CA7ECB1F5CA}"/>
          </ac:spMkLst>
        </pc:spChg>
      </pc:sldChg>
      <pc:sldChg chg="add del">
        <pc:chgData name="Thomas Stensitzki" userId="75cafe6b-2f2a-469b-85c4-eec3b9c972ba" providerId="ADAL" clId="{732483C3-CB0C-4598-9DB1-778FE3877DE7}" dt="2022-02-13T12:29:48.194" v="77" actId="47"/>
        <pc:sldMkLst>
          <pc:docMk/>
          <pc:sldMk cId="2150546359" sldId="605"/>
        </pc:sldMkLst>
      </pc:sldChg>
      <pc:sldChg chg="add del">
        <pc:chgData name="Thomas Stensitzki" userId="75cafe6b-2f2a-469b-85c4-eec3b9c972ba" providerId="ADAL" clId="{732483C3-CB0C-4598-9DB1-778FE3877DE7}" dt="2022-02-13T12:29:48.194" v="77" actId="47"/>
        <pc:sldMkLst>
          <pc:docMk/>
          <pc:sldMk cId="2386028982" sldId="606"/>
        </pc:sldMkLst>
      </pc:sldChg>
      <pc:sldChg chg="modSp add mod modNotesTx">
        <pc:chgData name="Thomas Stensitzki" userId="75cafe6b-2f2a-469b-85c4-eec3b9c972ba" providerId="ADAL" clId="{732483C3-CB0C-4598-9DB1-778FE3877DE7}" dt="2022-02-16T13:52:37.340" v="1893" actId="6549"/>
        <pc:sldMkLst>
          <pc:docMk/>
          <pc:sldMk cId="2615993417" sldId="606"/>
        </pc:sldMkLst>
        <pc:spChg chg="mod">
          <ac:chgData name="Thomas Stensitzki" userId="75cafe6b-2f2a-469b-85c4-eec3b9c972ba" providerId="ADAL" clId="{732483C3-CB0C-4598-9DB1-778FE3877DE7}" dt="2022-02-16T13:49:48.290" v="1867" actId="1076"/>
          <ac:spMkLst>
            <pc:docMk/>
            <pc:sldMk cId="2615993417" sldId="606"/>
            <ac:spMk id="2" creationId="{909DC09D-B9A6-4493-9A72-1CA7ECB1F5CA}"/>
          </ac:spMkLst>
        </pc:spChg>
      </pc:sldChg>
      <pc:sldChg chg="modSp add mod ord modNotesTx">
        <pc:chgData name="Thomas Stensitzki" userId="75cafe6b-2f2a-469b-85c4-eec3b9c972ba" providerId="ADAL" clId="{732483C3-CB0C-4598-9DB1-778FE3877DE7}" dt="2022-02-16T13:52:30.502" v="1892" actId="6549"/>
        <pc:sldMkLst>
          <pc:docMk/>
          <pc:sldMk cId="850732423" sldId="607"/>
        </pc:sldMkLst>
        <pc:spChg chg="mod">
          <ac:chgData name="Thomas Stensitzki" userId="75cafe6b-2f2a-469b-85c4-eec3b9c972ba" providerId="ADAL" clId="{732483C3-CB0C-4598-9DB1-778FE3877DE7}" dt="2022-02-16T13:50:05.937" v="1872" actId="14100"/>
          <ac:spMkLst>
            <pc:docMk/>
            <pc:sldMk cId="850732423" sldId="607"/>
            <ac:spMk id="2" creationId="{909DC09D-B9A6-4493-9A72-1CA7ECB1F5CA}"/>
          </ac:spMkLst>
        </pc:spChg>
      </pc:sldChg>
      <pc:sldChg chg="add del">
        <pc:chgData name="Thomas Stensitzki" userId="75cafe6b-2f2a-469b-85c4-eec3b9c972ba" providerId="ADAL" clId="{732483C3-CB0C-4598-9DB1-778FE3877DE7}" dt="2022-02-13T12:29:48.194" v="77" actId="47"/>
        <pc:sldMkLst>
          <pc:docMk/>
          <pc:sldMk cId="2597390730" sldId="607"/>
        </pc:sldMkLst>
      </pc:sldChg>
      <pc:sldChg chg="modSp add mod ord modNotesTx">
        <pc:chgData name="Thomas Stensitzki" userId="75cafe6b-2f2a-469b-85c4-eec3b9c972ba" providerId="ADAL" clId="{732483C3-CB0C-4598-9DB1-778FE3877DE7}" dt="2022-02-16T13:52:21.814" v="1890" actId="6549"/>
        <pc:sldMkLst>
          <pc:docMk/>
          <pc:sldMk cId="2141078485" sldId="608"/>
        </pc:sldMkLst>
        <pc:spChg chg="mod">
          <ac:chgData name="Thomas Stensitzki" userId="75cafe6b-2f2a-469b-85c4-eec3b9c972ba" providerId="ADAL" clId="{732483C3-CB0C-4598-9DB1-778FE3877DE7}" dt="2022-02-16T13:50:30.509" v="1878" actId="1076"/>
          <ac:spMkLst>
            <pc:docMk/>
            <pc:sldMk cId="2141078485" sldId="608"/>
            <ac:spMk id="2" creationId="{909DC09D-B9A6-4493-9A72-1CA7ECB1F5CA}"/>
          </ac:spMkLst>
        </pc:spChg>
      </pc:sldChg>
      <pc:sldChg chg="add del ord">
        <pc:chgData name="Thomas Stensitzki" userId="75cafe6b-2f2a-469b-85c4-eec3b9c972ba" providerId="ADAL" clId="{732483C3-CB0C-4598-9DB1-778FE3877DE7}" dt="2022-02-16T13:50:24.012" v="1876" actId="47"/>
        <pc:sldMkLst>
          <pc:docMk/>
          <pc:sldMk cId="3573072322" sldId="608"/>
        </pc:sldMkLst>
      </pc:sldChg>
      <pc:sldChg chg="modSp add mod modNotesTx">
        <pc:chgData name="Thomas Stensitzki" userId="75cafe6b-2f2a-469b-85c4-eec3b9c972ba" providerId="ADAL" clId="{732483C3-CB0C-4598-9DB1-778FE3877DE7}" dt="2022-02-16T13:52:16.543" v="1889" actId="6549"/>
        <pc:sldMkLst>
          <pc:docMk/>
          <pc:sldMk cId="2216310711" sldId="609"/>
        </pc:sldMkLst>
        <pc:spChg chg="mod">
          <ac:chgData name="Thomas Stensitzki" userId="75cafe6b-2f2a-469b-85c4-eec3b9c972ba" providerId="ADAL" clId="{732483C3-CB0C-4598-9DB1-778FE3877DE7}" dt="2022-02-16T13:51:18.467" v="1884" actId="14100"/>
          <ac:spMkLst>
            <pc:docMk/>
            <pc:sldMk cId="2216310711" sldId="609"/>
            <ac:spMk id="2" creationId="{909DC09D-B9A6-4493-9A72-1CA7ECB1F5CA}"/>
          </ac:spMkLst>
        </pc:spChg>
        <pc:spChg chg="mod">
          <ac:chgData name="Thomas Stensitzki" userId="75cafe6b-2f2a-469b-85c4-eec3b9c972ba" providerId="ADAL" clId="{732483C3-CB0C-4598-9DB1-778FE3877DE7}" dt="2022-02-16T13:51:26.012" v="1886" actId="20577"/>
          <ac:spMkLst>
            <pc:docMk/>
            <pc:sldMk cId="2216310711" sldId="609"/>
            <ac:spMk id="5" creationId="{C24DACB5-1BEC-4C86-9652-BAFD8DE56FEF}"/>
          </ac:spMkLst>
        </pc:spChg>
      </pc:sldChg>
      <pc:sldChg chg="modSp add mod">
        <pc:chgData name="Thomas Stensitzki" userId="75cafe6b-2f2a-469b-85c4-eec3b9c972ba" providerId="ADAL" clId="{732483C3-CB0C-4598-9DB1-778FE3877DE7}" dt="2022-02-16T13:53:05.745" v="1897" actId="1076"/>
        <pc:sldMkLst>
          <pc:docMk/>
          <pc:sldMk cId="52005476" sldId="610"/>
        </pc:sldMkLst>
        <pc:spChg chg="mod">
          <ac:chgData name="Thomas Stensitzki" userId="75cafe6b-2f2a-469b-85c4-eec3b9c972ba" providerId="ADAL" clId="{732483C3-CB0C-4598-9DB1-778FE3877DE7}" dt="2022-02-16T13:53:05.745" v="1897" actId="1076"/>
          <ac:spMkLst>
            <pc:docMk/>
            <pc:sldMk cId="52005476" sldId="610"/>
            <ac:spMk id="2" creationId="{909DC09D-B9A6-4493-9A72-1CA7ECB1F5CA}"/>
          </ac:spMkLst>
        </pc:spChg>
      </pc:sldChg>
      <pc:sldChg chg="modSp add mod">
        <pc:chgData name="Thomas Stensitzki" userId="75cafe6b-2f2a-469b-85c4-eec3b9c972ba" providerId="ADAL" clId="{732483C3-CB0C-4598-9DB1-778FE3877DE7}" dt="2022-02-16T13:53:21.334" v="1900" actId="14100"/>
        <pc:sldMkLst>
          <pc:docMk/>
          <pc:sldMk cId="724457052" sldId="611"/>
        </pc:sldMkLst>
        <pc:spChg chg="mod">
          <ac:chgData name="Thomas Stensitzki" userId="75cafe6b-2f2a-469b-85c4-eec3b9c972ba" providerId="ADAL" clId="{732483C3-CB0C-4598-9DB1-778FE3877DE7}" dt="2022-02-16T13:53:21.334" v="1900" actId="14100"/>
          <ac:spMkLst>
            <pc:docMk/>
            <pc:sldMk cId="724457052" sldId="611"/>
            <ac:spMk id="2" creationId="{909DC09D-B9A6-4493-9A72-1CA7ECB1F5CA}"/>
          </ac:spMkLst>
        </pc:spChg>
      </pc:sldChg>
      <pc:sldChg chg="modSp add mod ord">
        <pc:chgData name="Thomas Stensitzki" userId="75cafe6b-2f2a-469b-85c4-eec3b9c972ba" providerId="ADAL" clId="{732483C3-CB0C-4598-9DB1-778FE3877DE7}" dt="2022-02-16T13:53:40.903" v="1905" actId="14100"/>
        <pc:sldMkLst>
          <pc:docMk/>
          <pc:sldMk cId="1451652416" sldId="612"/>
        </pc:sldMkLst>
        <pc:spChg chg="mod">
          <ac:chgData name="Thomas Stensitzki" userId="75cafe6b-2f2a-469b-85c4-eec3b9c972ba" providerId="ADAL" clId="{732483C3-CB0C-4598-9DB1-778FE3877DE7}" dt="2022-02-16T13:53:40.903" v="1905" actId="14100"/>
          <ac:spMkLst>
            <pc:docMk/>
            <pc:sldMk cId="1451652416" sldId="612"/>
            <ac:spMk id="2" creationId="{909DC09D-B9A6-4493-9A72-1CA7ECB1F5CA}"/>
          </ac:spMkLst>
        </pc:spChg>
      </pc:sldChg>
      <pc:sldChg chg="modSp add mod ord">
        <pc:chgData name="Thomas Stensitzki" userId="75cafe6b-2f2a-469b-85c4-eec3b9c972ba" providerId="ADAL" clId="{732483C3-CB0C-4598-9DB1-778FE3877DE7}" dt="2022-02-16T13:54:02.279" v="1911" actId="1076"/>
        <pc:sldMkLst>
          <pc:docMk/>
          <pc:sldMk cId="1471743522" sldId="613"/>
        </pc:sldMkLst>
        <pc:spChg chg="mod">
          <ac:chgData name="Thomas Stensitzki" userId="75cafe6b-2f2a-469b-85c4-eec3b9c972ba" providerId="ADAL" clId="{732483C3-CB0C-4598-9DB1-778FE3877DE7}" dt="2022-02-16T13:54:02.279" v="1911" actId="1076"/>
          <ac:spMkLst>
            <pc:docMk/>
            <pc:sldMk cId="1471743522" sldId="613"/>
            <ac:spMk id="2" creationId="{909DC09D-B9A6-4493-9A72-1CA7ECB1F5CA}"/>
          </ac:spMkLst>
        </pc:spChg>
      </pc:sldChg>
    </pc:docChg>
  </pc:docChgLst>
  <pc:docChgLst>
    <pc:chgData name="colschewski@spirit21.com" userId="S::urn:spo:guest#colschewski@spirit21.com::" providerId="AD" clId="Web-{245D9126-0BA1-1582-AA06-BA43866B0985}"/>
    <pc:docChg chg="modSld">
      <pc:chgData name="colschewski@spirit21.com" userId="S::urn:spo:guest#colschewski@spirit21.com::" providerId="AD" clId="Web-{245D9126-0BA1-1582-AA06-BA43866B0985}" dt="2023-05-22T16:28:14.348" v="18" actId="14100"/>
      <pc:docMkLst>
        <pc:docMk/>
      </pc:docMkLst>
      <pc:sldChg chg="addSp delSp modSp">
        <pc:chgData name="colschewski@spirit21.com" userId="S::urn:spo:guest#colschewski@spirit21.com::" providerId="AD" clId="Web-{245D9126-0BA1-1582-AA06-BA43866B0985}" dt="2023-05-22T09:28:15.331" v="16" actId="1076"/>
        <pc:sldMkLst>
          <pc:docMk/>
          <pc:sldMk cId="1545829058" sldId="259"/>
        </pc:sldMkLst>
        <pc:picChg chg="add del mod">
          <ac:chgData name="colschewski@spirit21.com" userId="S::urn:spo:guest#colschewski@spirit21.com::" providerId="AD" clId="Web-{245D9126-0BA1-1582-AA06-BA43866B0985}" dt="2023-05-22T09:26:53.047" v="2"/>
          <ac:picMkLst>
            <pc:docMk/>
            <pc:sldMk cId="1545829058" sldId="259"/>
            <ac:picMk id="3" creationId="{31255597-D9E5-72FB-F601-FCE9A2CB3240}"/>
          </ac:picMkLst>
        </pc:picChg>
        <pc:picChg chg="add mod">
          <ac:chgData name="colschewski@spirit21.com" userId="S::urn:spo:guest#colschewski@spirit21.com::" providerId="AD" clId="Web-{245D9126-0BA1-1582-AA06-BA43866B0985}" dt="2023-05-22T09:28:15.331" v="16" actId="1076"/>
          <ac:picMkLst>
            <pc:docMk/>
            <pc:sldMk cId="1545829058" sldId="259"/>
            <ac:picMk id="4" creationId="{975DA8F4-571A-B180-DCD8-5F4B02C2D3D3}"/>
          </ac:picMkLst>
        </pc:picChg>
      </pc:sldChg>
      <pc:sldChg chg="addSp delSp modSp">
        <pc:chgData name="colschewski@spirit21.com" userId="S::urn:spo:guest#colschewski@spirit21.com::" providerId="AD" clId="Web-{245D9126-0BA1-1582-AA06-BA43866B0985}" dt="2023-05-22T09:27:21.032" v="9"/>
        <pc:sldMkLst>
          <pc:docMk/>
          <pc:sldMk cId="2553020497" sldId="660"/>
        </pc:sldMkLst>
        <pc:picChg chg="add del mod">
          <ac:chgData name="colschewski@spirit21.com" userId="S::urn:spo:guest#colschewski@spirit21.com::" providerId="AD" clId="Web-{245D9126-0BA1-1582-AA06-BA43866B0985}" dt="2023-05-22T09:27:21.032" v="9"/>
          <ac:picMkLst>
            <pc:docMk/>
            <pc:sldMk cId="2553020497" sldId="660"/>
            <ac:picMk id="3" creationId="{FA9042CB-4A0B-1292-E96E-4966FF110A79}"/>
          </ac:picMkLst>
        </pc:picChg>
      </pc:sldChg>
      <pc:sldChg chg="modSp">
        <pc:chgData name="colschewski@spirit21.com" userId="S::urn:spo:guest#colschewski@spirit21.com::" providerId="AD" clId="Web-{245D9126-0BA1-1582-AA06-BA43866B0985}" dt="2023-05-22T16:28:14.348" v="18" actId="14100"/>
        <pc:sldMkLst>
          <pc:docMk/>
          <pc:sldMk cId="3802477703" sldId="667"/>
        </pc:sldMkLst>
        <pc:picChg chg="mod">
          <ac:chgData name="colschewski@spirit21.com" userId="S::urn:spo:guest#colschewski@spirit21.com::" providerId="AD" clId="Web-{245D9126-0BA1-1582-AA06-BA43866B0985}" dt="2023-05-22T16:28:14.348" v="18" actId="14100"/>
          <ac:picMkLst>
            <pc:docMk/>
            <pc:sldMk cId="3802477703" sldId="667"/>
            <ac:picMk id="5" creationId="{59007772-8755-0B09-0B61-A2C5D858E370}"/>
          </ac:picMkLst>
        </pc:picChg>
      </pc:sldChg>
    </pc:docChg>
  </pc:docChgLst>
  <pc:docChgLst>
    <pc:chgData name="Thomas Stensitzki" userId="75cafe6b-2f2a-469b-85c4-eec3b9c972ba" providerId="ADAL" clId="{38265734-310D-45C8-99C3-9326DBD1A9F5}"/>
    <pc:docChg chg="undo custSel addSld delSld modSld modSection">
      <pc:chgData name="Thomas Stensitzki" userId="75cafe6b-2f2a-469b-85c4-eec3b9c972ba" providerId="ADAL" clId="{38265734-310D-45C8-99C3-9326DBD1A9F5}" dt="2023-07-08T10:54:33.915" v="1765" actId="6549"/>
      <pc:docMkLst>
        <pc:docMk/>
      </pc:docMkLst>
      <pc:sldChg chg="modSp mod modTransition">
        <pc:chgData name="Thomas Stensitzki" userId="75cafe6b-2f2a-469b-85c4-eec3b9c972ba" providerId="ADAL" clId="{38265734-310D-45C8-99C3-9326DBD1A9F5}" dt="2023-07-06T09:12:47.870" v="1675"/>
        <pc:sldMkLst>
          <pc:docMk/>
          <pc:sldMk cId="671489701" sldId="256"/>
        </pc:sldMkLst>
        <pc:spChg chg="mod">
          <ac:chgData name="Thomas Stensitzki" userId="75cafe6b-2f2a-469b-85c4-eec3b9c972ba" providerId="ADAL" clId="{38265734-310D-45C8-99C3-9326DBD1A9F5}" dt="2023-07-04T17:08:41.380" v="10" actId="6549"/>
          <ac:spMkLst>
            <pc:docMk/>
            <pc:sldMk cId="671489701" sldId="256"/>
            <ac:spMk id="3" creationId="{CBA95633-B02D-4A15-A8B1-A38E0A70FD27}"/>
          </ac:spMkLst>
        </pc:spChg>
      </pc:sldChg>
      <pc:sldChg chg="modSp mod modTransition">
        <pc:chgData name="Thomas Stensitzki" userId="75cafe6b-2f2a-469b-85c4-eec3b9c972ba" providerId="ADAL" clId="{38265734-310D-45C8-99C3-9326DBD1A9F5}" dt="2023-07-06T09:12:47.870" v="1675"/>
        <pc:sldMkLst>
          <pc:docMk/>
          <pc:sldMk cId="2855324227" sldId="257"/>
        </pc:sldMkLst>
        <pc:graphicFrameChg chg="mod modGraphic">
          <ac:chgData name="Thomas Stensitzki" userId="75cafe6b-2f2a-469b-85c4-eec3b9c972ba" providerId="ADAL" clId="{38265734-310D-45C8-99C3-9326DBD1A9F5}" dt="2023-07-04T17:09:44.498" v="30" actId="6549"/>
          <ac:graphicFrameMkLst>
            <pc:docMk/>
            <pc:sldMk cId="2855324227" sldId="257"/>
            <ac:graphicFrameMk id="6" creationId="{0F955DCC-462D-431D-BBDE-26F10687D590}"/>
          </ac:graphicFrameMkLst>
        </pc:graphicFrameChg>
      </pc:sldChg>
      <pc:sldChg chg="modSp mod modTransition">
        <pc:chgData name="Thomas Stensitzki" userId="75cafe6b-2f2a-469b-85c4-eec3b9c972ba" providerId="ADAL" clId="{38265734-310D-45C8-99C3-9326DBD1A9F5}" dt="2023-07-06T11:47:33.810" v="1762" actId="20577"/>
        <pc:sldMkLst>
          <pc:docMk/>
          <pc:sldMk cId="3332792154" sldId="258"/>
        </pc:sldMkLst>
        <pc:spChg chg="mod">
          <ac:chgData name="Thomas Stensitzki" userId="75cafe6b-2f2a-469b-85c4-eec3b9c972ba" providerId="ADAL" clId="{38265734-310D-45C8-99C3-9326DBD1A9F5}" dt="2023-07-06T11:47:33.810" v="1762" actId="20577"/>
          <ac:spMkLst>
            <pc:docMk/>
            <pc:sldMk cId="3332792154" sldId="258"/>
            <ac:spMk id="3" creationId="{3A5A44EB-7FB9-473A-8ED3-C49DDD2E65AB}"/>
          </ac:spMkLst>
        </pc:spChg>
      </pc:sldChg>
      <pc:sldChg chg="del">
        <pc:chgData name="Thomas Stensitzki" userId="75cafe6b-2f2a-469b-85c4-eec3b9c972ba" providerId="ADAL" clId="{38265734-310D-45C8-99C3-9326DBD1A9F5}" dt="2023-07-04T17:08:46.061" v="11" actId="47"/>
        <pc:sldMkLst>
          <pc:docMk/>
          <pc:sldMk cId="1545829058" sldId="259"/>
        </pc:sldMkLst>
      </pc:sldChg>
      <pc:sldChg chg="modSp mod modTransition">
        <pc:chgData name="Thomas Stensitzki" userId="75cafe6b-2f2a-469b-85c4-eec3b9c972ba" providerId="ADAL" clId="{38265734-310D-45C8-99C3-9326DBD1A9F5}" dt="2023-07-06T09:12:47.870" v="1675"/>
        <pc:sldMkLst>
          <pc:docMk/>
          <pc:sldMk cId="2698998357" sldId="260"/>
        </pc:sldMkLst>
        <pc:spChg chg="mod">
          <ac:chgData name="Thomas Stensitzki" userId="75cafe6b-2f2a-469b-85c4-eec3b9c972ba" providerId="ADAL" clId="{38265734-310D-45C8-99C3-9326DBD1A9F5}" dt="2023-07-04T17:09:58.627" v="33"/>
          <ac:spMkLst>
            <pc:docMk/>
            <pc:sldMk cId="2698998357" sldId="260"/>
            <ac:spMk id="4" creationId="{F3A15CBD-C746-44A3-A4F0-4898CE2F02E6}"/>
          </ac:spMkLst>
        </pc:spChg>
        <pc:spChg chg="mod">
          <ac:chgData name="Thomas Stensitzki" userId="75cafe6b-2f2a-469b-85c4-eec3b9c972ba" providerId="ADAL" clId="{38265734-310D-45C8-99C3-9326DBD1A9F5}" dt="2023-07-04T17:10:01.931" v="34" actId="20577"/>
          <ac:spMkLst>
            <pc:docMk/>
            <pc:sldMk cId="2698998357" sldId="260"/>
            <ac:spMk id="5" creationId="{F3459BE7-1731-4733-A912-12977C68CFD6}"/>
          </ac:spMkLst>
        </pc:spChg>
        <pc:picChg chg="mod">
          <ac:chgData name="Thomas Stensitzki" userId="75cafe6b-2f2a-469b-85c4-eec3b9c972ba" providerId="ADAL" clId="{38265734-310D-45C8-99C3-9326DBD1A9F5}" dt="2023-07-04T17:09:54.605" v="32" actId="1076"/>
          <ac:picMkLst>
            <pc:docMk/>
            <pc:sldMk cId="2698998357" sldId="260"/>
            <ac:picMk id="2" creationId="{2D4F20BA-957A-E4A8-5973-4395A784304B}"/>
          </ac:picMkLst>
        </pc:picChg>
      </pc:sldChg>
      <pc:sldChg chg="modSp mod modTransition">
        <pc:chgData name="Thomas Stensitzki" userId="75cafe6b-2f2a-469b-85c4-eec3b9c972ba" providerId="ADAL" clId="{38265734-310D-45C8-99C3-9326DBD1A9F5}" dt="2023-07-08T10:54:33.915" v="1765" actId="6549"/>
        <pc:sldMkLst>
          <pc:docMk/>
          <pc:sldMk cId="4007670073" sldId="268"/>
        </pc:sldMkLst>
        <pc:spChg chg="mod">
          <ac:chgData name="Thomas Stensitzki" userId="75cafe6b-2f2a-469b-85c4-eec3b9c972ba" providerId="ADAL" clId="{38265734-310D-45C8-99C3-9326DBD1A9F5}" dt="2023-07-08T10:54:33.915" v="1765" actId="6549"/>
          <ac:spMkLst>
            <pc:docMk/>
            <pc:sldMk cId="4007670073" sldId="268"/>
            <ac:spMk id="5" creationId="{F3459BE7-1731-4733-A912-12977C68CFD6}"/>
          </ac:spMkLst>
        </pc:spChg>
      </pc:sldChg>
      <pc:sldChg chg="modTransition">
        <pc:chgData name="Thomas Stensitzki" userId="75cafe6b-2f2a-469b-85c4-eec3b9c972ba" providerId="ADAL" clId="{38265734-310D-45C8-99C3-9326DBD1A9F5}" dt="2023-07-06T09:12:47.870" v="1675"/>
        <pc:sldMkLst>
          <pc:docMk/>
          <pc:sldMk cId="2721051844" sldId="269"/>
        </pc:sldMkLst>
      </pc:sldChg>
      <pc:sldChg chg="mod modTransition modShow">
        <pc:chgData name="Thomas Stensitzki" userId="75cafe6b-2f2a-469b-85c4-eec3b9c972ba" providerId="ADAL" clId="{38265734-310D-45C8-99C3-9326DBD1A9F5}" dt="2023-07-06T09:12:47.870" v="1675"/>
        <pc:sldMkLst>
          <pc:docMk/>
          <pc:sldMk cId="1928334901" sldId="295"/>
        </pc:sldMkLst>
      </pc:sldChg>
      <pc:sldChg chg="modTransition">
        <pc:chgData name="Thomas Stensitzki" userId="75cafe6b-2f2a-469b-85c4-eec3b9c972ba" providerId="ADAL" clId="{38265734-310D-45C8-99C3-9326DBD1A9F5}" dt="2023-07-06T09:12:47.870" v="1675"/>
        <pc:sldMkLst>
          <pc:docMk/>
          <pc:sldMk cId="2814967912" sldId="311"/>
        </pc:sldMkLst>
      </pc:sldChg>
      <pc:sldChg chg="modSp mod modTransition">
        <pc:chgData name="Thomas Stensitzki" userId="75cafe6b-2f2a-469b-85c4-eec3b9c972ba" providerId="ADAL" clId="{38265734-310D-45C8-99C3-9326DBD1A9F5}" dt="2023-07-06T09:12:47.870" v="1675"/>
        <pc:sldMkLst>
          <pc:docMk/>
          <pc:sldMk cId="2227487991" sldId="378"/>
        </pc:sldMkLst>
        <pc:spChg chg="mod">
          <ac:chgData name="Thomas Stensitzki" userId="75cafe6b-2f2a-469b-85c4-eec3b9c972ba" providerId="ADAL" clId="{38265734-310D-45C8-99C3-9326DBD1A9F5}" dt="2023-07-04T17:40:07.424" v="871"/>
          <ac:spMkLst>
            <pc:docMk/>
            <pc:sldMk cId="2227487991" sldId="378"/>
            <ac:spMk id="5" creationId="{C24DACB5-1BEC-4C86-9652-BAFD8DE56FEF}"/>
          </ac:spMkLst>
        </pc:spChg>
      </pc:sldChg>
      <pc:sldChg chg="modTransition">
        <pc:chgData name="Thomas Stensitzki" userId="75cafe6b-2f2a-469b-85c4-eec3b9c972ba" providerId="ADAL" clId="{38265734-310D-45C8-99C3-9326DBD1A9F5}" dt="2023-07-06T09:12:47.870" v="1675"/>
        <pc:sldMkLst>
          <pc:docMk/>
          <pc:sldMk cId="2923837414" sldId="513"/>
        </pc:sldMkLst>
      </pc:sldChg>
      <pc:sldChg chg="modTransition">
        <pc:chgData name="Thomas Stensitzki" userId="75cafe6b-2f2a-469b-85c4-eec3b9c972ba" providerId="ADAL" clId="{38265734-310D-45C8-99C3-9326DBD1A9F5}" dt="2023-07-06T09:12:47.870" v="1675"/>
        <pc:sldMkLst>
          <pc:docMk/>
          <pc:sldMk cId="2395924320" sldId="514"/>
        </pc:sldMkLst>
      </pc:sldChg>
      <pc:sldChg chg="modSp mod modTransition">
        <pc:chgData name="Thomas Stensitzki" userId="75cafe6b-2f2a-469b-85c4-eec3b9c972ba" providerId="ADAL" clId="{38265734-310D-45C8-99C3-9326DBD1A9F5}" dt="2023-07-06T09:12:47.870" v="1675"/>
        <pc:sldMkLst>
          <pc:docMk/>
          <pc:sldMk cId="3797754622" sldId="515"/>
        </pc:sldMkLst>
        <pc:spChg chg="mod">
          <ac:chgData name="Thomas Stensitzki" userId="75cafe6b-2f2a-469b-85c4-eec3b9c972ba" providerId="ADAL" clId="{38265734-310D-45C8-99C3-9326DBD1A9F5}" dt="2023-07-04T17:39:04.364" v="861"/>
          <ac:spMkLst>
            <pc:docMk/>
            <pc:sldMk cId="3797754622" sldId="515"/>
            <ac:spMk id="5" creationId="{C24DACB5-1BEC-4C86-9652-BAFD8DE56FEF}"/>
          </ac:spMkLst>
        </pc:spChg>
      </pc:sldChg>
      <pc:sldChg chg="mod modTransition modShow">
        <pc:chgData name="Thomas Stensitzki" userId="75cafe6b-2f2a-469b-85c4-eec3b9c972ba" providerId="ADAL" clId="{38265734-310D-45C8-99C3-9326DBD1A9F5}" dt="2023-07-06T11:47:43.961" v="1763" actId="729"/>
        <pc:sldMkLst>
          <pc:docMk/>
          <pc:sldMk cId="2791634409" sldId="560"/>
        </pc:sldMkLst>
      </pc:sldChg>
      <pc:sldChg chg="modTransition">
        <pc:chgData name="Thomas Stensitzki" userId="75cafe6b-2f2a-469b-85c4-eec3b9c972ba" providerId="ADAL" clId="{38265734-310D-45C8-99C3-9326DBD1A9F5}" dt="2023-07-06T09:12:47.870" v="1675"/>
        <pc:sldMkLst>
          <pc:docMk/>
          <pc:sldMk cId="1051205786" sldId="607"/>
        </pc:sldMkLst>
      </pc:sldChg>
      <pc:sldChg chg="modSp mod modTransition">
        <pc:chgData name="Thomas Stensitzki" userId="75cafe6b-2f2a-469b-85c4-eec3b9c972ba" providerId="ADAL" clId="{38265734-310D-45C8-99C3-9326DBD1A9F5}" dt="2023-07-06T09:12:47.870" v="1675"/>
        <pc:sldMkLst>
          <pc:docMk/>
          <pc:sldMk cId="1962477249" sldId="659"/>
        </pc:sldMkLst>
        <pc:spChg chg="mod">
          <ac:chgData name="Thomas Stensitzki" userId="75cafe6b-2f2a-469b-85c4-eec3b9c972ba" providerId="ADAL" clId="{38265734-310D-45C8-99C3-9326DBD1A9F5}" dt="2023-07-04T17:10:33.335" v="38" actId="6549"/>
          <ac:spMkLst>
            <pc:docMk/>
            <pc:sldMk cId="1962477249" sldId="659"/>
            <ac:spMk id="5" creationId="{F3459BE7-1731-4733-A912-12977C68CFD6}"/>
          </ac:spMkLst>
        </pc:spChg>
      </pc:sldChg>
      <pc:sldChg chg="modSp mod modTransition">
        <pc:chgData name="Thomas Stensitzki" userId="75cafe6b-2f2a-469b-85c4-eec3b9c972ba" providerId="ADAL" clId="{38265734-310D-45C8-99C3-9326DBD1A9F5}" dt="2023-07-06T09:12:47.870" v="1675"/>
        <pc:sldMkLst>
          <pc:docMk/>
          <pc:sldMk cId="4212332529" sldId="661"/>
        </pc:sldMkLst>
        <pc:spChg chg="mod">
          <ac:chgData name="Thomas Stensitzki" userId="75cafe6b-2f2a-469b-85c4-eec3b9c972ba" providerId="ADAL" clId="{38265734-310D-45C8-99C3-9326DBD1A9F5}" dt="2023-07-04T17:11:35.736" v="51" actId="20577"/>
          <ac:spMkLst>
            <pc:docMk/>
            <pc:sldMk cId="4212332529" sldId="661"/>
            <ac:spMk id="4" creationId="{F3A15CBD-C746-44A3-A4F0-4898CE2F02E6}"/>
          </ac:spMkLst>
        </pc:spChg>
        <pc:spChg chg="mod">
          <ac:chgData name="Thomas Stensitzki" userId="75cafe6b-2f2a-469b-85c4-eec3b9c972ba" providerId="ADAL" clId="{38265734-310D-45C8-99C3-9326DBD1A9F5}" dt="2023-07-04T17:11:38.527" v="52" actId="6549"/>
          <ac:spMkLst>
            <pc:docMk/>
            <pc:sldMk cId="4212332529" sldId="661"/>
            <ac:spMk id="5" creationId="{F3459BE7-1731-4733-A912-12977C68CFD6}"/>
          </ac:spMkLst>
        </pc:spChg>
      </pc:sldChg>
      <pc:sldChg chg="del">
        <pc:chgData name="Thomas Stensitzki" userId="75cafe6b-2f2a-469b-85c4-eec3b9c972ba" providerId="ADAL" clId="{38265734-310D-45C8-99C3-9326DBD1A9F5}" dt="2023-07-04T17:10:52.056" v="41" actId="47"/>
        <pc:sldMkLst>
          <pc:docMk/>
          <pc:sldMk cId="3400462124" sldId="662"/>
        </pc:sldMkLst>
      </pc:sldChg>
      <pc:sldChg chg="del">
        <pc:chgData name="Thomas Stensitzki" userId="75cafe6b-2f2a-469b-85c4-eec3b9c972ba" providerId="ADAL" clId="{38265734-310D-45C8-99C3-9326DBD1A9F5}" dt="2023-07-04T17:10:42.016" v="39" actId="47"/>
        <pc:sldMkLst>
          <pc:docMk/>
          <pc:sldMk cId="3908660988" sldId="663"/>
        </pc:sldMkLst>
      </pc:sldChg>
      <pc:sldChg chg="del">
        <pc:chgData name="Thomas Stensitzki" userId="75cafe6b-2f2a-469b-85c4-eec3b9c972ba" providerId="ADAL" clId="{38265734-310D-45C8-99C3-9326DBD1A9F5}" dt="2023-07-04T17:10:47.896" v="40" actId="47"/>
        <pc:sldMkLst>
          <pc:docMk/>
          <pc:sldMk cId="1830824739" sldId="664"/>
        </pc:sldMkLst>
      </pc:sldChg>
      <pc:sldChg chg="del">
        <pc:chgData name="Thomas Stensitzki" userId="75cafe6b-2f2a-469b-85c4-eec3b9c972ba" providerId="ADAL" clId="{38265734-310D-45C8-99C3-9326DBD1A9F5}" dt="2023-07-04T17:10:42.016" v="39" actId="47"/>
        <pc:sldMkLst>
          <pc:docMk/>
          <pc:sldMk cId="923570546" sldId="665"/>
        </pc:sldMkLst>
      </pc:sldChg>
      <pc:sldChg chg="del">
        <pc:chgData name="Thomas Stensitzki" userId="75cafe6b-2f2a-469b-85c4-eec3b9c972ba" providerId="ADAL" clId="{38265734-310D-45C8-99C3-9326DBD1A9F5}" dt="2023-07-04T17:10:52.056" v="41" actId="47"/>
        <pc:sldMkLst>
          <pc:docMk/>
          <pc:sldMk cId="2929133666" sldId="666"/>
        </pc:sldMkLst>
      </pc:sldChg>
      <pc:sldChg chg="del">
        <pc:chgData name="Thomas Stensitzki" userId="75cafe6b-2f2a-469b-85c4-eec3b9c972ba" providerId="ADAL" clId="{38265734-310D-45C8-99C3-9326DBD1A9F5}" dt="2023-07-04T17:10:42.016" v="39" actId="47"/>
        <pc:sldMkLst>
          <pc:docMk/>
          <pc:sldMk cId="3802477703" sldId="667"/>
        </pc:sldMkLst>
      </pc:sldChg>
      <pc:sldChg chg="del">
        <pc:chgData name="Thomas Stensitzki" userId="75cafe6b-2f2a-469b-85c4-eec3b9c972ba" providerId="ADAL" clId="{38265734-310D-45C8-99C3-9326DBD1A9F5}" dt="2023-07-04T17:10:42.016" v="39" actId="47"/>
        <pc:sldMkLst>
          <pc:docMk/>
          <pc:sldMk cId="1650060701" sldId="668"/>
        </pc:sldMkLst>
      </pc:sldChg>
      <pc:sldChg chg="del">
        <pc:chgData name="Thomas Stensitzki" userId="75cafe6b-2f2a-469b-85c4-eec3b9c972ba" providerId="ADAL" clId="{38265734-310D-45C8-99C3-9326DBD1A9F5}" dt="2023-07-04T17:10:42.016" v="39" actId="47"/>
        <pc:sldMkLst>
          <pc:docMk/>
          <pc:sldMk cId="3682317345" sldId="670"/>
        </pc:sldMkLst>
      </pc:sldChg>
      <pc:sldChg chg="del">
        <pc:chgData name="Thomas Stensitzki" userId="75cafe6b-2f2a-469b-85c4-eec3b9c972ba" providerId="ADAL" clId="{38265734-310D-45C8-99C3-9326DBD1A9F5}" dt="2023-07-04T17:10:42.016" v="39" actId="47"/>
        <pc:sldMkLst>
          <pc:docMk/>
          <pc:sldMk cId="2047617742" sldId="671"/>
        </pc:sldMkLst>
      </pc:sldChg>
      <pc:sldChg chg="del">
        <pc:chgData name="Thomas Stensitzki" userId="75cafe6b-2f2a-469b-85c4-eec3b9c972ba" providerId="ADAL" clId="{38265734-310D-45C8-99C3-9326DBD1A9F5}" dt="2023-07-04T17:10:27.373" v="36" actId="47"/>
        <pc:sldMkLst>
          <pc:docMk/>
          <pc:sldMk cId="3858958038" sldId="672"/>
        </pc:sldMkLst>
      </pc:sldChg>
      <pc:sldChg chg="del">
        <pc:chgData name="Thomas Stensitzki" userId="75cafe6b-2f2a-469b-85c4-eec3b9c972ba" providerId="ADAL" clId="{38265734-310D-45C8-99C3-9326DBD1A9F5}" dt="2023-07-04T17:10:13.463" v="35" actId="47"/>
        <pc:sldMkLst>
          <pc:docMk/>
          <pc:sldMk cId="3468202035" sldId="673"/>
        </pc:sldMkLst>
      </pc:sldChg>
      <pc:sldChg chg="del">
        <pc:chgData name="Thomas Stensitzki" userId="75cafe6b-2f2a-469b-85c4-eec3b9c972ba" providerId="ADAL" clId="{38265734-310D-45C8-99C3-9326DBD1A9F5}" dt="2023-07-04T17:10:13.463" v="35" actId="47"/>
        <pc:sldMkLst>
          <pc:docMk/>
          <pc:sldMk cId="2327618361" sldId="674"/>
        </pc:sldMkLst>
      </pc:sldChg>
      <pc:sldChg chg="del">
        <pc:chgData name="Thomas Stensitzki" userId="75cafe6b-2f2a-469b-85c4-eec3b9c972ba" providerId="ADAL" clId="{38265734-310D-45C8-99C3-9326DBD1A9F5}" dt="2023-07-04T17:10:13.463" v="35" actId="47"/>
        <pc:sldMkLst>
          <pc:docMk/>
          <pc:sldMk cId="1759168096" sldId="675"/>
        </pc:sldMkLst>
      </pc:sldChg>
      <pc:sldChg chg="del">
        <pc:chgData name="Thomas Stensitzki" userId="75cafe6b-2f2a-469b-85c4-eec3b9c972ba" providerId="ADAL" clId="{38265734-310D-45C8-99C3-9326DBD1A9F5}" dt="2023-07-04T17:10:13.463" v="35" actId="47"/>
        <pc:sldMkLst>
          <pc:docMk/>
          <pc:sldMk cId="1298798883" sldId="676"/>
        </pc:sldMkLst>
      </pc:sldChg>
      <pc:sldChg chg="del">
        <pc:chgData name="Thomas Stensitzki" userId="75cafe6b-2f2a-469b-85c4-eec3b9c972ba" providerId="ADAL" clId="{38265734-310D-45C8-99C3-9326DBD1A9F5}" dt="2023-07-04T17:10:13.463" v="35" actId="47"/>
        <pc:sldMkLst>
          <pc:docMk/>
          <pc:sldMk cId="3589806354" sldId="678"/>
        </pc:sldMkLst>
      </pc:sldChg>
      <pc:sldChg chg="del">
        <pc:chgData name="Thomas Stensitzki" userId="75cafe6b-2f2a-469b-85c4-eec3b9c972ba" providerId="ADAL" clId="{38265734-310D-45C8-99C3-9326DBD1A9F5}" dt="2023-07-04T17:10:13.463" v="35" actId="47"/>
        <pc:sldMkLst>
          <pc:docMk/>
          <pc:sldMk cId="3797094460" sldId="679"/>
        </pc:sldMkLst>
      </pc:sldChg>
      <pc:sldChg chg="del">
        <pc:chgData name="Thomas Stensitzki" userId="75cafe6b-2f2a-469b-85c4-eec3b9c972ba" providerId="ADAL" clId="{38265734-310D-45C8-99C3-9326DBD1A9F5}" dt="2023-07-04T17:10:13.463" v="35" actId="47"/>
        <pc:sldMkLst>
          <pc:docMk/>
          <pc:sldMk cId="3004964480" sldId="680"/>
        </pc:sldMkLst>
      </pc:sldChg>
      <pc:sldChg chg="del">
        <pc:chgData name="Thomas Stensitzki" userId="75cafe6b-2f2a-469b-85c4-eec3b9c972ba" providerId="ADAL" clId="{38265734-310D-45C8-99C3-9326DBD1A9F5}" dt="2023-07-04T17:10:13.463" v="35" actId="47"/>
        <pc:sldMkLst>
          <pc:docMk/>
          <pc:sldMk cId="2318316286" sldId="681"/>
        </pc:sldMkLst>
      </pc:sldChg>
      <pc:sldChg chg="del">
        <pc:chgData name="Thomas Stensitzki" userId="75cafe6b-2f2a-469b-85c4-eec3b9c972ba" providerId="ADAL" clId="{38265734-310D-45C8-99C3-9326DBD1A9F5}" dt="2023-07-04T17:10:13.463" v="35" actId="47"/>
        <pc:sldMkLst>
          <pc:docMk/>
          <pc:sldMk cId="4114483723" sldId="682"/>
        </pc:sldMkLst>
      </pc:sldChg>
      <pc:sldChg chg="del">
        <pc:chgData name="Thomas Stensitzki" userId="75cafe6b-2f2a-469b-85c4-eec3b9c972ba" providerId="ADAL" clId="{38265734-310D-45C8-99C3-9326DBD1A9F5}" dt="2023-07-04T17:10:27.373" v="36" actId="47"/>
        <pc:sldMkLst>
          <pc:docMk/>
          <pc:sldMk cId="3010415139" sldId="683"/>
        </pc:sldMkLst>
      </pc:sldChg>
      <pc:sldChg chg="del">
        <pc:chgData name="Thomas Stensitzki" userId="75cafe6b-2f2a-469b-85c4-eec3b9c972ba" providerId="ADAL" clId="{38265734-310D-45C8-99C3-9326DBD1A9F5}" dt="2023-07-04T17:10:27.373" v="36" actId="47"/>
        <pc:sldMkLst>
          <pc:docMk/>
          <pc:sldMk cId="1765254123" sldId="684"/>
        </pc:sldMkLst>
      </pc:sldChg>
      <pc:sldChg chg="del">
        <pc:chgData name="Thomas Stensitzki" userId="75cafe6b-2f2a-469b-85c4-eec3b9c972ba" providerId="ADAL" clId="{38265734-310D-45C8-99C3-9326DBD1A9F5}" dt="2023-07-04T17:10:27.373" v="36" actId="47"/>
        <pc:sldMkLst>
          <pc:docMk/>
          <pc:sldMk cId="1361138141" sldId="685"/>
        </pc:sldMkLst>
      </pc:sldChg>
      <pc:sldChg chg="del">
        <pc:chgData name="Thomas Stensitzki" userId="75cafe6b-2f2a-469b-85c4-eec3b9c972ba" providerId="ADAL" clId="{38265734-310D-45C8-99C3-9326DBD1A9F5}" dt="2023-07-04T17:10:13.463" v="35" actId="47"/>
        <pc:sldMkLst>
          <pc:docMk/>
          <pc:sldMk cId="1099908272" sldId="686"/>
        </pc:sldMkLst>
      </pc:sldChg>
      <pc:sldChg chg="del">
        <pc:chgData name="Thomas Stensitzki" userId="75cafe6b-2f2a-469b-85c4-eec3b9c972ba" providerId="ADAL" clId="{38265734-310D-45C8-99C3-9326DBD1A9F5}" dt="2023-07-04T17:10:27.373" v="36" actId="47"/>
        <pc:sldMkLst>
          <pc:docMk/>
          <pc:sldMk cId="2682737613" sldId="687"/>
        </pc:sldMkLst>
      </pc:sldChg>
      <pc:sldChg chg="del">
        <pc:chgData name="Thomas Stensitzki" userId="75cafe6b-2f2a-469b-85c4-eec3b9c972ba" providerId="ADAL" clId="{38265734-310D-45C8-99C3-9326DBD1A9F5}" dt="2023-07-04T17:10:27.373" v="36" actId="47"/>
        <pc:sldMkLst>
          <pc:docMk/>
          <pc:sldMk cId="2943637064" sldId="688"/>
        </pc:sldMkLst>
      </pc:sldChg>
      <pc:sldChg chg="del">
        <pc:chgData name="Thomas Stensitzki" userId="75cafe6b-2f2a-469b-85c4-eec3b9c972ba" providerId="ADAL" clId="{38265734-310D-45C8-99C3-9326DBD1A9F5}" dt="2023-07-04T17:10:27.373" v="36" actId="47"/>
        <pc:sldMkLst>
          <pc:docMk/>
          <pc:sldMk cId="4179798793" sldId="689"/>
        </pc:sldMkLst>
      </pc:sldChg>
      <pc:sldChg chg="del">
        <pc:chgData name="Thomas Stensitzki" userId="75cafe6b-2f2a-469b-85c4-eec3b9c972ba" providerId="ADAL" clId="{38265734-310D-45C8-99C3-9326DBD1A9F5}" dt="2023-07-04T17:10:27.373" v="36" actId="47"/>
        <pc:sldMkLst>
          <pc:docMk/>
          <pc:sldMk cId="3467191386" sldId="690"/>
        </pc:sldMkLst>
      </pc:sldChg>
      <pc:sldChg chg="del">
        <pc:chgData name="Thomas Stensitzki" userId="75cafe6b-2f2a-469b-85c4-eec3b9c972ba" providerId="ADAL" clId="{38265734-310D-45C8-99C3-9326DBD1A9F5}" dt="2023-07-04T17:10:27.373" v="36" actId="47"/>
        <pc:sldMkLst>
          <pc:docMk/>
          <pc:sldMk cId="3176227063" sldId="691"/>
        </pc:sldMkLst>
      </pc:sldChg>
      <pc:sldChg chg="del">
        <pc:chgData name="Thomas Stensitzki" userId="75cafe6b-2f2a-469b-85c4-eec3b9c972ba" providerId="ADAL" clId="{38265734-310D-45C8-99C3-9326DBD1A9F5}" dt="2023-07-04T17:10:27.373" v="36" actId="47"/>
        <pc:sldMkLst>
          <pc:docMk/>
          <pc:sldMk cId="2332237802" sldId="692"/>
        </pc:sldMkLst>
      </pc:sldChg>
      <pc:sldChg chg="del">
        <pc:chgData name="Thomas Stensitzki" userId="75cafe6b-2f2a-469b-85c4-eec3b9c972ba" providerId="ADAL" clId="{38265734-310D-45C8-99C3-9326DBD1A9F5}" dt="2023-07-04T17:10:27.373" v="36" actId="47"/>
        <pc:sldMkLst>
          <pc:docMk/>
          <pc:sldMk cId="452218326" sldId="693"/>
        </pc:sldMkLst>
      </pc:sldChg>
      <pc:sldChg chg="del">
        <pc:chgData name="Thomas Stensitzki" userId="75cafe6b-2f2a-469b-85c4-eec3b9c972ba" providerId="ADAL" clId="{38265734-310D-45C8-99C3-9326DBD1A9F5}" dt="2023-07-04T17:10:27.373" v="36" actId="47"/>
        <pc:sldMkLst>
          <pc:docMk/>
          <pc:sldMk cId="1161338400" sldId="694"/>
        </pc:sldMkLst>
      </pc:sldChg>
      <pc:sldChg chg="del">
        <pc:chgData name="Thomas Stensitzki" userId="75cafe6b-2f2a-469b-85c4-eec3b9c972ba" providerId="ADAL" clId="{38265734-310D-45C8-99C3-9326DBD1A9F5}" dt="2023-07-04T17:10:27.373" v="36" actId="47"/>
        <pc:sldMkLst>
          <pc:docMk/>
          <pc:sldMk cId="3643256137" sldId="695"/>
        </pc:sldMkLst>
      </pc:sldChg>
      <pc:sldChg chg="del">
        <pc:chgData name="Thomas Stensitzki" userId="75cafe6b-2f2a-469b-85c4-eec3b9c972ba" providerId="ADAL" clId="{38265734-310D-45C8-99C3-9326DBD1A9F5}" dt="2023-07-04T17:10:27.373" v="36" actId="47"/>
        <pc:sldMkLst>
          <pc:docMk/>
          <pc:sldMk cId="3372974903" sldId="696"/>
        </pc:sldMkLst>
      </pc:sldChg>
      <pc:sldChg chg="del">
        <pc:chgData name="Thomas Stensitzki" userId="75cafe6b-2f2a-469b-85c4-eec3b9c972ba" providerId="ADAL" clId="{38265734-310D-45C8-99C3-9326DBD1A9F5}" dt="2023-07-04T17:10:13.463" v="35" actId="47"/>
        <pc:sldMkLst>
          <pc:docMk/>
          <pc:sldMk cId="374091465" sldId="697"/>
        </pc:sldMkLst>
      </pc:sldChg>
      <pc:sldChg chg="del">
        <pc:chgData name="Thomas Stensitzki" userId="75cafe6b-2f2a-469b-85c4-eec3b9c972ba" providerId="ADAL" clId="{38265734-310D-45C8-99C3-9326DBD1A9F5}" dt="2023-07-04T17:10:13.463" v="35" actId="47"/>
        <pc:sldMkLst>
          <pc:docMk/>
          <pc:sldMk cId="4258120031" sldId="698"/>
        </pc:sldMkLst>
      </pc:sldChg>
      <pc:sldChg chg="del">
        <pc:chgData name="Thomas Stensitzki" userId="75cafe6b-2f2a-469b-85c4-eec3b9c972ba" providerId="ADAL" clId="{38265734-310D-45C8-99C3-9326DBD1A9F5}" dt="2023-07-04T17:10:13.463" v="35" actId="47"/>
        <pc:sldMkLst>
          <pc:docMk/>
          <pc:sldMk cId="2743116939" sldId="699"/>
        </pc:sldMkLst>
      </pc:sldChg>
      <pc:sldChg chg="del">
        <pc:chgData name="Thomas Stensitzki" userId="75cafe6b-2f2a-469b-85c4-eec3b9c972ba" providerId="ADAL" clId="{38265734-310D-45C8-99C3-9326DBD1A9F5}" dt="2023-07-04T17:10:13.463" v="35" actId="47"/>
        <pc:sldMkLst>
          <pc:docMk/>
          <pc:sldMk cId="1230148335" sldId="700"/>
        </pc:sldMkLst>
      </pc:sldChg>
      <pc:sldChg chg="del">
        <pc:chgData name="Thomas Stensitzki" userId="75cafe6b-2f2a-469b-85c4-eec3b9c972ba" providerId="ADAL" clId="{38265734-310D-45C8-99C3-9326DBD1A9F5}" dt="2023-07-04T17:10:27.373" v="36" actId="47"/>
        <pc:sldMkLst>
          <pc:docMk/>
          <pc:sldMk cId="3896402637" sldId="701"/>
        </pc:sldMkLst>
      </pc:sldChg>
      <pc:sldChg chg="del">
        <pc:chgData name="Thomas Stensitzki" userId="75cafe6b-2f2a-469b-85c4-eec3b9c972ba" providerId="ADAL" clId="{38265734-310D-45C8-99C3-9326DBD1A9F5}" dt="2023-07-04T17:10:27.373" v="36" actId="47"/>
        <pc:sldMkLst>
          <pc:docMk/>
          <pc:sldMk cId="575615367" sldId="702"/>
        </pc:sldMkLst>
      </pc:sldChg>
      <pc:sldChg chg="del">
        <pc:chgData name="Thomas Stensitzki" userId="75cafe6b-2f2a-469b-85c4-eec3b9c972ba" providerId="ADAL" clId="{38265734-310D-45C8-99C3-9326DBD1A9F5}" dt="2023-07-04T17:10:13.463" v="35" actId="47"/>
        <pc:sldMkLst>
          <pc:docMk/>
          <pc:sldMk cId="4015570697" sldId="703"/>
        </pc:sldMkLst>
      </pc:sldChg>
      <pc:sldChg chg="del">
        <pc:chgData name="Thomas Stensitzki" userId="75cafe6b-2f2a-469b-85c4-eec3b9c972ba" providerId="ADAL" clId="{38265734-310D-45C8-99C3-9326DBD1A9F5}" dt="2023-07-04T17:10:13.463" v="35" actId="47"/>
        <pc:sldMkLst>
          <pc:docMk/>
          <pc:sldMk cId="1573460963" sldId="704"/>
        </pc:sldMkLst>
      </pc:sldChg>
      <pc:sldChg chg="del">
        <pc:chgData name="Thomas Stensitzki" userId="75cafe6b-2f2a-469b-85c4-eec3b9c972ba" providerId="ADAL" clId="{38265734-310D-45C8-99C3-9326DBD1A9F5}" dt="2023-07-04T17:10:13.463" v="35" actId="47"/>
        <pc:sldMkLst>
          <pc:docMk/>
          <pc:sldMk cId="2507653948" sldId="705"/>
        </pc:sldMkLst>
      </pc:sldChg>
      <pc:sldChg chg="del">
        <pc:chgData name="Thomas Stensitzki" userId="75cafe6b-2f2a-469b-85c4-eec3b9c972ba" providerId="ADAL" clId="{38265734-310D-45C8-99C3-9326DBD1A9F5}" dt="2023-07-04T17:10:27.373" v="36" actId="47"/>
        <pc:sldMkLst>
          <pc:docMk/>
          <pc:sldMk cId="2812659098" sldId="706"/>
        </pc:sldMkLst>
      </pc:sldChg>
      <pc:sldChg chg="del">
        <pc:chgData name="Thomas Stensitzki" userId="75cafe6b-2f2a-469b-85c4-eec3b9c972ba" providerId="ADAL" clId="{38265734-310D-45C8-99C3-9326DBD1A9F5}" dt="2023-07-04T17:10:27.373" v="36" actId="47"/>
        <pc:sldMkLst>
          <pc:docMk/>
          <pc:sldMk cId="1687698883" sldId="707"/>
        </pc:sldMkLst>
      </pc:sldChg>
      <pc:sldChg chg="del">
        <pc:chgData name="Thomas Stensitzki" userId="75cafe6b-2f2a-469b-85c4-eec3b9c972ba" providerId="ADAL" clId="{38265734-310D-45C8-99C3-9326DBD1A9F5}" dt="2023-07-04T17:10:27.373" v="36" actId="47"/>
        <pc:sldMkLst>
          <pc:docMk/>
          <pc:sldMk cId="228026287" sldId="708"/>
        </pc:sldMkLst>
      </pc:sldChg>
      <pc:sldChg chg="del">
        <pc:chgData name="Thomas Stensitzki" userId="75cafe6b-2f2a-469b-85c4-eec3b9c972ba" providerId="ADAL" clId="{38265734-310D-45C8-99C3-9326DBD1A9F5}" dt="2023-07-04T17:10:27.373" v="36" actId="47"/>
        <pc:sldMkLst>
          <pc:docMk/>
          <pc:sldMk cId="110691181" sldId="709"/>
        </pc:sldMkLst>
      </pc:sldChg>
      <pc:sldChg chg="del">
        <pc:chgData name="Thomas Stensitzki" userId="75cafe6b-2f2a-469b-85c4-eec3b9c972ba" providerId="ADAL" clId="{38265734-310D-45C8-99C3-9326DBD1A9F5}" dt="2023-07-04T17:10:27.373" v="36" actId="47"/>
        <pc:sldMkLst>
          <pc:docMk/>
          <pc:sldMk cId="548134817" sldId="710"/>
        </pc:sldMkLst>
      </pc:sldChg>
      <pc:sldChg chg="del">
        <pc:chgData name="Thomas Stensitzki" userId="75cafe6b-2f2a-469b-85c4-eec3b9c972ba" providerId="ADAL" clId="{38265734-310D-45C8-99C3-9326DBD1A9F5}" dt="2023-07-04T17:10:27.373" v="36" actId="47"/>
        <pc:sldMkLst>
          <pc:docMk/>
          <pc:sldMk cId="3364405255" sldId="711"/>
        </pc:sldMkLst>
      </pc:sldChg>
      <pc:sldChg chg="del">
        <pc:chgData name="Thomas Stensitzki" userId="75cafe6b-2f2a-469b-85c4-eec3b9c972ba" providerId="ADAL" clId="{38265734-310D-45C8-99C3-9326DBD1A9F5}" dt="2023-07-04T17:10:13.463" v="35" actId="47"/>
        <pc:sldMkLst>
          <pc:docMk/>
          <pc:sldMk cId="3869137616" sldId="712"/>
        </pc:sldMkLst>
      </pc:sldChg>
      <pc:sldChg chg="del">
        <pc:chgData name="Thomas Stensitzki" userId="75cafe6b-2f2a-469b-85c4-eec3b9c972ba" providerId="ADAL" clId="{38265734-310D-45C8-99C3-9326DBD1A9F5}" dt="2023-07-04T17:11:46.742" v="53" actId="47"/>
        <pc:sldMkLst>
          <pc:docMk/>
          <pc:sldMk cId="1812240311" sldId="713"/>
        </pc:sldMkLst>
      </pc:sldChg>
      <pc:sldChg chg="del">
        <pc:chgData name="Thomas Stensitzki" userId="75cafe6b-2f2a-469b-85c4-eec3b9c972ba" providerId="ADAL" clId="{38265734-310D-45C8-99C3-9326DBD1A9F5}" dt="2023-07-04T17:10:13.463" v="35" actId="47"/>
        <pc:sldMkLst>
          <pc:docMk/>
          <pc:sldMk cId="3493285919" sldId="714"/>
        </pc:sldMkLst>
      </pc:sldChg>
      <pc:sldChg chg="del">
        <pc:chgData name="Thomas Stensitzki" userId="75cafe6b-2f2a-469b-85c4-eec3b9c972ba" providerId="ADAL" clId="{38265734-310D-45C8-99C3-9326DBD1A9F5}" dt="2023-07-04T17:10:13.463" v="35" actId="47"/>
        <pc:sldMkLst>
          <pc:docMk/>
          <pc:sldMk cId="3096558029" sldId="715"/>
        </pc:sldMkLst>
      </pc:sldChg>
      <pc:sldChg chg="del">
        <pc:chgData name="Thomas Stensitzki" userId="75cafe6b-2f2a-469b-85c4-eec3b9c972ba" providerId="ADAL" clId="{38265734-310D-45C8-99C3-9326DBD1A9F5}" dt="2023-07-04T17:10:13.463" v="35" actId="47"/>
        <pc:sldMkLst>
          <pc:docMk/>
          <pc:sldMk cId="885506395" sldId="716"/>
        </pc:sldMkLst>
      </pc:sldChg>
      <pc:sldChg chg="del">
        <pc:chgData name="Thomas Stensitzki" userId="75cafe6b-2f2a-469b-85c4-eec3b9c972ba" providerId="ADAL" clId="{38265734-310D-45C8-99C3-9326DBD1A9F5}" dt="2023-07-04T17:10:13.463" v="35" actId="47"/>
        <pc:sldMkLst>
          <pc:docMk/>
          <pc:sldMk cId="3811181025" sldId="717"/>
        </pc:sldMkLst>
      </pc:sldChg>
      <pc:sldChg chg="del">
        <pc:chgData name="Thomas Stensitzki" userId="75cafe6b-2f2a-469b-85c4-eec3b9c972ba" providerId="ADAL" clId="{38265734-310D-45C8-99C3-9326DBD1A9F5}" dt="2023-07-04T17:10:13.463" v="35" actId="47"/>
        <pc:sldMkLst>
          <pc:docMk/>
          <pc:sldMk cId="1675618000" sldId="718"/>
        </pc:sldMkLst>
      </pc:sldChg>
      <pc:sldChg chg="del">
        <pc:chgData name="Thomas Stensitzki" userId="75cafe6b-2f2a-469b-85c4-eec3b9c972ba" providerId="ADAL" clId="{38265734-310D-45C8-99C3-9326DBD1A9F5}" dt="2023-07-04T17:10:13.463" v="35" actId="47"/>
        <pc:sldMkLst>
          <pc:docMk/>
          <pc:sldMk cId="3699936980" sldId="719"/>
        </pc:sldMkLst>
      </pc:sldChg>
      <pc:sldChg chg="del">
        <pc:chgData name="Thomas Stensitzki" userId="75cafe6b-2f2a-469b-85c4-eec3b9c972ba" providerId="ADAL" clId="{38265734-310D-45C8-99C3-9326DBD1A9F5}" dt="2023-07-04T17:10:13.463" v="35" actId="47"/>
        <pc:sldMkLst>
          <pc:docMk/>
          <pc:sldMk cId="1816139218" sldId="720"/>
        </pc:sldMkLst>
      </pc:sldChg>
      <pc:sldChg chg="del">
        <pc:chgData name="Thomas Stensitzki" userId="75cafe6b-2f2a-469b-85c4-eec3b9c972ba" providerId="ADAL" clId="{38265734-310D-45C8-99C3-9326DBD1A9F5}" dt="2023-07-04T17:10:13.463" v="35" actId="47"/>
        <pc:sldMkLst>
          <pc:docMk/>
          <pc:sldMk cId="2951801347" sldId="721"/>
        </pc:sldMkLst>
      </pc:sldChg>
      <pc:sldChg chg="del">
        <pc:chgData name="Thomas Stensitzki" userId="75cafe6b-2f2a-469b-85c4-eec3b9c972ba" providerId="ADAL" clId="{38265734-310D-45C8-99C3-9326DBD1A9F5}" dt="2023-07-04T17:10:27.373" v="36" actId="47"/>
        <pc:sldMkLst>
          <pc:docMk/>
          <pc:sldMk cId="286203048" sldId="722"/>
        </pc:sldMkLst>
      </pc:sldChg>
      <pc:sldChg chg="del">
        <pc:chgData name="Thomas Stensitzki" userId="75cafe6b-2f2a-469b-85c4-eec3b9c972ba" providerId="ADAL" clId="{38265734-310D-45C8-99C3-9326DBD1A9F5}" dt="2023-07-04T17:10:27.373" v="36" actId="47"/>
        <pc:sldMkLst>
          <pc:docMk/>
          <pc:sldMk cId="3113072159" sldId="723"/>
        </pc:sldMkLst>
      </pc:sldChg>
      <pc:sldChg chg="del">
        <pc:chgData name="Thomas Stensitzki" userId="75cafe6b-2f2a-469b-85c4-eec3b9c972ba" providerId="ADAL" clId="{38265734-310D-45C8-99C3-9326DBD1A9F5}" dt="2023-07-04T17:10:27.373" v="36" actId="47"/>
        <pc:sldMkLst>
          <pc:docMk/>
          <pc:sldMk cId="3469518411" sldId="724"/>
        </pc:sldMkLst>
      </pc:sldChg>
      <pc:sldChg chg="modTransition">
        <pc:chgData name="Thomas Stensitzki" userId="75cafe6b-2f2a-469b-85c4-eec3b9c972ba" providerId="ADAL" clId="{38265734-310D-45C8-99C3-9326DBD1A9F5}" dt="2023-07-06T09:12:47.870" v="1675"/>
        <pc:sldMkLst>
          <pc:docMk/>
          <pc:sldMk cId="1002613873" sldId="725"/>
        </pc:sldMkLst>
      </pc:sldChg>
      <pc:sldChg chg="modTransition">
        <pc:chgData name="Thomas Stensitzki" userId="75cafe6b-2f2a-469b-85c4-eec3b9c972ba" providerId="ADAL" clId="{38265734-310D-45C8-99C3-9326DBD1A9F5}" dt="2023-07-06T09:12:47.870" v="1675"/>
        <pc:sldMkLst>
          <pc:docMk/>
          <pc:sldMk cId="1629876044" sldId="726"/>
        </pc:sldMkLst>
      </pc:sldChg>
      <pc:sldChg chg="del">
        <pc:chgData name="Thomas Stensitzki" userId="75cafe6b-2f2a-469b-85c4-eec3b9c972ba" providerId="ADAL" clId="{38265734-310D-45C8-99C3-9326DBD1A9F5}" dt="2023-07-04T17:10:52.056" v="41" actId="47"/>
        <pc:sldMkLst>
          <pc:docMk/>
          <pc:sldMk cId="1727373922" sldId="727"/>
        </pc:sldMkLst>
      </pc:sldChg>
      <pc:sldChg chg="del">
        <pc:chgData name="Thomas Stensitzki" userId="75cafe6b-2f2a-469b-85c4-eec3b9c972ba" providerId="ADAL" clId="{38265734-310D-45C8-99C3-9326DBD1A9F5}" dt="2023-07-04T17:10:47.896" v="40" actId="47"/>
        <pc:sldMkLst>
          <pc:docMk/>
          <pc:sldMk cId="2980570034" sldId="728"/>
        </pc:sldMkLst>
      </pc:sldChg>
      <pc:sldChg chg="del">
        <pc:chgData name="Thomas Stensitzki" userId="75cafe6b-2f2a-469b-85c4-eec3b9c972ba" providerId="ADAL" clId="{38265734-310D-45C8-99C3-9326DBD1A9F5}" dt="2023-07-04T17:10:42.016" v="39" actId="47"/>
        <pc:sldMkLst>
          <pc:docMk/>
          <pc:sldMk cId="3577359359" sldId="729"/>
        </pc:sldMkLst>
      </pc:sldChg>
      <pc:sldChg chg="del">
        <pc:chgData name="Thomas Stensitzki" userId="75cafe6b-2f2a-469b-85c4-eec3b9c972ba" providerId="ADAL" clId="{38265734-310D-45C8-99C3-9326DBD1A9F5}" dt="2023-07-04T17:10:42.016" v="39" actId="47"/>
        <pc:sldMkLst>
          <pc:docMk/>
          <pc:sldMk cId="1502079206" sldId="730"/>
        </pc:sldMkLst>
      </pc:sldChg>
      <pc:sldChg chg="del">
        <pc:chgData name="Thomas Stensitzki" userId="75cafe6b-2f2a-469b-85c4-eec3b9c972ba" providerId="ADAL" clId="{38265734-310D-45C8-99C3-9326DBD1A9F5}" dt="2023-07-04T17:10:27.373" v="36" actId="47"/>
        <pc:sldMkLst>
          <pc:docMk/>
          <pc:sldMk cId="1769890538" sldId="731"/>
        </pc:sldMkLst>
      </pc:sldChg>
      <pc:sldChg chg="del">
        <pc:chgData name="Thomas Stensitzki" userId="75cafe6b-2f2a-469b-85c4-eec3b9c972ba" providerId="ADAL" clId="{38265734-310D-45C8-99C3-9326DBD1A9F5}" dt="2023-07-04T17:10:27.373" v="36" actId="47"/>
        <pc:sldMkLst>
          <pc:docMk/>
          <pc:sldMk cId="2791390437" sldId="732"/>
        </pc:sldMkLst>
      </pc:sldChg>
      <pc:sldChg chg="del">
        <pc:chgData name="Thomas Stensitzki" userId="75cafe6b-2f2a-469b-85c4-eec3b9c972ba" providerId="ADAL" clId="{38265734-310D-45C8-99C3-9326DBD1A9F5}" dt="2023-07-04T17:10:27.373" v="36" actId="47"/>
        <pc:sldMkLst>
          <pc:docMk/>
          <pc:sldMk cId="1361695656" sldId="733"/>
        </pc:sldMkLst>
      </pc:sldChg>
      <pc:sldChg chg="del">
        <pc:chgData name="Thomas Stensitzki" userId="75cafe6b-2f2a-469b-85c4-eec3b9c972ba" providerId="ADAL" clId="{38265734-310D-45C8-99C3-9326DBD1A9F5}" dt="2023-07-04T17:10:27.373" v="36" actId="47"/>
        <pc:sldMkLst>
          <pc:docMk/>
          <pc:sldMk cId="2251038635" sldId="734"/>
        </pc:sldMkLst>
      </pc:sldChg>
      <pc:sldChg chg="del">
        <pc:chgData name="Thomas Stensitzki" userId="75cafe6b-2f2a-469b-85c4-eec3b9c972ba" providerId="ADAL" clId="{38265734-310D-45C8-99C3-9326DBD1A9F5}" dt="2023-07-04T17:10:27.373" v="36" actId="47"/>
        <pc:sldMkLst>
          <pc:docMk/>
          <pc:sldMk cId="1632201943" sldId="735"/>
        </pc:sldMkLst>
      </pc:sldChg>
      <pc:sldChg chg="del">
        <pc:chgData name="Thomas Stensitzki" userId="75cafe6b-2f2a-469b-85c4-eec3b9c972ba" providerId="ADAL" clId="{38265734-310D-45C8-99C3-9326DBD1A9F5}" dt="2023-07-04T17:10:47.896" v="40" actId="47"/>
        <pc:sldMkLst>
          <pc:docMk/>
          <pc:sldMk cId="974887325" sldId="736"/>
        </pc:sldMkLst>
      </pc:sldChg>
      <pc:sldChg chg="del">
        <pc:chgData name="Thomas Stensitzki" userId="75cafe6b-2f2a-469b-85c4-eec3b9c972ba" providerId="ADAL" clId="{38265734-310D-45C8-99C3-9326DBD1A9F5}" dt="2023-07-04T17:10:47.896" v="40" actId="47"/>
        <pc:sldMkLst>
          <pc:docMk/>
          <pc:sldMk cId="158289274" sldId="737"/>
        </pc:sldMkLst>
      </pc:sldChg>
      <pc:sldChg chg="del">
        <pc:chgData name="Thomas Stensitzki" userId="75cafe6b-2f2a-469b-85c4-eec3b9c972ba" providerId="ADAL" clId="{38265734-310D-45C8-99C3-9326DBD1A9F5}" dt="2023-07-04T17:10:47.896" v="40" actId="47"/>
        <pc:sldMkLst>
          <pc:docMk/>
          <pc:sldMk cId="4000776221" sldId="738"/>
        </pc:sldMkLst>
      </pc:sldChg>
      <pc:sldChg chg="del">
        <pc:chgData name="Thomas Stensitzki" userId="75cafe6b-2f2a-469b-85c4-eec3b9c972ba" providerId="ADAL" clId="{38265734-310D-45C8-99C3-9326DBD1A9F5}" dt="2023-07-04T17:10:47.896" v="40" actId="47"/>
        <pc:sldMkLst>
          <pc:docMk/>
          <pc:sldMk cId="3492126300" sldId="739"/>
        </pc:sldMkLst>
      </pc:sldChg>
      <pc:sldChg chg="del">
        <pc:chgData name="Thomas Stensitzki" userId="75cafe6b-2f2a-469b-85c4-eec3b9c972ba" providerId="ADAL" clId="{38265734-310D-45C8-99C3-9326DBD1A9F5}" dt="2023-07-04T17:10:47.896" v="40" actId="47"/>
        <pc:sldMkLst>
          <pc:docMk/>
          <pc:sldMk cId="4097662530" sldId="740"/>
        </pc:sldMkLst>
      </pc:sldChg>
      <pc:sldChg chg="modTransition">
        <pc:chgData name="Thomas Stensitzki" userId="75cafe6b-2f2a-469b-85c4-eec3b9c972ba" providerId="ADAL" clId="{38265734-310D-45C8-99C3-9326DBD1A9F5}" dt="2023-07-06T09:12:47.870" v="1675"/>
        <pc:sldMkLst>
          <pc:docMk/>
          <pc:sldMk cId="980172925" sldId="741"/>
        </pc:sldMkLst>
      </pc:sldChg>
      <pc:sldChg chg="del">
        <pc:chgData name="Thomas Stensitzki" userId="75cafe6b-2f2a-469b-85c4-eec3b9c972ba" providerId="ADAL" clId="{38265734-310D-45C8-99C3-9326DBD1A9F5}" dt="2023-07-04T17:10:47.896" v="40" actId="47"/>
        <pc:sldMkLst>
          <pc:docMk/>
          <pc:sldMk cId="2087758615" sldId="742"/>
        </pc:sldMkLst>
      </pc:sldChg>
      <pc:sldChg chg="modSp new mod modTransition">
        <pc:chgData name="Thomas Stensitzki" userId="75cafe6b-2f2a-469b-85c4-eec3b9c972ba" providerId="ADAL" clId="{38265734-310D-45C8-99C3-9326DBD1A9F5}" dt="2023-07-06T09:12:47.870" v="1675"/>
        <pc:sldMkLst>
          <pc:docMk/>
          <pc:sldMk cId="3557551175" sldId="742"/>
        </pc:sldMkLst>
        <pc:spChg chg="mod">
          <ac:chgData name="Thomas Stensitzki" userId="75cafe6b-2f2a-469b-85c4-eec3b9c972ba" providerId="ADAL" clId="{38265734-310D-45C8-99C3-9326DBD1A9F5}" dt="2023-07-04T17:13:29.695" v="66" actId="20577"/>
          <ac:spMkLst>
            <pc:docMk/>
            <pc:sldMk cId="3557551175" sldId="742"/>
            <ac:spMk id="2" creationId="{25669646-BDA5-829D-CE77-6B7DEA2ECD1C}"/>
          </ac:spMkLst>
        </pc:spChg>
        <pc:spChg chg="mod">
          <ac:chgData name="Thomas Stensitzki" userId="75cafe6b-2f2a-469b-85c4-eec3b9c972ba" providerId="ADAL" clId="{38265734-310D-45C8-99C3-9326DBD1A9F5}" dt="2023-07-04T17:19:58.644" v="261" actId="6549"/>
          <ac:spMkLst>
            <pc:docMk/>
            <pc:sldMk cId="3557551175" sldId="742"/>
            <ac:spMk id="3" creationId="{A73292BD-6D4D-8DEF-24E0-3BA35B152797}"/>
          </ac:spMkLst>
        </pc:spChg>
      </pc:sldChg>
      <pc:sldChg chg="addSp modSp add mod modTransition">
        <pc:chgData name="Thomas Stensitzki" userId="75cafe6b-2f2a-469b-85c4-eec3b9c972ba" providerId="ADAL" clId="{38265734-310D-45C8-99C3-9326DBD1A9F5}" dt="2023-07-06T09:12:47.870" v="1675"/>
        <pc:sldMkLst>
          <pc:docMk/>
          <pc:sldMk cId="3417373465" sldId="743"/>
        </pc:sldMkLst>
        <pc:spChg chg="mod">
          <ac:chgData name="Thomas Stensitzki" userId="75cafe6b-2f2a-469b-85c4-eec3b9c972ba" providerId="ADAL" clId="{38265734-310D-45C8-99C3-9326DBD1A9F5}" dt="2023-07-04T17:19:52.050" v="251" actId="6549"/>
          <ac:spMkLst>
            <pc:docMk/>
            <pc:sldMk cId="3417373465" sldId="743"/>
            <ac:spMk id="3" creationId="{A73292BD-6D4D-8DEF-24E0-3BA35B152797}"/>
          </ac:spMkLst>
        </pc:spChg>
        <pc:spChg chg="add">
          <ac:chgData name="Thomas Stensitzki" userId="75cafe6b-2f2a-469b-85c4-eec3b9c972ba" providerId="ADAL" clId="{38265734-310D-45C8-99C3-9326DBD1A9F5}" dt="2023-07-04T17:24:41.148" v="428" actId="22"/>
          <ac:spMkLst>
            <pc:docMk/>
            <pc:sldMk cId="3417373465" sldId="743"/>
            <ac:spMk id="7" creationId="{94AFEE07-AB58-E317-81FD-204732E5B749}"/>
          </ac:spMkLst>
        </pc:spChg>
        <pc:picChg chg="add mod">
          <ac:chgData name="Thomas Stensitzki" userId="75cafe6b-2f2a-469b-85c4-eec3b9c972ba" providerId="ADAL" clId="{38265734-310D-45C8-99C3-9326DBD1A9F5}" dt="2023-07-04T17:19:35.511" v="235" actId="1076"/>
          <ac:picMkLst>
            <pc:docMk/>
            <pc:sldMk cId="3417373465" sldId="743"/>
            <ac:picMk id="5" creationId="{B2F9B17F-E6DD-092C-7884-0806803A1168}"/>
          </ac:picMkLst>
        </pc:picChg>
      </pc:sldChg>
      <pc:sldChg chg="modSp new mod modTransition">
        <pc:chgData name="Thomas Stensitzki" userId="75cafe6b-2f2a-469b-85c4-eec3b9c972ba" providerId="ADAL" clId="{38265734-310D-45C8-99C3-9326DBD1A9F5}" dt="2023-07-06T09:12:47.870" v="1675"/>
        <pc:sldMkLst>
          <pc:docMk/>
          <pc:sldMk cId="2876131910" sldId="744"/>
        </pc:sldMkLst>
        <pc:spChg chg="mod">
          <ac:chgData name="Thomas Stensitzki" userId="75cafe6b-2f2a-469b-85c4-eec3b9c972ba" providerId="ADAL" clId="{38265734-310D-45C8-99C3-9326DBD1A9F5}" dt="2023-07-04T17:20:59.894" v="269"/>
          <ac:spMkLst>
            <pc:docMk/>
            <pc:sldMk cId="2876131910" sldId="744"/>
            <ac:spMk id="2" creationId="{05A22D7D-30E5-D9F7-51DA-0E455A97C803}"/>
          </ac:spMkLst>
        </pc:spChg>
        <pc:spChg chg="mod">
          <ac:chgData name="Thomas Stensitzki" userId="75cafe6b-2f2a-469b-85c4-eec3b9c972ba" providerId="ADAL" clId="{38265734-310D-45C8-99C3-9326DBD1A9F5}" dt="2023-07-04T17:32:54.980" v="827" actId="20577"/>
          <ac:spMkLst>
            <pc:docMk/>
            <pc:sldMk cId="2876131910" sldId="744"/>
            <ac:spMk id="3" creationId="{69B722EA-1916-F112-CA6B-B7EC23B8BCD8}"/>
          </ac:spMkLst>
        </pc:spChg>
      </pc:sldChg>
      <pc:sldChg chg="modSp new mod modTransition">
        <pc:chgData name="Thomas Stensitzki" userId="75cafe6b-2f2a-469b-85c4-eec3b9c972ba" providerId="ADAL" clId="{38265734-310D-45C8-99C3-9326DBD1A9F5}" dt="2023-07-06T09:12:47.870" v="1675"/>
        <pc:sldMkLst>
          <pc:docMk/>
          <pc:sldMk cId="647126880" sldId="745"/>
        </pc:sldMkLst>
        <pc:spChg chg="mod">
          <ac:chgData name="Thomas Stensitzki" userId="75cafe6b-2f2a-469b-85c4-eec3b9c972ba" providerId="ADAL" clId="{38265734-310D-45C8-99C3-9326DBD1A9F5}" dt="2023-07-04T17:25:02.849" v="435"/>
          <ac:spMkLst>
            <pc:docMk/>
            <pc:sldMk cId="647126880" sldId="745"/>
            <ac:spMk id="2" creationId="{E63BCD18-CDDD-E574-9C20-75C0703A2D8D}"/>
          </ac:spMkLst>
        </pc:spChg>
        <pc:spChg chg="mod">
          <ac:chgData name="Thomas Stensitzki" userId="75cafe6b-2f2a-469b-85c4-eec3b9c972ba" providerId="ADAL" clId="{38265734-310D-45C8-99C3-9326DBD1A9F5}" dt="2023-07-04T17:32:37.869" v="820" actId="108"/>
          <ac:spMkLst>
            <pc:docMk/>
            <pc:sldMk cId="647126880" sldId="745"/>
            <ac:spMk id="3" creationId="{A3D8A0B5-8F2B-4896-7AC6-91FF82DB41A7}"/>
          </ac:spMkLst>
        </pc:spChg>
      </pc:sldChg>
      <pc:sldChg chg="modSp new mod modTransition">
        <pc:chgData name="Thomas Stensitzki" userId="75cafe6b-2f2a-469b-85c4-eec3b9c972ba" providerId="ADAL" clId="{38265734-310D-45C8-99C3-9326DBD1A9F5}" dt="2023-07-06T09:12:47.870" v="1675"/>
        <pc:sldMkLst>
          <pc:docMk/>
          <pc:sldMk cId="4269955596" sldId="746"/>
        </pc:sldMkLst>
        <pc:spChg chg="mod">
          <ac:chgData name="Thomas Stensitzki" userId="75cafe6b-2f2a-469b-85c4-eec3b9c972ba" providerId="ADAL" clId="{38265734-310D-45C8-99C3-9326DBD1A9F5}" dt="2023-07-04T17:29:00.079" v="549"/>
          <ac:spMkLst>
            <pc:docMk/>
            <pc:sldMk cId="4269955596" sldId="746"/>
            <ac:spMk id="2" creationId="{6EFB7124-AF88-388E-8F71-8A36F7D64C1F}"/>
          </ac:spMkLst>
        </pc:spChg>
        <pc:spChg chg="mod">
          <ac:chgData name="Thomas Stensitzki" userId="75cafe6b-2f2a-469b-85c4-eec3b9c972ba" providerId="ADAL" clId="{38265734-310D-45C8-99C3-9326DBD1A9F5}" dt="2023-07-04T17:32:25.273" v="819" actId="404"/>
          <ac:spMkLst>
            <pc:docMk/>
            <pc:sldMk cId="4269955596" sldId="746"/>
            <ac:spMk id="3" creationId="{90B55215-A3D5-BEBD-71F6-F0C5D9EC6B9B}"/>
          </ac:spMkLst>
        </pc:spChg>
      </pc:sldChg>
      <pc:sldChg chg="addSp delSp modSp new mod modTransition">
        <pc:chgData name="Thomas Stensitzki" userId="75cafe6b-2f2a-469b-85c4-eec3b9c972ba" providerId="ADAL" clId="{38265734-310D-45C8-99C3-9326DBD1A9F5}" dt="2023-07-06T09:12:47.870" v="1675"/>
        <pc:sldMkLst>
          <pc:docMk/>
          <pc:sldMk cId="2976596190" sldId="747"/>
        </pc:sldMkLst>
        <pc:spChg chg="mod">
          <ac:chgData name="Thomas Stensitzki" userId="75cafe6b-2f2a-469b-85c4-eec3b9c972ba" providerId="ADAL" clId="{38265734-310D-45C8-99C3-9326DBD1A9F5}" dt="2023-07-04T17:33:48.874" v="833"/>
          <ac:spMkLst>
            <pc:docMk/>
            <pc:sldMk cId="2976596190" sldId="747"/>
            <ac:spMk id="2" creationId="{B507E75F-8CAF-076C-CA29-0AB5E10D5317}"/>
          </ac:spMkLst>
        </pc:spChg>
        <pc:spChg chg="del">
          <ac:chgData name="Thomas Stensitzki" userId="75cafe6b-2f2a-469b-85c4-eec3b9c972ba" providerId="ADAL" clId="{38265734-310D-45C8-99C3-9326DBD1A9F5}" dt="2023-07-04T17:34:06.365" v="834" actId="478"/>
          <ac:spMkLst>
            <pc:docMk/>
            <pc:sldMk cId="2976596190" sldId="747"/>
            <ac:spMk id="3" creationId="{CE14BA50-FA92-CF13-D87B-EDA4F4AB07BC}"/>
          </ac:spMkLst>
        </pc:spChg>
        <pc:spChg chg="add del">
          <ac:chgData name="Thomas Stensitzki" userId="75cafe6b-2f2a-469b-85c4-eec3b9c972ba" providerId="ADAL" clId="{38265734-310D-45C8-99C3-9326DBD1A9F5}" dt="2023-07-04T17:34:09.587" v="836" actId="22"/>
          <ac:spMkLst>
            <pc:docMk/>
            <pc:sldMk cId="2976596190" sldId="747"/>
            <ac:spMk id="5" creationId="{57F087E1-B9ED-9EC6-831F-1B3B4207B495}"/>
          </ac:spMkLst>
        </pc:spChg>
        <pc:picChg chg="add mod">
          <ac:chgData name="Thomas Stensitzki" userId="75cafe6b-2f2a-469b-85c4-eec3b9c972ba" providerId="ADAL" clId="{38265734-310D-45C8-99C3-9326DBD1A9F5}" dt="2023-07-04T17:34:27.500" v="840" actId="1440"/>
          <ac:picMkLst>
            <pc:docMk/>
            <pc:sldMk cId="2976596190" sldId="747"/>
            <ac:picMk id="1026" creationId="{A770189C-6CFB-FA93-9102-265EF67ACDA4}"/>
          </ac:picMkLst>
        </pc:picChg>
      </pc:sldChg>
      <pc:sldChg chg="modSp add modTransition">
        <pc:chgData name="Thomas Stensitzki" userId="75cafe6b-2f2a-469b-85c4-eec3b9c972ba" providerId="ADAL" clId="{38265734-310D-45C8-99C3-9326DBD1A9F5}" dt="2023-07-06T09:12:47.870" v="1675"/>
        <pc:sldMkLst>
          <pc:docMk/>
          <pc:sldMk cId="4294720854" sldId="748"/>
        </pc:sldMkLst>
        <pc:picChg chg="mod">
          <ac:chgData name="Thomas Stensitzki" userId="75cafe6b-2f2a-469b-85c4-eec3b9c972ba" providerId="ADAL" clId="{38265734-310D-45C8-99C3-9326DBD1A9F5}" dt="2023-07-04T17:34:41.522" v="842" actId="14826"/>
          <ac:picMkLst>
            <pc:docMk/>
            <pc:sldMk cId="4294720854" sldId="748"/>
            <ac:picMk id="1026" creationId="{A770189C-6CFB-FA93-9102-265EF67ACDA4}"/>
          </ac:picMkLst>
        </pc:picChg>
      </pc:sldChg>
      <pc:sldChg chg="addSp delSp modSp new mod modTransition">
        <pc:chgData name="Thomas Stensitzki" userId="75cafe6b-2f2a-469b-85c4-eec3b9c972ba" providerId="ADAL" clId="{38265734-310D-45C8-99C3-9326DBD1A9F5}" dt="2023-07-06T09:12:47.870" v="1675"/>
        <pc:sldMkLst>
          <pc:docMk/>
          <pc:sldMk cId="2501624097" sldId="749"/>
        </pc:sldMkLst>
        <pc:spChg chg="mod">
          <ac:chgData name="Thomas Stensitzki" userId="75cafe6b-2f2a-469b-85c4-eec3b9c972ba" providerId="ADAL" clId="{38265734-310D-45C8-99C3-9326DBD1A9F5}" dt="2023-07-04T17:36:13.979" v="845"/>
          <ac:spMkLst>
            <pc:docMk/>
            <pc:sldMk cId="2501624097" sldId="749"/>
            <ac:spMk id="2" creationId="{3792302E-9793-3DAF-B48B-A7227CDEC7F3}"/>
          </ac:spMkLst>
        </pc:spChg>
        <pc:spChg chg="del mod">
          <ac:chgData name="Thomas Stensitzki" userId="75cafe6b-2f2a-469b-85c4-eec3b9c972ba" providerId="ADAL" clId="{38265734-310D-45C8-99C3-9326DBD1A9F5}" dt="2023-07-04T17:36:16.215" v="847" actId="478"/>
          <ac:spMkLst>
            <pc:docMk/>
            <pc:sldMk cId="2501624097" sldId="749"/>
            <ac:spMk id="3" creationId="{E1C5A94D-6AEE-0D4D-43AB-CEF07331C7E8}"/>
          </ac:spMkLst>
        </pc:spChg>
        <pc:picChg chg="add mod">
          <ac:chgData name="Thomas Stensitzki" userId="75cafe6b-2f2a-469b-85c4-eec3b9c972ba" providerId="ADAL" clId="{38265734-310D-45C8-99C3-9326DBD1A9F5}" dt="2023-07-04T17:37:11.919" v="854" actId="14100"/>
          <ac:picMkLst>
            <pc:docMk/>
            <pc:sldMk cId="2501624097" sldId="749"/>
            <ac:picMk id="2050" creationId="{02589CE5-5B1D-97FE-B175-FABA0D903EA3}"/>
          </ac:picMkLst>
        </pc:picChg>
        <pc:picChg chg="add mod">
          <ac:chgData name="Thomas Stensitzki" userId="75cafe6b-2f2a-469b-85c4-eec3b9c972ba" providerId="ADAL" clId="{38265734-310D-45C8-99C3-9326DBD1A9F5}" dt="2023-07-04T17:37:32.192" v="857" actId="1440"/>
          <ac:picMkLst>
            <pc:docMk/>
            <pc:sldMk cId="2501624097" sldId="749"/>
            <ac:picMk id="2052" creationId="{5D98C4DE-C8B0-73B6-A46E-B0C31EF2C2E1}"/>
          </ac:picMkLst>
        </pc:picChg>
      </pc:sldChg>
      <pc:sldChg chg="modSp add modTransition">
        <pc:chgData name="Thomas Stensitzki" userId="75cafe6b-2f2a-469b-85c4-eec3b9c972ba" providerId="ADAL" clId="{38265734-310D-45C8-99C3-9326DBD1A9F5}" dt="2023-07-06T09:12:47.870" v="1675"/>
        <pc:sldMkLst>
          <pc:docMk/>
          <pc:sldMk cId="2026815640" sldId="750"/>
        </pc:sldMkLst>
        <pc:picChg chg="mod">
          <ac:chgData name="Thomas Stensitzki" userId="75cafe6b-2f2a-469b-85c4-eec3b9c972ba" providerId="ADAL" clId="{38265734-310D-45C8-99C3-9326DBD1A9F5}" dt="2023-07-04T17:37:47.403" v="859" actId="14826"/>
          <ac:picMkLst>
            <pc:docMk/>
            <pc:sldMk cId="2026815640" sldId="750"/>
            <ac:picMk id="2052" creationId="{5D98C4DE-C8B0-73B6-A46E-B0C31EF2C2E1}"/>
          </ac:picMkLst>
        </pc:picChg>
      </pc:sldChg>
      <pc:sldChg chg="addSp delSp modSp new mod modTransition">
        <pc:chgData name="Thomas Stensitzki" userId="75cafe6b-2f2a-469b-85c4-eec3b9c972ba" providerId="ADAL" clId="{38265734-310D-45C8-99C3-9326DBD1A9F5}" dt="2023-07-06T09:12:47.870" v="1675"/>
        <pc:sldMkLst>
          <pc:docMk/>
          <pc:sldMk cId="1546711668" sldId="751"/>
        </pc:sldMkLst>
        <pc:spChg chg="mod">
          <ac:chgData name="Thomas Stensitzki" userId="75cafe6b-2f2a-469b-85c4-eec3b9c972ba" providerId="ADAL" clId="{38265734-310D-45C8-99C3-9326DBD1A9F5}" dt="2023-07-04T17:39:11.489" v="863"/>
          <ac:spMkLst>
            <pc:docMk/>
            <pc:sldMk cId="1546711668" sldId="751"/>
            <ac:spMk id="2" creationId="{7DABA570-3B10-05E2-CC04-3A6D28E33FAE}"/>
          </ac:spMkLst>
        </pc:spChg>
        <pc:spChg chg="del">
          <ac:chgData name="Thomas Stensitzki" userId="75cafe6b-2f2a-469b-85c4-eec3b9c972ba" providerId="ADAL" clId="{38265734-310D-45C8-99C3-9326DBD1A9F5}" dt="2023-07-04T17:39:19.911" v="864" actId="478"/>
          <ac:spMkLst>
            <pc:docMk/>
            <pc:sldMk cId="1546711668" sldId="751"/>
            <ac:spMk id="3" creationId="{39B79A4D-1648-C166-6EDF-4F8E0E56BE99}"/>
          </ac:spMkLst>
        </pc:spChg>
        <pc:picChg chg="add mod">
          <ac:chgData name="Thomas Stensitzki" userId="75cafe6b-2f2a-469b-85c4-eec3b9c972ba" providerId="ADAL" clId="{38265734-310D-45C8-99C3-9326DBD1A9F5}" dt="2023-07-04T17:39:31.947" v="868" actId="1440"/>
          <ac:picMkLst>
            <pc:docMk/>
            <pc:sldMk cId="1546711668" sldId="751"/>
            <ac:picMk id="4" creationId="{725CD086-AE5D-F5E6-BCC0-CEE939ECDE61}"/>
          </ac:picMkLst>
        </pc:picChg>
      </pc:sldChg>
      <pc:sldChg chg="modSp add mod modTransition">
        <pc:chgData name="Thomas Stensitzki" userId="75cafe6b-2f2a-469b-85c4-eec3b9c972ba" providerId="ADAL" clId="{38265734-310D-45C8-99C3-9326DBD1A9F5}" dt="2023-07-06T09:12:47.870" v="1675"/>
        <pc:sldMkLst>
          <pc:docMk/>
          <pc:sldMk cId="2598459548" sldId="752"/>
        </pc:sldMkLst>
        <pc:picChg chg="mod">
          <ac:chgData name="Thomas Stensitzki" userId="75cafe6b-2f2a-469b-85c4-eec3b9c972ba" providerId="ADAL" clId="{38265734-310D-45C8-99C3-9326DBD1A9F5}" dt="2023-07-04T17:39:43.675" v="870" actId="14826"/>
          <ac:picMkLst>
            <pc:docMk/>
            <pc:sldMk cId="2598459548" sldId="752"/>
            <ac:picMk id="4" creationId="{725CD086-AE5D-F5E6-BCC0-CEE939ECDE61}"/>
          </ac:picMkLst>
        </pc:picChg>
      </pc:sldChg>
      <pc:sldChg chg="addSp delSp modSp new mod modTransition modClrScheme chgLayout">
        <pc:chgData name="Thomas Stensitzki" userId="75cafe6b-2f2a-469b-85c4-eec3b9c972ba" providerId="ADAL" clId="{38265734-310D-45C8-99C3-9326DBD1A9F5}" dt="2023-07-06T09:12:47.870" v="1675"/>
        <pc:sldMkLst>
          <pc:docMk/>
          <pc:sldMk cId="3863686543" sldId="753"/>
        </pc:sldMkLst>
        <pc:spChg chg="del mod ord">
          <ac:chgData name="Thomas Stensitzki" userId="75cafe6b-2f2a-469b-85c4-eec3b9c972ba" providerId="ADAL" clId="{38265734-310D-45C8-99C3-9326DBD1A9F5}" dt="2023-07-04T17:40:20.771" v="873" actId="700"/>
          <ac:spMkLst>
            <pc:docMk/>
            <pc:sldMk cId="3863686543" sldId="753"/>
            <ac:spMk id="2" creationId="{DBE247AA-1ECA-8679-A40F-4D8002A8C022}"/>
          </ac:spMkLst>
        </pc:spChg>
        <pc:spChg chg="del">
          <ac:chgData name="Thomas Stensitzki" userId="75cafe6b-2f2a-469b-85c4-eec3b9c972ba" providerId="ADAL" clId="{38265734-310D-45C8-99C3-9326DBD1A9F5}" dt="2023-07-04T17:40:20.771" v="873" actId="700"/>
          <ac:spMkLst>
            <pc:docMk/>
            <pc:sldMk cId="3863686543" sldId="753"/>
            <ac:spMk id="3" creationId="{893605D7-8A0D-6581-E50E-A1A00F0E7E3E}"/>
          </ac:spMkLst>
        </pc:spChg>
        <pc:spChg chg="add mod ord">
          <ac:chgData name="Thomas Stensitzki" userId="75cafe6b-2f2a-469b-85c4-eec3b9c972ba" providerId="ADAL" clId="{38265734-310D-45C8-99C3-9326DBD1A9F5}" dt="2023-07-04T17:41:59.899" v="892" actId="700"/>
          <ac:spMkLst>
            <pc:docMk/>
            <pc:sldMk cId="3863686543" sldId="753"/>
            <ac:spMk id="4" creationId="{D206F3D5-85C3-1361-4181-95F4BC1D5551}"/>
          </ac:spMkLst>
        </pc:spChg>
        <pc:spChg chg="add mod ord">
          <ac:chgData name="Thomas Stensitzki" userId="75cafe6b-2f2a-469b-85c4-eec3b9c972ba" providerId="ADAL" clId="{38265734-310D-45C8-99C3-9326DBD1A9F5}" dt="2023-07-04T17:42:42.863" v="956" actId="6549"/>
          <ac:spMkLst>
            <pc:docMk/>
            <pc:sldMk cId="3863686543" sldId="753"/>
            <ac:spMk id="5" creationId="{A611C7A5-548F-D396-5ED3-BD1D3B2C100A}"/>
          </ac:spMkLst>
        </pc:spChg>
        <pc:picChg chg="add mod">
          <ac:chgData name="Thomas Stensitzki" userId="75cafe6b-2f2a-469b-85c4-eec3b9c972ba" providerId="ADAL" clId="{38265734-310D-45C8-99C3-9326DBD1A9F5}" dt="2023-07-04T17:42:04.534" v="894" actId="1076"/>
          <ac:picMkLst>
            <pc:docMk/>
            <pc:sldMk cId="3863686543" sldId="753"/>
            <ac:picMk id="3074" creationId="{FD99560C-CCF0-E12A-FEAC-0817DE972DEC}"/>
          </ac:picMkLst>
        </pc:picChg>
      </pc:sldChg>
      <pc:sldChg chg="addSp delSp modSp add del mod modTransition">
        <pc:chgData name="Thomas Stensitzki" userId="75cafe6b-2f2a-469b-85c4-eec3b9c972ba" providerId="ADAL" clId="{38265734-310D-45C8-99C3-9326DBD1A9F5}" dt="2023-07-06T09:12:47.870" v="1675"/>
        <pc:sldMkLst>
          <pc:docMk/>
          <pc:sldMk cId="4175667725" sldId="754"/>
        </pc:sldMkLst>
        <pc:picChg chg="add mod">
          <ac:chgData name="Thomas Stensitzki" userId="75cafe6b-2f2a-469b-85c4-eec3b9c972ba" providerId="ADAL" clId="{38265734-310D-45C8-99C3-9326DBD1A9F5}" dt="2023-07-04T17:41:52.714" v="891" actId="14826"/>
          <ac:picMkLst>
            <pc:docMk/>
            <pc:sldMk cId="4175667725" sldId="754"/>
            <ac:picMk id="2" creationId="{0CF5EBAE-D810-4D5D-F9B7-890EF6F4F520}"/>
          </ac:picMkLst>
        </pc:picChg>
        <pc:picChg chg="del">
          <ac:chgData name="Thomas Stensitzki" userId="75cafe6b-2f2a-469b-85c4-eec3b9c972ba" providerId="ADAL" clId="{38265734-310D-45C8-99C3-9326DBD1A9F5}" dt="2023-07-04T17:41:01.518" v="884" actId="478"/>
          <ac:picMkLst>
            <pc:docMk/>
            <pc:sldMk cId="4175667725" sldId="754"/>
            <ac:picMk id="3074" creationId="{FD99560C-CCF0-E12A-FEAC-0817DE972DEC}"/>
          </ac:picMkLst>
        </pc:picChg>
      </pc:sldChg>
      <pc:sldChg chg="add modTransition">
        <pc:chgData name="Thomas Stensitzki" userId="75cafe6b-2f2a-469b-85c4-eec3b9c972ba" providerId="ADAL" clId="{38265734-310D-45C8-99C3-9326DBD1A9F5}" dt="2023-07-06T09:12:47.870" v="1675"/>
        <pc:sldMkLst>
          <pc:docMk/>
          <pc:sldMk cId="2580803171" sldId="755"/>
        </pc:sldMkLst>
      </pc:sldChg>
      <pc:sldChg chg="modTransition">
        <pc:chgData name="Thomas Stensitzki" userId="75cafe6b-2f2a-469b-85c4-eec3b9c972ba" providerId="ADAL" clId="{38265734-310D-45C8-99C3-9326DBD1A9F5}" dt="2023-07-06T09:12:47.870" v="1675"/>
        <pc:sldMkLst>
          <pc:docMk/>
          <pc:sldMk cId="3441249704" sldId="756"/>
        </pc:sldMkLst>
      </pc:sldChg>
      <pc:sldChg chg="modTransition">
        <pc:chgData name="Thomas Stensitzki" userId="75cafe6b-2f2a-469b-85c4-eec3b9c972ba" providerId="ADAL" clId="{38265734-310D-45C8-99C3-9326DBD1A9F5}" dt="2023-07-06T09:12:47.870" v="1675"/>
        <pc:sldMkLst>
          <pc:docMk/>
          <pc:sldMk cId="2120421256" sldId="757"/>
        </pc:sldMkLst>
      </pc:sldChg>
      <pc:sldChg chg="modTransition">
        <pc:chgData name="Thomas Stensitzki" userId="75cafe6b-2f2a-469b-85c4-eec3b9c972ba" providerId="ADAL" clId="{38265734-310D-45C8-99C3-9326DBD1A9F5}" dt="2023-07-06T09:12:47.870" v="1675"/>
        <pc:sldMkLst>
          <pc:docMk/>
          <pc:sldMk cId="3538299181" sldId="758"/>
        </pc:sldMkLst>
      </pc:sldChg>
      <pc:sldChg chg="modTransition">
        <pc:chgData name="Thomas Stensitzki" userId="75cafe6b-2f2a-469b-85c4-eec3b9c972ba" providerId="ADAL" clId="{38265734-310D-45C8-99C3-9326DBD1A9F5}" dt="2023-07-06T09:12:47.870" v="1675"/>
        <pc:sldMkLst>
          <pc:docMk/>
          <pc:sldMk cId="2253260559" sldId="759"/>
        </pc:sldMkLst>
      </pc:sldChg>
      <pc:sldChg chg="modTransition">
        <pc:chgData name="Thomas Stensitzki" userId="75cafe6b-2f2a-469b-85c4-eec3b9c972ba" providerId="ADAL" clId="{38265734-310D-45C8-99C3-9326DBD1A9F5}" dt="2023-07-06T09:12:47.870" v="1675"/>
        <pc:sldMkLst>
          <pc:docMk/>
          <pc:sldMk cId="3932105883" sldId="760"/>
        </pc:sldMkLst>
      </pc:sldChg>
      <pc:sldChg chg="modTransition">
        <pc:chgData name="Thomas Stensitzki" userId="75cafe6b-2f2a-469b-85c4-eec3b9c972ba" providerId="ADAL" clId="{38265734-310D-45C8-99C3-9326DBD1A9F5}" dt="2023-07-06T09:12:47.870" v="1675"/>
        <pc:sldMkLst>
          <pc:docMk/>
          <pc:sldMk cId="3362652068" sldId="761"/>
        </pc:sldMkLst>
      </pc:sldChg>
      <pc:sldChg chg="addSp delSp modSp new mod modTransition modClrScheme chgLayout">
        <pc:chgData name="Thomas Stensitzki" userId="75cafe6b-2f2a-469b-85c4-eec3b9c972ba" providerId="ADAL" clId="{38265734-310D-45C8-99C3-9326DBD1A9F5}" dt="2023-07-06T09:12:47.870" v="1675"/>
        <pc:sldMkLst>
          <pc:docMk/>
          <pc:sldMk cId="1155620625" sldId="762"/>
        </pc:sldMkLst>
        <pc:spChg chg="del mod ord">
          <ac:chgData name="Thomas Stensitzki" userId="75cafe6b-2f2a-469b-85c4-eec3b9c972ba" providerId="ADAL" clId="{38265734-310D-45C8-99C3-9326DBD1A9F5}" dt="2023-07-06T06:46:57.787" v="958" actId="700"/>
          <ac:spMkLst>
            <pc:docMk/>
            <pc:sldMk cId="1155620625" sldId="762"/>
            <ac:spMk id="2" creationId="{2C2B5365-5E67-6ECB-A2C1-CC6B48616B6E}"/>
          </ac:spMkLst>
        </pc:spChg>
        <pc:spChg chg="del mod ord">
          <ac:chgData name="Thomas Stensitzki" userId="75cafe6b-2f2a-469b-85c4-eec3b9c972ba" providerId="ADAL" clId="{38265734-310D-45C8-99C3-9326DBD1A9F5}" dt="2023-07-06T06:46:57.787" v="958" actId="700"/>
          <ac:spMkLst>
            <pc:docMk/>
            <pc:sldMk cId="1155620625" sldId="762"/>
            <ac:spMk id="3" creationId="{AD2297F8-AD75-4FE1-9A6E-B37664901DCE}"/>
          </ac:spMkLst>
        </pc:spChg>
        <pc:spChg chg="add mod ord">
          <ac:chgData name="Thomas Stensitzki" userId="75cafe6b-2f2a-469b-85c4-eec3b9c972ba" providerId="ADAL" clId="{38265734-310D-45C8-99C3-9326DBD1A9F5}" dt="2023-07-06T06:58:02.330" v="1036" actId="20577"/>
          <ac:spMkLst>
            <pc:docMk/>
            <pc:sldMk cId="1155620625" sldId="762"/>
            <ac:spMk id="4" creationId="{22178338-04CE-D0ED-FF1C-006DA86C3465}"/>
          </ac:spMkLst>
        </pc:spChg>
        <pc:spChg chg="add del mod ord">
          <ac:chgData name="Thomas Stensitzki" userId="75cafe6b-2f2a-469b-85c4-eec3b9c972ba" providerId="ADAL" clId="{38265734-310D-45C8-99C3-9326DBD1A9F5}" dt="2023-07-06T06:58:42.041" v="1039"/>
          <ac:spMkLst>
            <pc:docMk/>
            <pc:sldMk cId="1155620625" sldId="762"/>
            <ac:spMk id="5" creationId="{E051A96C-66E0-5823-6CCB-1AD57472AD68}"/>
          </ac:spMkLst>
        </pc:spChg>
        <pc:spChg chg="add del mod">
          <ac:chgData name="Thomas Stensitzki" userId="75cafe6b-2f2a-469b-85c4-eec3b9c972ba" providerId="ADAL" clId="{38265734-310D-45C8-99C3-9326DBD1A9F5}" dt="2023-07-06T06:47:44.974" v="960"/>
          <ac:spMkLst>
            <pc:docMk/>
            <pc:sldMk cId="1155620625" sldId="762"/>
            <ac:spMk id="6" creationId="{75345CCC-37A2-F68F-4871-4B66E28D2250}"/>
          </ac:spMkLst>
        </pc:spChg>
        <pc:picChg chg="add del mod">
          <ac:chgData name="Thomas Stensitzki" userId="75cafe6b-2f2a-469b-85c4-eec3b9c972ba" providerId="ADAL" clId="{38265734-310D-45C8-99C3-9326DBD1A9F5}" dt="2023-07-06T06:51:41.896" v="970" actId="478"/>
          <ac:picMkLst>
            <pc:docMk/>
            <pc:sldMk cId="1155620625" sldId="762"/>
            <ac:picMk id="8" creationId="{7B906823-1E03-0CBC-BAC4-8A9CD644AE8E}"/>
          </ac:picMkLst>
        </pc:picChg>
      </pc:sldChg>
      <pc:sldChg chg="modSp new mod modTransition">
        <pc:chgData name="Thomas Stensitzki" userId="75cafe6b-2f2a-469b-85c4-eec3b9c972ba" providerId="ADAL" clId="{38265734-310D-45C8-99C3-9326DBD1A9F5}" dt="2023-07-06T09:12:47.870" v="1675"/>
        <pc:sldMkLst>
          <pc:docMk/>
          <pc:sldMk cId="2162106461" sldId="763"/>
        </pc:sldMkLst>
        <pc:spChg chg="mod">
          <ac:chgData name="Thomas Stensitzki" userId="75cafe6b-2f2a-469b-85c4-eec3b9c972ba" providerId="ADAL" clId="{38265734-310D-45C8-99C3-9326DBD1A9F5}" dt="2023-07-06T07:41:29.925" v="1080" actId="20577"/>
          <ac:spMkLst>
            <pc:docMk/>
            <pc:sldMk cId="2162106461" sldId="763"/>
            <ac:spMk id="2" creationId="{D65474EA-1930-D05E-93DF-5737D75B5E13}"/>
          </ac:spMkLst>
        </pc:spChg>
        <pc:spChg chg="mod">
          <ac:chgData name="Thomas Stensitzki" userId="75cafe6b-2f2a-469b-85c4-eec3b9c972ba" providerId="ADAL" clId="{38265734-310D-45C8-99C3-9326DBD1A9F5}" dt="2023-07-06T07:14:24.263" v="1062" actId="20577"/>
          <ac:spMkLst>
            <pc:docMk/>
            <pc:sldMk cId="2162106461" sldId="763"/>
            <ac:spMk id="3" creationId="{8EEB6D6D-3A83-0B23-CA93-4211B33EC39E}"/>
          </ac:spMkLst>
        </pc:spChg>
      </pc:sldChg>
      <pc:sldChg chg="addSp modSp new mod modTransition">
        <pc:chgData name="Thomas Stensitzki" userId="75cafe6b-2f2a-469b-85c4-eec3b9c972ba" providerId="ADAL" clId="{38265734-310D-45C8-99C3-9326DBD1A9F5}" dt="2023-07-06T09:12:47.870" v="1675"/>
        <pc:sldMkLst>
          <pc:docMk/>
          <pc:sldMk cId="3624400259" sldId="764"/>
        </pc:sldMkLst>
        <pc:spChg chg="mod">
          <ac:chgData name="Thomas Stensitzki" userId="75cafe6b-2f2a-469b-85c4-eec3b9c972ba" providerId="ADAL" clId="{38265734-310D-45C8-99C3-9326DBD1A9F5}" dt="2023-07-06T08:04:31.603" v="1114" actId="20577"/>
          <ac:spMkLst>
            <pc:docMk/>
            <pc:sldMk cId="3624400259" sldId="764"/>
            <ac:spMk id="2" creationId="{AD1CE879-8D87-67A0-53DD-46746B68136E}"/>
          </ac:spMkLst>
        </pc:spChg>
        <pc:spChg chg="mod">
          <ac:chgData name="Thomas Stensitzki" userId="75cafe6b-2f2a-469b-85c4-eec3b9c972ba" providerId="ADAL" clId="{38265734-310D-45C8-99C3-9326DBD1A9F5}" dt="2023-07-06T07:54:43.393" v="1083"/>
          <ac:spMkLst>
            <pc:docMk/>
            <pc:sldMk cId="3624400259" sldId="764"/>
            <ac:spMk id="3" creationId="{FAE178F3-E203-E1A9-2C9D-998248BD6EC7}"/>
          </ac:spMkLst>
        </pc:spChg>
        <pc:picChg chg="add mod">
          <ac:chgData name="Thomas Stensitzki" userId="75cafe6b-2f2a-469b-85c4-eec3b9c972ba" providerId="ADAL" clId="{38265734-310D-45C8-99C3-9326DBD1A9F5}" dt="2023-07-06T07:58:13.868" v="1088" actId="1076"/>
          <ac:picMkLst>
            <pc:docMk/>
            <pc:sldMk cId="3624400259" sldId="764"/>
            <ac:picMk id="4" creationId="{01736D4E-DDE5-BFAC-4614-402467C5B816}"/>
          </ac:picMkLst>
        </pc:picChg>
      </pc:sldChg>
      <pc:sldChg chg="addSp modSp new mod modTransition">
        <pc:chgData name="Thomas Stensitzki" userId="75cafe6b-2f2a-469b-85c4-eec3b9c972ba" providerId="ADAL" clId="{38265734-310D-45C8-99C3-9326DBD1A9F5}" dt="2023-07-06T09:12:47.870" v="1675"/>
        <pc:sldMkLst>
          <pc:docMk/>
          <pc:sldMk cId="4177790355" sldId="765"/>
        </pc:sldMkLst>
        <pc:spChg chg="mod">
          <ac:chgData name="Thomas Stensitzki" userId="75cafe6b-2f2a-469b-85c4-eec3b9c972ba" providerId="ADAL" clId="{38265734-310D-45C8-99C3-9326DBD1A9F5}" dt="2023-07-06T08:05:11.742" v="1127" actId="20577"/>
          <ac:spMkLst>
            <pc:docMk/>
            <pc:sldMk cId="4177790355" sldId="765"/>
            <ac:spMk id="2" creationId="{68DC01E6-67C6-E7B2-85C9-7B6197F3930F}"/>
          </ac:spMkLst>
        </pc:spChg>
        <pc:spChg chg="mod">
          <ac:chgData name="Thomas Stensitzki" userId="75cafe6b-2f2a-469b-85c4-eec3b9c972ba" providerId="ADAL" clId="{38265734-310D-45C8-99C3-9326DBD1A9F5}" dt="2023-07-06T08:10:00.357" v="1157" actId="20577"/>
          <ac:spMkLst>
            <pc:docMk/>
            <pc:sldMk cId="4177790355" sldId="765"/>
            <ac:spMk id="3" creationId="{C260379D-7083-9ABA-F7E6-FDDD1E4A3196}"/>
          </ac:spMkLst>
        </pc:spChg>
        <pc:graphicFrameChg chg="add mod modGraphic">
          <ac:chgData name="Thomas Stensitzki" userId="75cafe6b-2f2a-469b-85c4-eec3b9c972ba" providerId="ADAL" clId="{38265734-310D-45C8-99C3-9326DBD1A9F5}" dt="2023-07-06T08:08:56.666" v="1154" actId="114"/>
          <ac:graphicFrameMkLst>
            <pc:docMk/>
            <pc:sldMk cId="4177790355" sldId="765"/>
            <ac:graphicFrameMk id="4" creationId="{2229A603-5C3C-5755-565B-E34E2A37DFC8}"/>
          </ac:graphicFrameMkLst>
        </pc:graphicFrameChg>
      </pc:sldChg>
      <pc:sldChg chg="addSp modSp new mod modTransition">
        <pc:chgData name="Thomas Stensitzki" userId="75cafe6b-2f2a-469b-85c4-eec3b9c972ba" providerId="ADAL" clId="{38265734-310D-45C8-99C3-9326DBD1A9F5}" dt="2023-07-06T09:12:47.870" v="1675"/>
        <pc:sldMkLst>
          <pc:docMk/>
          <pc:sldMk cId="2406853124" sldId="766"/>
        </pc:sldMkLst>
        <pc:spChg chg="mod">
          <ac:chgData name="Thomas Stensitzki" userId="75cafe6b-2f2a-469b-85c4-eec3b9c972ba" providerId="ADAL" clId="{38265734-310D-45C8-99C3-9326DBD1A9F5}" dt="2023-07-06T08:59:15.084" v="1169" actId="20577"/>
          <ac:spMkLst>
            <pc:docMk/>
            <pc:sldMk cId="2406853124" sldId="766"/>
            <ac:spMk id="2" creationId="{D64CBA17-64C8-8015-F12B-ECB6F583EE65}"/>
          </ac:spMkLst>
        </pc:spChg>
        <pc:spChg chg="mod">
          <ac:chgData name="Thomas Stensitzki" userId="75cafe6b-2f2a-469b-85c4-eec3b9c972ba" providerId="ADAL" clId="{38265734-310D-45C8-99C3-9326DBD1A9F5}" dt="2023-07-06T08:27:59.523" v="1160"/>
          <ac:spMkLst>
            <pc:docMk/>
            <pc:sldMk cId="2406853124" sldId="766"/>
            <ac:spMk id="3" creationId="{FB28A2E7-59D3-1BE2-6688-FDDB51677FC4}"/>
          </ac:spMkLst>
        </pc:spChg>
        <pc:picChg chg="add mod">
          <ac:chgData name="Thomas Stensitzki" userId="75cafe6b-2f2a-469b-85c4-eec3b9c972ba" providerId="ADAL" clId="{38265734-310D-45C8-99C3-9326DBD1A9F5}" dt="2023-07-06T08:53:09.511" v="1164" actId="1440"/>
          <ac:picMkLst>
            <pc:docMk/>
            <pc:sldMk cId="2406853124" sldId="766"/>
            <ac:picMk id="3074" creationId="{E6422EC6-6E4A-6054-F1B7-D102B94342B1}"/>
          </ac:picMkLst>
        </pc:picChg>
      </pc:sldChg>
      <pc:sldChg chg="addSp modSp new mod modTransition">
        <pc:chgData name="Thomas Stensitzki" userId="75cafe6b-2f2a-469b-85c4-eec3b9c972ba" providerId="ADAL" clId="{38265734-310D-45C8-99C3-9326DBD1A9F5}" dt="2023-07-06T09:12:47.870" v="1675"/>
        <pc:sldMkLst>
          <pc:docMk/>
          <pc:sldMk cId="2531410684" sldId="767"/>
        </pc:sldMkLst>
        <pc:spChg chg="mod">
          <ac:chgData name="Thomas Stensitzki" userId="75cafe6b-2f2a-469b-85c4-eec3b9c972ba" providerId="ADAL" clId="{38265734-310D-45C8-99C3-9326DBD1A9F5}" dt="2023-07-06T09:09:39.506" v="1659" actId="20577"/>
          <ac:spMkLst>
            <pc:docMk/>
            <pc:sldMk cId="2531410684" sldId="767"/>
            <ac:spMk id="2" creationId="{C9118AC6-BF00-F8E7-CDF7-FB12719CD258}"/>
          </ac:spMkLst>
        </pc:spChg>
        <pc:spChg chg="mod">
          <ac:chgData name="Thomas Stensitzki" userId="75cafe6b-2f2a-469b-85c4-eec3b9c972ba" providerId="ADAL" clId="{38265734-310D-45C8-99C3-9326DBD1A9F5}" dt="2023-07-06T09:11:13.535" v="1661" actId="20577"/>
          <ac:spMkLst>
            <pc:docMk/>
            <pc:sldMk cId="2531410684" sldId="767"/>
            <ac:spMk id="3" creationId="{70DB79B1-19BF-63CD-1706-76AC0DCE083A}"/>
          </ac:spMkLst>
        </pc:spChg>
        <pc:spChg chg="add mod">
          <ac:chgData name="Thomas Stensitzki" userId="75cafe6b-2f2a-469b-85c4-eec3b9c972ba" providerId="ADAL" clId="{38265734-310D-45C8-99C3-9326DBD1A9F5}" dt="2023-07-06T09:11:47.054" v="1667" actId="1076"/>
          <ac:spMkLst>
            <pc:docMk/>
            <pc:sldMk cId="2531410684" sldId="767"/>
            <ac:spMk id="6" creationId="{F8D64169-68E5-6887-9282-25E78AEAC325}"/>
          </ac:spMkLst>
        </pc:spChg>
        <pc:picChg chg="add mod">
          <ac:chgData name="Thomas Stensitzki" userId="75cafe6b-2f2a-469b-85c4-eec3b9c972ba" providerId="ADAL" clId="{38265734-310D-45C8-99C3-9326DBD1A9F5}" dt="2023-07-06T09:11:25.016" v="1664" actId="1440"/>
          <ac:picMkLst>
            <pc:docMk/>
            <pc:sldMk cId="2531410684" sldId="767"/>
            <ac:picMk id="5" creationId="{804A7342-5EA9-BACE-FEC8-F52398F72C24}"/>
          </ac:picMkLst>
        </pc:picChg>
      </pc:sldChg>
      <pc:sldChg chg="add modTransition">
        <pc:chgData name="Thomas Stensitzki" userId="75cafe6b-2f2a-469b-85c4-eec3b9c972ba" providerId="ADAL" clId="{38265734-310D-45C8-99C3-9326DBD1A9F5}" dt="2023-07-06T09:12:47.870" v="1675"/>
        <pc:sldMkLst>
          <pc:docMk/>
          <pc:sldMk cId="466978322" sldId="768"/>
        </pc:sldMkLst>
      </pc:sldChg>
      <pc:sldChg chg="addSp delSp modSp add mod modTransition">
        <pc:chgData name="Thomas Stensitzki" userId="75cafe6b-2f2a-469b-85c4-eec3b9c972ba" providerId="ADAL" clId="{38265734-310D-45C8-99C3-9326DBD1A9F5}" dt="2023-07-06T09:12:47.870" v="1675"/>
        <pc:sldMkLst>
          <pc:docMk/>
          <pc:sldMk cId="3413044843" sldId="769"/>
        </pc:sldMkLst>
        <pc:spChg chg="del">
          <ac:chgData name="Thomas Stensitzki" userId="75cafe6b-2f2a-469b-85c4-eec3b9c972ba" providerId="ADAL" clId="{38265734-310D-45C8-99C3-9326DBD1A9F5}" dt="2023-07-06T09:12:15.501" v="1670" actId="478"/>
          <ac:spMkLst>
            <pc:docMk/>
            <pc:sldMk cId="3413044843" sldId="769"/>
            <ac:spMk id="6" creationId="{F8D64169-68E5-6887-9282-25E78AEAC325}"/>
          </ac:spMkLst>
        </pc:spChg>
        <pc:spChg chg="add del">
          <ac:chgData name="Thomas Stensitzki" userId="75cafe6b-2f2a-469b-85c4-eec3b9c972ba" providerId="ADAL" clId="{38265734-310D-45C8-99C3-9326DBD1A9F5}" dt="2023-07-06T09:12:18.468" v="1672" actId="22"/>
          <ac:spMkLst>
            <pc:docMk/>
            <pc:sldMk cId="3413044843" sldId="769"/>
            <ac:spMk id="7" creationId="{6C88EE93-C845-6C9E-4400-AE43A5B0FC21}"/>
          </ac:spMkLst>
        </pc:spChg>
        <pc:picChg chg="del">
          <ac:chgData name="Thomas Stensitzki" userId="75cafe6b-2f2a-469b-85c4-eec3b9c972ba" providerId="ADAL" clId="{38265734-310D-45C8-99C3-9326DBD1A9F5}" dt="2023-07-06T09:12:14.606" v="1669" actId="478"/>
          <ac:picMkLst>
            <pc:docMk/>
            <pc:sldMk cId="3413044843" sldId="769"/>
            <ac:picMk id="5" creationId="{804A7342-5EA9-BACE-FEC8-F52398F72C24}"/>
          </ac:picMkLst>
        </pc:picChg>
        <pc:picChg chg="add mod">
          <ac:chgData name="Thomas Stensitzki" userId="75cafe6b-2f2a-469b-85c4-eec3b9c972ba" providerId="ADAL" clId="{38265734-310D-45C8-99C3-9326DBD1A9F5}" dt="2023-07-06T09:12:33.527" v="1674" actId="14100"/>
          <ac:picMkLst>
            <pc:docMk/>
            <pc:sldMk cId="3413044843" sldId="769"/>
            <ac:picMk id="4098" creationId="{3CB8A4F7-7A2A-770C-21FF-A256E4720E03}"/>
          </ac:picMkLst>
        </pc:picChg>
      </pc:sldChg>
      <pc:sldChg chg="modSp new mod">
        <pc:chgData name="Thomas Stensitzki" userId="75cafe6b-2f2a-469b-85c4-eec3b9c972ba" providerId="ADAL" clId="{38265734-310D-45C8-99C3-9326DBD1A9F5}" dt="2023-07-06T11:28:23.634" v="1729" actId="20577"/>
        <pc:sldMkLst>
          <pc:docMk/>
          <pc:sldMk cId="679298916" sldId="770"/>
        </pc:sldMkLst>
        <pc:spChg chg="mod">
          <ac:chgData name="Thomas Stensitzki" userId="75cafe6b-2f2a-469b-85c4-eec3b9c972ba" providerId="ADAL" clId="{38265734-310D-45C8-99C3-9326DBD1A9F5}" dt="2023-07-06T11:28:23.634" v="1729" actId="20577"/>
          <ac:spMkLst>
            <pc:docMk/>
            <pc:sldMk cId="679298916" sldId="770"/>
            <ac:spMk id="2" creationId="{85452FCA-968B-B860-955D-8E5FBBDEE6BB}"/>
          </ac:spMkLst>
        </pc:spChg>
        <pc:spChg chg="mod">
          <ac:chgData name="Thomas Stensitzki" userId="75cafe6b-2f2a-469b-85c4-eec3b9c972ba" providerId="ADAL" clId="{38265734-310D-45C8-99C3-9326DBD1A9F5}" dt="2023-07-06T11:26:58.702" v="1718"/>
          <ac:spMkLst>
            <pc:docMk/>
            <pc:sldMk cId="679298916" sldId="770"/>
            <ac:spMk id="3" creationId="{FC9FE975-560B-7F8C-CA40-1CB0104E219F}"/>
          </ac:spMkLst>
        </pc:spChg>
      </pc:sldChg>
      <pc:sldChg chg="modSp new mod">
        <pc:chgData name="Thomas Stensitzki" userId="75cafe6b-2f2a-469b-85c4-eec3b9c972ba" providerId="ADAL" clId="{38265734-310D-45C8-99C3-9326DBD1A9F5}" dt="2023-07-06T11:40:51.483" v="1733" actId="20577"/>
        <pc:sldMkLst>
          <pc:docMk/>
          <pc:sldMk cId="1476531" sldId="771"/>
        </pc:sldMkLst>
        <pc:spChg chg="mod">
          <ac:chgData name="Thomas Stensitzki" userId="75cafe6b-2f2a-469b-85c4-eec3b9c972ba" providerId="ADAL" clId="{38265734-310D-45C8-99C3-9326DBD1A9F5}" dt="2023-07-06T11:40:51.483" v="1733" actId="20577"/>
          <ac:spMkLst>
            <pc:docMk/>
            <pc:sldMk cId="1476531" sldId="771"/>
            <ac:spMk id="3" creationId="{693B2707-9A38-03EB-2424-5942ACB67B30}"/>
          </ac:spMkLst>
        </pc:spChg>
      </pc:sldChg>
    </pc:docChg>
  </pc:docChgLst>
  <pc:docChgLst>
    <pc:chgData name="Thomas Stensitzki" userId="75cafe6b-2f2a-469b-85c4-eec3b9c972ba" providerId="ADAL" clId="{BE8F4EE5-CF52-46AD-A386-2ADC59A29254}"/>
    <pc:docChg chg="modSld">
      <pc:chgData name="Thomas Stensitzki" userId="75cafe6b-2f2a-469b-85c4-eec3b9c972ba" providerId="ADAL" clId="{BE8F4EE5-CF52-46AD-A386-2ADC59A29254}" dt="2021-02-04T16:39:39.722" v="6"/>
      <pc:docMkLst>
        <pc:docMk/>
      </pc:docMkLst>
      <pc:sldChg chg="modSp mod">
        <pc:chgData name="Thomas Stensitzki" userId="75cafe6b-2f2a-469b-85c4-eec3b9c972ba" providerId="ADAL" clId="{BE8F4EE5-CF52-46AD-A386-2ADC59A29254}" dt="2021-02-04T16:39:39.722" v="6"/>
        <pc:sldMkLst>
          <pc:docMk/>
          <pc:sldMk cId="2855324227" sldId="257"/>
        </pc:sldMkLst>
        <pc:graphicFrameChg chg="mod modGraphic">
          <ac:chgData name="Thomas Stensitzki" userId="75cafe6b-2f2a-469b-85c4-eec3b9c972ba" providerId="ADAL" clId="{BE8F4EE5-CF52-46AD-A386-2ADC59A29254}" dt="2021-02-04T16:39:39.722" v="6"/>
          <ac:graphicFrameMkLst>
            <pc:docMk/>
            <pc:sldMk cId="2855324227" sldId="257"/>
            <ac:graphicFrameMk id="6" creationId="{0F955DCC-462D-431D-BBDE-26F10687D590}"/>
          </ac:graphicFrameMkLst>
        </pc:graphicFrameChg>
      </pc:sldChg>
    </pc:docChg>
  </pc:docChgLst>
  <pc:docChgLst>
    <pc:chgData name="Thomas Stensitzki" userId="S::thomas.stensitzki@granikos.eu::75cafe6b-2f2a-469b-85c4-eec3b9c972ba" providerId="AD" clId="Web-{9A4CCA33-46F4-1FAD-A33E-B3E115A869B5}"/>
    <pc:docChg chg="addSld modSld sldOrd modSection">
      <pc:chgData name="Thomas Stensitzki" userId="S::thomas.stensitzki@granikos.eu::75cafe6b-2f2a-469b-85c4-eec3b9c972ba" providerId="AD" clId="Web-{9A4CCA33-46F4-1FAD-A33E-B3E115A869B5}" dt="2023-07-05T07:32:39.185" v="21" actId="1076"/>
      <pc:docMkLst>
        <pc:docMk/>
      </pc:docMkLst>
      <pc:sldChg chg="modSp">
        <pc:chgData name="Thomas Stensitzki" userId="S::thomas.stensitzki@granikos.eu::75cafe6b-2f2a-469b-85c4-eec3b9c972ba" providerId="AD" clId="Web-{9A4CCA33-46F4-1FAD-A33E-B3E115A869B5}" dt="2023-07-05T07:30:39.757" v="0" actId="14100"/>
        <pc:sldMkLst>
          <pc:docMk/>
          <pc:sldMk cId="2227487991" sldId="378"/>
        </pc:sldMkLst>
        <pc:spChg chg="mod">
          <ac:chgData name="Thomas Stensitzki" userId="S::thomas.stensitzki@granikos.eu::75cafe6b-2f2a-469b-85c4-eec3b9c972ba" providerId="AD" clId="Web-{9A4CCA33-46F4-1FAD-A33E-B3E115A869B5}" dt="2023-07-05T07:30:39.757" v="0" actId="14100"/>
          <ac:spMkLst>
            <pc:docMk/>
            <pc:sldMk cId="2227487991" sldId="378"/>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0:59.852" v="4" actId="14100"/>
        <pc:sldMkLst>
          <pc:docMk/>
          <pc:sldMk cId="3441249704" sldId="756"/>
        </pc:sldMkLst>
        <pc:spChg chg="mod">
          <ac:chgData name="Thomas Stensitzki" userId="S::thomas.stensitzki@granikos.eu::75cafe6b-2f2a-469b-85c4-eec3b9c972ba" providerId="AD" clId="Web-{9A4CCA33-46F4-1FAD-A33E-B3E115A869B5}" dt="2023-07-05T07:30:59.852" v="4" actId="14100"/>
          <ac:spMkLst>
            <pc:docMk/>
            <pc:sldMk cId="3441249704" sldId="756"/>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1:17.775" v="7" actId="1076"/>
        <pc:sldMkLst>
          <pc:docMk/>
          <pc:sldMk cId="2120421256" sldId="757"/>
        </pc:sldMkLst>
        <pc:spChg chg="mod">
          <ac:chgData name="Thomas Stensitzki" userId="S::thomas.stensitzki@granikos.eu::75cafe6b-2f2a-469b-85c4-eec3b9c972ba" providerId="AD" clId="Web-{9A4CCA33-46F4-1FAD-A33E-B3E115A869B5}" dt="2023-07-05T07:31:17.775" v="7" actId="1076"/>
          <ac:spMkLst>
            <pc:docMk/>
            <pc:sldMk cId="2120421256" sldId="757"/>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1:30.776" v="10" actId="1076"/>
        <pc:sldMkLst>
          <pc:docMk/>
          <pc:sldMk cId="3538299181" sldId="758"/>
        </pc:sldMkLst>
        <pc:spChg chg="mod">
          <ac:chgData name="Thomas Stensitzki" userId="S::thomas.stensitzki@granikos.eu::75cafe6b-2f2a-469b-85c4-eec3b9c972ba" providerId="AD" clId="Web-{9A4CCA33-46F4-1FAD-A33E-B3E115A869B5}" dt="2023-07-05T07:31:30.776" v="10" actId="1076"/>
          <ac:spMkLst>
            <pc:docMk/>
            <pc:sldMk cId="3538299181" sldId="758"/>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1:59.840" v="14" actId="14100"/>
        <pc:sldMkLst>
          <pc:docMk/>
          <pc:sldMk cId="2253260559" sldId="759"/>
        </pc:sldMkLst>
        <pc:spChg chg="mod">
          <ac:chgData name="Thomas Stensitzki" userId="S::thomas.stensitzki@granikos.eu::75cafe6b-2f2a-469b-85c4-eec3b9c972ba" providerId="AD" clId="Web-{9A4CCA33-46F4-1FAD-A33E-B3E115A869B5}" dt="2023-07-05T07:31:59.840" v="14" actId="14100"/>
          <ac:spMkLst>
            <pc:docMk/>
            <pc:sldMk cId="2253260559" sldId="759"/>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2:17.872" v="18" actId="14100"/>
        <pc:sldMkLst>
          <pc:docMk/>
          <pc:sldMk cId="3932105883" sldId="760"/>
        </pc:sldMkLst>
        <pc:spChg chg="mod">
          <ac:chgData name="Thomas Stensitzki" userId="S::thomas.stensitzki@granikos.eu::75cafe6b-2f2a-469b-85c4-eec3b9c972ba" providerId="AD" clId="Web-{9A4CCA33-46F4-1FAD-A33E-B3E115A869B5}" dt="2023-07-05T07:32:17.872" v="18" actId="14100"/>
          <ac:spMkLst>
            <pc:docMk/>
            <pc:sldMk cId="3932105883" sldId="760"/>
            <ac:spMk id="2" creationId="{909DC09D-B9A6-4493-9A72-1CA7ECB1F5CA}"/>
          </ac:spMkLst>
        </pc:spChg>
      </pc:sldChg>
      <pc:sldChg chg="modSp add ord replId">
        <pc:chgData name="Thomas Stensitzki" userId="S::thomas.stensitzki@granikos.eu::75cafe6b-2f2a-469b-85c4-eec3b9c972ba" providerId="AD" clId="Web-{9A4CCA33-46F4-1FAD-A33E-B3E115A869B5}" dt="2023-07-05T07:32:39.185" v="21" actId="1076"/>
        <pc:sldMkLst>
          <pc:docMk/>
          <pc:sldMk cId="3362652068" sldId="761"/>
        </pc:sldMkLst>
        <pc:spChg chg="mod">
          <ac:chgData name="Thomas Stensitzki" userId="S::thomas.stensitzki@granikos.eu::75cafe6b-2f2a-469b-85c4-eec3b9c972ba" providerId="AD" clId="Web-{9A4CCA33-46F4-1FAD-A33E-B3E115A869B5}" dt="2023-07-05T07:32:39.185" v="21" actId="1076"/>
          <ac:spMkLst>
            <pc:docMk/>
            <pc:sldMk cId="3362652068" sldId="761"/>
            <ac:spMk id="2" creationId="{909DC09D-B9A6-4493-9A72-1CA7ECB1F5CA}"/>
          </ac:spMkLst>
        </pc:spChg>
      </pc:sldChg>
    </pc:docChg>
  </pc:docChgLst>
  <pc:docChgLst>
    <pc:chgData name="Thomas Stensitzki" userId="75cafe6b-2f2a-469b-85c4-eec3b9c972ba" providerId="ADAL" clId="{04798C56-1619-44FF-99CC-951BCBEDA3B6}"/>
    <pc:docChg chg="undo custSel addSld delSld modSld sldOrd addSection modSection">
      <pc:chgData name="Thomas Stensitzki" userId="75cafe6b-2f2a-469b-85c4-eec3b9c972ba" providerId="ADAL" clId="{04798C56-1619-44FF-99CC-951BCBEDA3B6}" dt="2021-10-24T11:56:50.744" v="5141" actId="20577"/>
      <pc:docMkLst>
        <pc:docMk/>
      </pc:docMkLst>
      <pc:sldChg chg="modSp mod">
        <pc:chgData name="Thomas Stensitzki" userId="75cafe6b-2f2a-469b-85c4-eec3b9c972ba" providerId="ADAL" clId="{04798C56-1619-44FF-99CC-951BCBEDA3B6}" dt="2021-10-16T08:06:48.501" v="11" actId="20577"/>
        <pc:sldMkLst>
          <pc:docMk/>
          <pc:sldMk cId="671489701" sldId="256"/>
        </pc:sldMkLst>
        <pc:spChg chg="mod">
          <ac:chgData name="Thomas Stensitzki" userId="75cafe6b-2f2a-469b-85c4-eec3b9c972ba" providerId="ADAL" clId="{04798C56-1619-44FF-99CC-951BCBEDA3B6}" dt="2021-10-16T08:06:48.501" v="11" actId="20577"/>
          <ac:spMkLst>
            <pc:docMk/>
            <pc:sldMk cId="671489701" sldId="256"/>
            <ac:spMk id="3" creationId="{CBA95633-B02D-4A15-A8B1-A38E0A70FD27}"/>
          </ac:spMkLst>
        </pc:spChg>
      </pc:sldChg>
      <pc:sldChg chg="modSp mod">
        <pc:chgData name="Thomas Stensitzki" userId="75cafe6b-2f2a-469b-85c4-eec3b9c972ba" providerId="ADAL" clId="{04798C56-1619-44FF-99CC-951BCBEDA3B6}" dt="2021-10-21T13:06:10.613" v="4427"/>
        <pc:sldMkLst>
          <pc:docMk/>
          <pc:sldMk cId="2855324227" sldId="257"/>
        </pc:sldMkLst>
        <pc:spChg chg="mod">
          <ac:chgData name="Thomas Stensitzki" userId="75cafe6b-2f2a-469b-85c4-eec3b9c972ba" providerId="ADAL" clId="{04798C56-1619-44FF-99CC-951BCBEDA3B6}" dt="2021-10-16T08:07:25.110" v="63" actId="20577"/>
          <ac:spMkLst>
            <pc:docMk/>
            <pc:sldMk cId="2855324227" sldId="257"/>
            <ac:spMk id="5" creationId="{EE6719E1-4DB6-4D58-BA77-937CF975247C}"/>
          </ac:spMkLst>
        </pc:spChg>
        <pc:graphicFrameChg chg="mod modGraphic">
          <ac:chgData name="Thomas Stensitzki" userId="75cafe6b-2f2a-469b-85c4-eec3b9c972ba" providerId="ADAL" clId="{04798C56-1619-44FF-99CC-951BCBEDA3B6}" dt="2021-10-21T13:06:10.613" v="4427"/>
          <ac:graphicFrameMkLst>
            <pc:docMk/>
            <pc:sldMk cId="2855324227" sldId="257"/>
            <ac:graphicFrameMk id="6" creationId="{0F955DCC-462D-431D-BBDE-26F10687D590}"/>
          </ac:graphicFrameMkLst>
        </pc:graphicFrameChg>
      </pc:sldChg>
      <pc:sldChg chg="modSp mod">
        <pc:chgData name="Thomas Stensitzki" userId="75cafe6b-2f2a-469b-85c4-eec3b9c972ba" providerId="ADAL" clId="{04798C56-1619-44FF-99CC-951BCBEDA3B6}" dt="2021-10-21T13:34:15.525" v="5128" actId="20577"/>
        <pc:sldMkLst>
          <pc:docMk/>
          <pc:sldMk cId="3332792154" sldId="258"/>
        </pc:sldMkLst>
        <pc:spChg chg="mod">
          <ac:chgData name="Thomas Stensitzki" userId="75cafe6b-2f2a-469b-85c4-eec3b9c972ba" providerId="ADAL" clId="{04798C56-1619-44FF-99CC-951BCBEDA3B6}" dt="2021-10-21T13:34:15.525" v="5128" actId="20577"/>
          <ac:spMkLst>
            <pc:docMk/>
            <pc:sldMk cId="3332792154" sldId="258"/>
            <ac:spMk id="3" creationId="{3A5A44EB-7FB9-473A-8ED3-C49DDD2E65AB}"/>
          </ac:spMkLst>
        </pc:spChg>
      </pc:sldChg>
      <pc:sldChg chg="delSp mod ord">
        <pc:chgData name="Thomas Stensitzki" userId="75cafe6b-2f2a-469b-85c4-eec3b9c972ba" providerId="ADAL" clId="{04798C56-1619-44FF-99CC-951BCBEDA3B6}" dt="2021-10-21T13:05:33.349" v="4423"/>
        <pc:sldMkLst>
          <pc:docMk/>
          <pc:sldMk cId="2698998357" sldId="260"/>
        </pc:sldMkLst>
        <pc:spChg chg="del">
          <ac:chgData name="Thomas Stensitzki" userId="75cafe6b-2f2a-469b-85c4-eec3b9c972ba" providerId="ADAL" clId="{04798C56-1619-44FF-99CC-951BCBEDA3B6}" dt="2021-10-16T08:29:25.765" v="179" actId="478"/>
          <ac:spMkLst>
            <pc:docMk/>
            <pc:sldMk cId="2698998357" sldId="260"/>
            <ac:spMk id="6" creationId="{AC7B595A-A4C5-4A86-B8F3-29469F0A7A0E}"/>
          </ac:spMkLst>
        </pc:spChg>
      </pc:sldChg>
      <pc:sldChg chg="modSp mod">
        <pc:chgData name="Thomas Stensitzki" userId="75cafe6b-2f2a-469b-85c4-eec3b9c972ba" providerId="ADAL" clId="{04798C56-1619-44FF-99CC-951BCBEDA3B6}" dt="2021-10-24T11:56:50.744" v="5141" actId="20577"/>
        <pc:sldMkLst>
          <pc:docMk/>
          <pc:sldMk cId="4007670073" sldId="268"/>
        </pc:sldMkLst>
        <pc:spChg chg="mod">
          <ac:chgData name="Thomas Stensitzki" userId="75cafe6b-2f2a-469b-85c4-eec3b9c972ba" providerId="ADAL" clId="{04798C56-1619-44FF-99CC-951BCBEDA3B6}" dt="2021-10-24T11:56:50.744" v="5141" actId="20577"/>
          <ac:spMkLst>
            <pc:docMk/>
            <pc:sldMk cId="4007670073" sldId="268"/>
            <ac:spMk id="5" creationId="{F3459BE7-1731-4733-A912-12977C68CFD6}"/>
          </ac:spMkLst>
        </pc:spChg>
      </pc:sldChg>
      <pc:sldChg chg="modSp mod">
        <pc:chgData name="Thomas Stensitzki" userId="75cafe6b-2f2a-469b-85c4-eec3b9c972ba" providerId="ADAL" clId="{04798C56-1619-44FF-99CC-951BCBEDA3B6}" dt="2021-10-18T07:06:30.752" v="4422" actId="6549"/>
        <pc:sldMkLst>
          <pc:docMk/>
          <pc:sldMk cId="2721051844" sldId="269"/>
        </pc:sldMkLst>
        <pc:spChg chg="mod">
          <ac:chgData name="Thomas Stensitzki" userId="75cafe6b-2f2a-469b-85c4-eec3b9c972ba" providerId="ADAL" clId="{04798C56-1619-44FF-99CC-951BCBEDA3B6}" dt="2021-10-18T07:06:30.752" v="4422" actId="6549"/>
          <ac:spMkLst>
            <pc:docMk/>
            <pc:sldMk cId="2721051844" sldId="269"/>
            <ac:spMk id="5" creationId="{C24DACB5-1BEC-4C86-9652-BAFD8DE56FEF}"/>
          </ac:spMkLst>
        </pc:spChg>
      </pc:sldChg>
      <pc:sldChg chg="modSp mod ord">
        <pc:chgData name="Thomas Stensitzki" userId="75cafe6b-2f2a-469b-85c4-eec3b9c972ba" providerId="ADAL" clId="{04798C56-1619-44FF-99CC-951BCBEDA3B6}" dt="2021-10-21T13:05:36.332" v="4424"/>
        <pc:sldMkLst>
          <pc:docMk/>
          <pc:sldMk cId="53967156" sldId="297"/>
        </pc:sldMkLst>
        <pc:spChg chg="mod">
          <ac:chgData name="Thomas Stensitzki" userId="75cafe6b-2f2a-469b-85c4-eec3b9c972ba" providerId="ADAL" clId="{04798C56-1619-44FF-99CC-951BCBEDA3B6}" dt="2021-10-16T08:30:11.002" v="185" actId="6549"/>
          <ac:spMkLst>
            <pc:docMk/>
            <pc:sldMk cId="53967156" sldId="297"/>
            <ac:spMk id="4" creationId="{F3A15CBD-C746-44A3-A4F0-4898CE2F02E6}"/>
          </ac:spMkLst>
        </pc:spChg>
        <pc:spChg chg="mod">
          <ac:chgData name="Thomas Stensitzki" userId="75cafe6b-2f2a-469b-85c4-eec3b9c972ba" providerId="ADAL" clId="{04798C56-1619-44FF-99CC-951BCBEDA3B6}" dt="2021-10-16T08:30:33.213" v="195" actId="6549"/>
          <ac:spMkLst>
            <pc:docMk/>
            <pc:sldMk cId="53967156" sldId="297"/>
            <ac:spMk id="5" creationId="{F3459BE7-1731-4733-A912-12977C68CFD6}"/>
          </ac:spMkLst>
        </pc:spChg>
      </pc:sldChg>
      <pc:sldChg chg="modSp del modAnim">
        <pc:chgData name="Thomas Stensitzki" userId="75cafe6b-2f2a-469b-85c4-eec3b9c972ba" providerId="ADAL" clId="{04798C56-1619-44FF-99CC-951BCBEDA3B6}" dt="2021-10-21T13:33:34.479" v="5107" actId="47"/>
        <pc:sldMkLst>
          <pc:docMk/>
          <pc:sldMk cId="222169851" sldId="312"/>
        </pc:sldMkLst>
        <pc:spChg chg="mod">
          <ac:chgData name="Thomas Stensitzki" userId="75cafe6b-2f2a-469b-85c4-eec3b9c972ba" providerId="ADAL" clId="{04798C56-1619-44FF-99CC-951BCBEDA3B6}" dt="2021-10-21T13:22:22.075" v="4490" actId="20577"/>
          <ac:spMkLst>
            <pc:docMk/>
            <pc:sldMk cId="222169851" sldId="312"/>
            <ac:spMk id="4" creationId="{7B30EE16-D925-417D-89E0-E0CFDA2C14B8}"/>
          </ac:spMkLst>
        </pc:spChg>
        <pc:spChg chg="mod">
          <ac:chgData name="Thomas Stensitzki" userId="75cafe6b-2f2a-469b-85c4-eec3b9c972ba" providerId="ADAL" clId="{04798C56-1619-44FF-99CC-951BCBEDA3B6}" dt="2021-10-21T13:28:58.491" v="4803" actId="20577"/>
          <ac:spMkLst>
            <pc:docMk/>
            <pc:sldMk cId="222169851" sldId="312"/>
            <ac:spMk id="5" creationId="{E4B561B6-C0CF-43D8-8BC7-F305B96C47C8}"/>
          </ac:spMkLst>
        </pc:spChg>
      </pc:sldChg>
      <pc:sldChg chg="modSp del mod">
        <pc:chgData name="Thomas Stensitzki" userId="75cafe6b-2f2a-469b-85c4-eec3b9c972ba" providerId="ADAL" clId="{04798C56-1619-44FF-99CC-951BCBEDA3B6}" dt="2021-10-16T08:53:15.876" v="252" actId="47"/>
        <pc:sldMkLst>
          <pc:docMk/>
          <pc:sldMk cId="3298503951" sldId="372"/>
        </pc:sldMkLst>
        <pc:spChg chg="mod">
          <ac:chgData name="Thomas Stensitzki" userId="75cafe6b-2f2a-469b-85c4-eec3b9c972ba" providerId="ADAL" clId="{04798C56-1619-44FF-99CC-951BCBEDA3B6}" dt="2021-10-16T08:52:50.564" v="250" actId="1076"/>
          <ac:spMkLst>
            <pc:docMk/>
            <pc:sldMk cId="3298503951" sldId="372"/>
            <ac:spMk id="2" creationId="{909DC09D-B9A6-4493-9A72-1CA7ECB1F5CA}"/>
          </ac:spMkLst>
        </pc:spChg>
      </pc:sldChg>
      <pc:sldChg chg="modSp mod">
        <pc:chgData name="Thomas Stensitzki" userId="75cafe6b-2f2a-469b-85c4-eec3b9c972ba" providerId="ADAL" clId="{04798C56-1619-44FF-99CC-951BCBEDA3B6}" dt="2021-10-18T06:50:38.860" v="3514" actId="14100"/>
        <pc:sldMkLst>
          <pc:docMk/>
          <pc:sldMk cId="2227487991" sldId="378"/>
        </pc:sldMkLst>
        <pc:spChg chg="mod">
          <ac:chgData name="Thomas Stensitzki" userId="75cafe6b-2f2a-469b-85c4-eec3b9c972ba" providerId="ADAL" clId="{04798C56-1619-44FF-99CC-951BCBEDA3B6}" dt="2021-10-18T06:50:38.860" v="3514" actId="14100"/>
          <ac:spMkLst>
            <pc:docMk/>
            <pc:sldMk cId="2227487991" sldId="378"/>
            <ac:spMk id="2" creationId="{909DC09D-B9A6-4493-9A72-1CA7ECB1F5CA}"/>
          </ac:spMkLst>
        </pc:spChg>
        <pc:spChg chg="mod">
          <ac:chgData name="Thomas Stensitzki" userId="75cafe6b-2f2a-469b-85c4-eec3b9c972ba" providerId="ADAL" clId="{04798C56-1619-44FF-99CC-951BCBEDA3B6}" dt="2021-10-16T09:06:08.755" v="275" actId="20577"/>
          <ac:spMkLst>
            <pc:docMk/>
            <pc:sldMk cId="2227487991" sldId="378"/>
            <ac:spMk id="4" creationId="{D12969B4-351A-4517-A5B8-3E6AD9CDB206}"/>
          </ac:spMkLst>
        </pc:spChg>
        <pc:spChg chg="mod">
          <ac:chgData name="Thomas Stensitzki" userId="75cafe6b-2f2a-469b-85c4-eec3b9c972ba" providerId="ADAL" clId="{04798C56-1619-44FF-99CC-951BCBEDA3B6}" dt="2021-10-16T11:37:02.088" v="3118" actId="20577"/>
          <ac:spMkLst>
            <pc:docMk/>
            <pc:sldMk cId="2227487991" sldId="378"/>
            <ac:spMk id="5" creationId="{C24DACB5-1BEC-4C86-9652-BAFD8DE56FEF}"/>
          </ac:spMkLst>
        </pc:spChg>
      </pc:sldChg>
      <pc:sldChg chg="del">
        <pc:chgData name="Thomas Stensitzki" userId="75cafe6b-2f2a-469b-85c4-eec3b9c972ba" providerId="ADAL" clId="{04798C56-1619-44FF-99CC-951BCBEDA3B6}" dt="2021-10-16T08:52:41.648" v="249" actId="47"/>
        <pc:sldMkLst>
          <pc:docMk/>
          <pc:sldMk cId="2708846828" sldId="392"/>
        </pc:sldMkLst>
      </pc:sldChg>
      <pc:sldChg chg="del">
        <pc:chgData name="Thomas Stensitzki" userId="75cafe6b-2f2a-469b-85c4-eec3b9c972ba" providerId="ADAL" clId="{04798C56-1619-44FF-99CC-951BCBEDA3B6}" dt="2021-10-16T08:53:12.649" v="251" actId="47"/>
        <pc:sldMkLst>
          <pc:docMk/>
          <pc:sldMk cId="403790565" sldId="492"/>
        </pc:sldMkLst>
      </pc:sldChg>
      <pc:sldChg chg="del">
        <pc:chgData name="Thomas Stensitzki" userId="75cafe6b-2f2a-469b-85c4-eec3b9c972ba" providerId="ADAL" clId="{04798C56-1619-44FF-99CC-951BCBEDA3B6}" dt="2021-10-16T08:52:30.817" v="248" actId="47"/>
        <pc:sldMkLst>
          <pc:docMk/>
          <pc:sldMk cId="2819505311" sldId="493"/>
        </pc:sldMkLst>
      </pc:sldChg>
      <pc:sldChg chg="del">
        <pc:chgData name="Thomas Stensitzki" userId="75cafe6b-2f2a-469b-85c4-eec3b9c972ba" providerId="ADAL" clId="{04798C56-1619-44FF-99CC-951BCBEDA3B6}" dt="2021-10-16T08:53:12.649" v="251" actId="47"/>
        <pc:sldMkLst>
          <pc:docMk/>
          <pc:sldMk cId="900203790" sldId="494"/>
        </pc:sldMkLst>
      </pc:sldChg>
      <pc:sldChg chg="del">
        <pc:chgData name="Thomas Stensitzki" userId="75cafe6b-2f2a-469b-85c4-eec3b9c972ba" providerId="ADAL" clId="{04798C56-1619-44FF-99CC-951BCBEDA3B6}" dt="2021-10-16T08:53:12.649" v="251" actId="47"/>
        <pc:sldMkLst>
          <pc:docMk/>
          <pc:sldMk cId="2871162903" sldId="495"/>
        </pc:sldMkLst>
      </pc:sldChg>
      <pc:sldChg chg="del">
        <pc:chgData name="Thomas Stensitzki" userId="75cafe6b-2f2a-469b-85c4-eec3b9c972ba" providerId="ADAL" clId="{04798C56-1619-44FF-99CC-951BCBEDA3B6}" dt="2021-10-16T08:53:15.876" v="252" actId="47"/>
        <pc:sldMkLst>
          <pc:docMk/>
          <pc:sldMk cId="503783842" sldId="496"/>
        </pc:sldMkLst>
      </pc:sldChg>
      <pc:sldChg chg="del">
        <pc:chgData name="Thomas Stensitzki" userId="75cafe6b-2f2a-469b-85c4-eec3b9c972ba" providerId="ADAL" clId="{04798C56-1619-44FF-99CC-951BCBEDA3B6}" dt="2021-10-16T08:52:30.817" v="248" actId="47"/>
        <pc:sldMkLst>
          <pc:docMk/>
          <pc:sldMk cId="1558837248" sldId="497"/>
        </pc:sldMkLst>
      </pc:sldChg>
      <pc:sldChg chg="del">
        <pc:chgData name="Thomas Stensitzki" userId="75cafe6b-2f2a-469b-85c4-eec3b9c972ba" providerId="ADAL" clId="{04798C56-1619-44FF-99CC-951BCBEDA3B6}" dt="2021-10-16T08:52:30.817" v="248" actId="47"/>
        <pc:sldMkLst>
          <pc:docMk/>
          <pc:sldMk cId="4139680906" sldId="498"/>
        </pc:sldMkLst>
      </pc:sldChg>
      <pc:sldChg chg="del">
        <pc:chgData name="Thomas Stensitzki" userId="75cafe6b-2f2a-469b-85c4-eec3b9c972ba" providerId="ADAL" clId="{04798C56-1619-44FF-99CC-951BCBEDA3B6}" dt="2021-10-16T08:53:15.876" v="252" actId="47"/>
        <pc:sldMkLst>
          <pc:docMk/>
          <pc:sldMk cId="1091876782" sldId="499"/>
        </pc:sldMkLst>
      </pc:sldChg>
      <pc:sldChg chg="del">
        <pc:chgData name="Thomas Stensitzki" userId="75cafe6b-2f2a-469b-85c4-eec3b9c972ba" providerId="ADAL" clId="{04798C56-1619-44FF-99CC-951BCBEDA3B6}" dt="2021-10-16T08:52:30.817" v="248" actId="47"/>
        <pc:sldMkLst>
          <pc:docMk/>
          <pc:sldMk cId="3233405587" sldId="500"/>
        </pc:sldMkLst>
      </pc:sldChg>
      <pc:sldChg chg="del">
        <pc:chgData name="Thomas Stensitzki" userId="75cafe6b-2f2a-469b-85c4-eec3b9c972ba" providerId="ADAL" clId="{04798C56-1619-44FF-99CC-951BCBEDA3B6}" dt="2021-10-16T08:53:12.649" v="251" actId="47"/>
        <pc:sldMkLst>
          <pc:docMk/>
          <pc:sldMk cId="1828632953" sldId="501"/>
        </pc:sldMkLst>
      </pc:sldChg>
      <pc:sldChg chg="del">
        <pc:chgData name="Thomas Stensitzki" userId="75cafe6b-2f2a-469b-85c4-eec3b9c972ba" providerId="ADAL" clId="{04798C56-1619-44FF-99CC-951BCBEDA3B6}" dt="2021-10-16T08:53:12.649" v="251" actId="47"/>
        <pc:sldMkLst>
          <pc:docMk/>
          <pc:sldMk cId="705434850" sldId="502"/>
        </pc:sldMkLst>
      </pc:sldChg>
      <pc:sldChg chg="del">
        <pc:chgData name="Thomas Stensitzki" userId="75cafe6b-2f2a-469b-85c4-eec3b9c972ba" providerId="ADAL" clId="{04798C56-1619-44FF-99CC-951BCBEDA3B6}" dt="2021-10-16T08:53:12.649" v="251" actId="47"/>
        <pc:sldMkLst>
          <pc:docMk/>
          <pc:sldMk cId="2116552428" sldId="503"/>
        </pc:sldMkLst>
      </pc:sldChg>
      <pc:sldChg chg="del">
        <pc:chgData name="Thomas Stensitzki" userId="75cafe6b-2f2a-469b-85c4-eec3b9c972ba" providerId="ADAL" clId="{04798C56-1619-44FF-99CC-951BCBEDA3B6}" dt="2021-10-16T08:53:12.649" v="251" actId="47"/>
        <pc:sldMkLst>
          <pc:docMk/>
          <pc:sldMk cId="2167590192" sldId="504"/>
        </pc:sldMkLst>
      </pc:sldChg>
      <pc:sldChg chg="del">
        <pc:chgData name="Thomas Stensitzki" userId="75cafe6b-2f2a-469b-85c4-eec3b9c972ba" providerId="ADAL" clId="{04798C56-1619-44FF-99CC-951BCBEDA3B6}" dt="2021-10-16T08:53:15.876" v="252" actId="47"/>
        <pc:sldMkLst>
          <pc:docMk/>
          <pc:sldMk cId="2730644169" sldId="505"/>
        </pc:sldMkLst>
      </pc:sldChg>
      <pc:sldChg chg="del">
        <pc:chgData name="Thomas Stensitzki" userId="75cafe6b-2f2a-469b-85c4-eec3b9c972ba" providerId="ADAL" clId="{04798C56-1619-44FF-99CC-951BCBEDA3B6}" dt="2021-10-16T08:52:30.817" v="248" actId="47"/>
        <pc:sldMkLst>
          <pc:docMk/>
          <pc:sldMk cId="1492262341" sldId="506"/>
        </pc:sldMkLst>
      </pc:sldChg>
      <pc:sldChg chg="del">
        <pc:chgData name="Thomas Stensitzki" userId="75cafe6b-2f2a-469b-85c4-eec3b9c972ba" providerId="ADAL" clId="{04798C56-1619-44FF-99CC-951BCBEDA3B6}" dt="2021-10-16T08:52:30.817" v="248" actId="47"/>
        <pc:sldMkLst>
          <pc:docMk/>
          <pc:sldMk cId="2246989815" sldId="507"/>
        </pc:sldMkLst>
      </pc:sldChg>
      <pc:sldChg chg="del">
        <pc:chgData name="Thomas Stensitzki" userId="75cafe6b-2f2a-469b-85c4-eec3b9c972ba" providerId="ADAL" clId="{04798C56-1619-44FF-99CC-951BCBEDA3B6}" dt="2021-10-16T08:52:30.817" v="248" actId="47"/>
        <pc:sldMkLst>
          <pc:docMk/>
          <pc:sldMk cId="389331669" sldId="508"/>
        </pc:sldMkLst>
      </pc:sldChg>
      <pc:sldChg chg="del">
        <pc:chgData name="Thomas Stensitzki" userId="75cafe6b-2f2a-469b-85c4-eec3b9c972ba" providerId="ADAL" clId="{04798C56-1619-44FF-99CC-951BCBEDA3B6}" dt="2021-10-16T08:52:30.817" v="248" actId="47"/>
        <pc:sldMkLst>
          <pc:docMk/>
          <pc:sldMk cId="3227978394" sldId="509"/>
        </pc:sldMkLst>
      </pc:sldChg>
      <pc:sldChg chg="del">
        <pc:chgData name="Thomas Stensitzki" userId="75cafe6b-2f2a-469b-85c4-eec3b9c972ba" providerId="ADAL" clId="{04798C56-1619-44FF-99CC-951BCBEDA3B6}" dt="2021-10-16T08:52:30.817" v="248" actId="47"/>
        <pc:sldMkLst>
          <pc:docMk/>
          <pc:sldMk cId="222762613" sldId="510"/>
        </pc:sldMkLst>
      </pc:sldChg>
      <pc:sldChg chg="del">
        <pc:chgData name="Thomas Stensitzki" userId="75cafe6b-2f2a-469b-85c4-eec3b9c972ba" providerId="ADAL" clId="{04798C56-1619-44FF-99CC-951BCBEDA3B6}" dt="2021-10-16T08:52:30.817" v="248" actId="47"/>
        <pc:sldMkLst>
          <pc:docMk/>
          <pc:sldMk cId="1154144205" sldId="511"/>
        </pc:sldMkLst>
      </pc:sldChg>
      <pc:sldChg chg="del">
        <pc:chgData name="Thomas Stensitzki" userId="75cafe6b-2f2a-469b-85c4-eec3b9c972ba" providerId="ADAL" clId="{04798C56-1619-44FF-99CC-951BCBEDA3B6}" dt="2021-10-16T08:52:30.817" v="248" actId="47"/>
        <pc:sldMkLst>
          <pc:docMk/>
          <pc:sldMk cId="409371138" sldId="512"/>
        </pc:sldMkLst>
      </pc:sldChg>
      <pc:sldChg chg="addSp delSp modSp new mod modClrScheme chgLayout">
        <pc:chgData name="Thomas Stensitzki" userId="75cafe6b-2f2a-469b-85c4-eec3b9c972ba" providerId="ADAL" clId="{04798C56-1619-44FF-99CC-951BCBEDA3B6}" dt="2021-10-16T08:51:58.903" v="247" actId="1076"/>
        <pc:sldMkLst>
          <pc:docMk/>
          <pc:sldMk cId="2395924320" sldId="514"/>
        </pc:sldMkLst>
        <pc:spChg chg="del mod ord">
          <ac:chgData name="Thomas Stensitzki" userId="75cafe6b-2f2a-469b-85c4-eec3b9c972ba" providerId="ADAL" clId="{04798C56-1619-44FF-99CC-951BCBEDA3B6}" dt="2021-10-16T08:48:19.894" v="219" actId="700"/>
          <ac:spMkLst>
            <pc:docMk/>
            <pc:sldMk cId="2395924320" sldId="514"/>
            <ac:spMk id="2" creationId="{01FB363C-BCA7-43D4-A2C7-94DD6B2716CE}"/>
          </ac:spMkLst>
        </pc:spChg>
        <pc:spChg chg="del">
          <ac:chgData name="Thomas Stensitzki" userId="75cafe6b-2f2a-469b-85c4-eec3b9c972ba" providerId="ADAL" clId="{04798C56-1619-44FF-99CC-951BCBEDA3B6}" dt="2021-10-16T08:48:19.894" v="219" actId="700"/>
          <ac:spMkLst>
            <pc:docMk/>
            <pc:sldMk cId="2395924320" sldId="514"/>
            <ac:spMk id="3" creationId="{4E50326A-442F-4BBC-A63A-E76CCF1A2677}"/>
          </ac:spMkLst>
        </pc:spChg>
        <pc:spChg chg="add mod ord">
          <ac:chgData name="Thomas Stensitzki" userId="75cafe6b-2f2a-469b-85c4-eec3b9c972ba" providerId="ADAL" clId="{04798C56-1619-44FF-99CC-951BCBEDA3B6}" dt="2021-10-16T08:48:19.894" v="219" actId="700"/>
          <ac:spMkLst>
            <pc:docMk/>
            <pc:sldMk cId="2395924320" sldId="514"/>
            <ac:spMk id="4" creationId="{BC4CCBB5-60CA-4E97-BDCF-05CC269D742F}"/>
          </ac:spMkLst>
        </pc:spChg>
        <pc:spChg chg="add mod">
          <ac:chgData name="Thomas Stensitzki" userId="75cafe6b-2f2a-469b-85c4-eec3b9c972ba" providerId="ADAL" clId="{04798C56-1619-44FF-99CC-951BCBEDA3B6}" dt="2021-10-16T08:50:07.144" v="232" actId="14100"/>
          <ac:spMkLst>
            <pc:docMk/>
            <pc:sldMk cId="2395924320" sldId="514"/>
            <ac:spMk id="7" creationId="{AC653FA9-1AB6-49AB-B58A-9D12BB4A4394}"/>
          </ac:spMkLst>
        </pc:spChg>
        <pc:spChg chg="add del mod">
          <ac:chgData name="Thomas Stensitzki" userId="75cafe6b-2f2a-469b-85c4-eec3b9c972ba" providerId="ADAL" clId="{04798C56-1619-44FF-99CC-951BCBEDA3B6}" dt="2021-10-16T08:50:45.666" v="238" actId="22"/>
          <ac:spMkLst>
            <pc:docMk/>
            <pc:sldMk cId="2395924320" sldId="514"/>
            <ac:spMk id="9" creationId="{40C187F2-C573-4CA5-B9DB-398D9EA0C398}"/>
          </ac:spMkLst>
        </pc:spChg>
        <pc:spChg chg="add mod">
          <ac:chgData name="Thomas Stensitzki" userId="75cafe6b-2f2a-469b-85c4-eec3b9c972ba" providerId="ADAL" clId="{04798C56-1619-44FF-99CC-951BCBEDA3B6}" dt="2021-10-16T08:51:58.903" v="247" actId="1076"/>
          <ac:spMkLst>
            <pc:docMk/>
            <pc:sldMk cId="2395924320" sldId="514"/>
            <ac:spMk id="11" creationId="{DBAF0D92-4F5B-43B3-858F-5EAB5EC10308}"/>
          </ac:spMkLst>
        </pc:spChg>
        <pc:picChg chg="add mod">
          <ac:chgData name="Thomas Stensitzki" userId="75cafe6b-2f2a-469b-85c4-eec3b9c972ba" providerId="ADAL" clId="{04798C56-1619-44FF-99CC-951BCBEDA3B6}" dt="2021-10-16T08:49:01.526" v="227" actId="1440"/>
          <ac:picMkLst>
            <pc:docMk/>
            <pc:sldMk cId="2395924320" sldId="514"/>
            <ac:picMk id="6" creationId="{69AC6E8A-ECCC-4CAE-8164-9F3F87C4F2D6}"/>
          </ac:picMkLst>
        </pc:picChg>
      </pc:sldChg>
      <pc:sldChg chg="addSp delSp modSp add mod ord">
        <pc:chgData name="Thomas Stensitzki" userId="75cafe6b-2f2a-469b-85c4-eec3b9c972ba" providerId="ADAL" clId="{04798C56-1619-44FF-99CC-951BCBEDA3B6}" dt="2021-10-18T07:00:13.981" v="4091" actId="14100"/>
        <pc:sldMkLst>
          <pc:docMk/>
          <pc:sldMk cId="3797754622" sldId="515"/>
        </pc:sldMkLst>
        <pc:spChg chg="mod">
          <ac:chgData name="Thomas Stensitzki" userId="75cafe6b-2f2a-469b-85c4-eec3b9c972ba" providerId="ADAL" clId="{04798C56-1619-44FF-99CC-951BCBEDA3B6}" dt="2021-10-18T07:00:13.981" v="4091" actId="14100"/>
          <ac:spMkLst>
            <pc:docMk/>
            <pc:sldMk cId="3797754622" sldId="515"/>
            <ac:spMk id="2" creationId="{909DC09D-B9A6-4493-9A72-1CA7ECB1F5CA}"/>
          </ac:spMkLst>
        </pc:spChg>
        <pc:spChg chg="mod">
          <ac:chgData name="Thomas Stensitzki" userId="75cafe6b-2f2a-469b-85c4-eec3b9c972ba" providerId="ADAL" clId="{04798C56-1619-44FF-99CC-951BCBEDA3B6}" dt="2021-10-16T09:06:00.255" v="265" actId="20577"/>
          <ac:spMkLst>
            <pc:docMk/>
            <pc:sldMk cId="3797754622" sldId="515"/>
            <ac:spMk id="4" creationId="{D12969B4-351A-4517-A5B8-3E6AD9CDB206}"/>
          </ac:spMkLst>
        </pc:spChg>
        <pc:spChg chg="mod">
          <ac:chgData name="Thomas Stensitzki" userId="75cafe6b-2f2a-469b-85c4-eec3b9c972ba" providerId="ADAL" clId="{04798C56-1619-44FF-99CC-951BCBEDA3B6}" dt="2021-10-16T11:37:25.797" v="3122" actId="20577"/>
          <ac:spMkLst>
            <pc:docMk/>
            <pc:sldMk cId="3797754622" sldId="515"/>
            <ac:spMk id="5" creationId="{C24DACB5-1BEC-4C86-9652-BAFD8DE56FEF}"/>
          </ac:spMkLst>
        </pc:spChg>
        <pc:spChg chg="add del">
          <ac:chgData name="Thomas Stensitzki" userId="75cafe6b-2f2a-469b-85c4-eec3b9c972ba" providerId="ADAL" clId="{04798C56-1619-44FF-99CC-951BCBEDA3B6}" dt="2021-10-16T09:07:15.720" v="289" actId="22"/>
          <ac:spMkLst>
            <pc:docMk/>
            <pc:sldMk cId="3797754622" sldId="515"/>
            <ac:spMk id="6" creationId="{D11E1C29-625B-4233-A181-BC1380056693}"/>
          </ac:spMkLst>
        </pc:spChg>
      </pc:sldChg>
      <pc:sldChg chg="addSp modSp new mod modAnim">
        <pc:chgData name="Thomas Stensitzki" userId="75cafe6b-2f2a-469b-85c4-eec3b9c972ba" providerId="ADAL" clId="{04798C56-1619-44FF-99CC-951BCBEDA3B6}" dt="2021-10-18T07:00:48.371" v="4132"/>
        <pc:sldMkLst>
          <pc:docMk/>
          <pc:sldMk cId="2712056554" sldId="516"/>
        </pc:sldMkLst>
        <pc:spChg chg="mod">
          <ac:chgData name="Thomas Stensitzki" userId="75cafe6b-2f2a-469b-85c4-eec3b9c972ba" providerId="ADAL" clId="{04798C56-1619-44FF-99CC-951BCBEDA3B6}" dt="2021-10-16T09:10:53.320" v="392"/>
          <ac:spMkLst>
            <pc:docMk/>
            <pc:sldMk cId="2712056554" sldId="516"/>
            <ac:spMk id="2" creationId="{F884F3B4-BE70-4584-85CE-8207FCF82B50}"/>
          </ac:spMkLst>
        </pc:spChg>
        <pc:spChg chg="mod">
          <ac:chgData name="Thomas Stensitzki" userId="75cafe6b-2f2a-469b-85c4-eec3b9c972ba" providerId="ADAL" clId="{04798C56-1619-44FF-99CC-951BCBEDA3B6}" dt="2021-10-16T09:13:57.657" v="501" actId="20577"/>
          <ac:spMkLst>
            <pc:docMk/>
            <pc:sldMk cId="2712056554" sldId="516"/>
            <ac:spMk id="3" creationId="{A07B2357-9CF7-41EB-B7DA-519817A3BA59}"/>
          </ac:spMkLst>
        </pc:spChg>
        <pc:picChg chg="add mod">
          <ac:chgData name="Thomas Stensitzki" userId="75cafe6b-2f2a-469b-85c4-eec3b9c972ba" providerId="ADAL" clId="{04798C56-1619-44FF-99CC-951BCBEDA3B6}" dt="2021-10-16T09:12:13.968" v="477" actId="1076"/>
          <ac:picMkLst>
            <pc:docMk/>
            <pc:sldMk cId="2712056554" sldId="516"/>
            <ac:picMk id="4" creationId="{EE4A7BB7-6D9F-4B05-ABAF-258031170F8E}"/>
          </ac:picMkLst>
        </pc:picChg>
        <pc:picChg chg="add mod">
          <ac:chgData name="Thomas Stensitzki" userId="75cafe6b-2f2a-469b-85c4-eec3b9c972ba" providerId="ADAL" clId="{04798C56-1619-44FF-99CC-951BCBEDA3B6}" dt="2021-10-16T09:13:01.534" v="486" actId="14100"/>
          <ac:picMkLst>
            <pc:docMk/>
            <pc:sldMk cId="2712056554" sldId="516"/>
            <ac:picMk id="5" creationId="{60C5CCFD-7218-458F-B770-0C937F31B6DD}"/>
          </ac:picMkLst>
        </pc:picChg>
        <pc:picChg chg="add mod">
          <ac:chgData name="Thomas Stensitzki" userId="75cafe6b-2f2a-469b-85c4-eec3b9c972ba" providerId="ADAL" clId="{04798C56-1619-44FF-99CC-951BCBEDA3B6}" dt="2021-10-16T09:13:15.236" v="489" actId="1440"/>
          <ac:picMkLst>
            <pc:docMk/>
            <pc:sldMk cId="2712056554" sldId="516"/>
            <ac:picMk id="1026" creationId="{61DD7B04-A79F-47EE-9FA3-1EF3BAF2549A}"/>
          </ac:picMkLst>
        </pc:picChg>
      </pc:sldChg>
      <pc:sldChg chg="modSp new mod">
        <pc:chgData name="Thomas Stensitzki" userId="75cafe6b-2f2a-469b-85c4-eec3b9c972ba" providerId="ADAL" clId="{04798C56-1619-44FF-99CC-951BCBEDA3B6}" dt="2021-10-16T10:11:35.711" v="1477" actId="114"/>
        <pc:sldMkLst>
          <pc:docMk/>
          <pc:sldMk cId="2592263701" sldId="517"/>
        </pc:sldMkLst>
        <pc:spChg chg="mod">
          <ac:chgData name="Thomas Stensitzki" userId="75cafe6b-2f2a-469b-85c4-eec3b9c972ba" providerId="ADAL" clId="{04798C56-1619-44FF-99CC-951BCBEDA3B6}" dt="2021-10-16T09:30:04.338" v="551"/>
          <ac:spMkLst>
            <pc:docMk/>
            <pc:sldMk cId="2592263701" sldId="517"/>
            <ac:spMk id="2" creationId="{02873501-8633-41AE-A717-D3437F3C8D38}"/>
          </ac:spMkLst>
        </pc:spChg>
        <pc:spChg chg="mod">
          <ac:chgData name="Thomas Stensitzki" userId="75cafe6b-2f2a-469b-85c4-eec3b9c972ba" providerId="ADAL" clId="{04798C56-1619-44FF-99CC-951BCBEDA3B6}" dt="2021-10-16T10:11:35.711" v="1477" actId="114"/>
          <ac:spMkLst>
            <pc:docMk/>
            <pc:sldMk cId="2592263701" sldId="517"/>
            <ac:spMk id="3" creationId="{10D05E72-139E-4F93-9CF2-E461F306D3F4}"/>
          </ac:spMkLst>
        </pc:spChg>
      </pc:sldChg>
      <pc:sldChg chg="addSp delSp modSp new mod modAnim">
        <pc:chgData name="Thomas Stensitzki" userId="75cafe6b-2f2a-469b-85c4-eec3b9c972ba" providerId="ADAL" clId="{04798C56-1619-44FF-99CC-951BCBEDA3B6}" dt="2021-10-21T13:17:02.352" v="4448"/>
        <pc:sldMkLst>
          <pc:docMk/>
          <pc:sldMk cId="2691419104" sldId="518"/>
        </pc:sldMkLst>
        <pc:spChg chg="mod">
          <ac:chgData name="Thomas Stensitzki" userId="75cafe6b-2f2a-469b-85c4-eec3b9c972ba" providerId="ADAL" clId="{04798C56-1619-44FF-99CC-951BCBEDA3B6}" dt="2021-10-16T10:11:43.045" v="1498" actId="6549"/>
          <ac:spMkLst>
            <pc:docMk/>
            <pc:sldMk cId="2691419104" sldId="518"/>
            <ac:spMk id="2" creationId="{A47CE3D6-ACC4-4E98-8DA1-C7BC6FCDF7B9}"/>
          </ac:spMkLst>
        </pc:spChg>
        <pc:spChg chg="del">
          <ac:chgData name="Thomas Stensitzki" userId="75cafe6b-2f2a-469b-85c4-eec3b9c972ba" providerId="ADAL" clId="{04798C56-1619-44FF-99CC-951BCBEDA3B6}" dt="2021-10-16T09:45:53.303" v="581" actId="1032"/>
          <ac:spMkLst>
            <pc:docMk/>
            <pc:sldMk cId="2691419104" sldId="518"/>
            <ac:spMk id="3" creationId="{501241C8-CCBC-4F03-871B-75142A5CB54C}"/>
          </ac:spMkLst>
        </pc:spChg>
        <pc:spChg chg="add del mod">
          <ac:chgData name="Thomas Stensitzki" userId="75cafe6b-2f2a-469b-85c4-eec3b9c972ba" providerId="ADAL" clId="{04798C56-1619-44FF-99CC-951BCBEDA3B6}" dt="2021-10-16T10:07:41.388" v="1369" actId="11529"/>
          <ac:spMkLst>
            <pc:docMk/>
            <pc:sldMk cId="2691419104" sldId="518"/>
            <ac:spMk id="5" creationId="{83B9018F-CC53-4B54-976E-6EF789BC3E14}"/>
          </ac:spMkLst>
        </pc:spChg>
        <pc:spChg chg="add mod">
          <ac:chgData name="Thomas Stensitzki" userId="75cafe6b-2f2a-469b-85c4-eec3b9c972ba" providerId="ADAL" clId="{04798C56-1619-44FF-99CC-951BCBEDA3B6}" dt="2021-10-16T10:08:25.342" v="1383" actId="1076"/>
          <ac:spMkLst>
            <pc:docMk/>
            <pc:sldMk cId="2691419104" sldId="518"/>
            <ac:spMk id="6" creationId="{7AB9F773-04CA-4DD5-BCA9-88FFD3B0B9C4}"/>
          </ac:spMkLst>
        </pc:spChg>
        <pc:spChg chg="add mod">
          <ac:chgData name="Thomas Stensitzki" userId="75cafe6b-2f2a-469b-85c4-eec3b9c972ba" providerId="ADAL" clId="{04798C56-1619-44FF-99CC-951BCBEDA3B6}" dt="2021-10-16T10:08:37.455" v="1387" actId="6549"/>
          <ac:spMkLst>
            <pc:docMk/>
            <pc:sldMk cId="2691419104" sldId="518"/>
            <ac:spMk id="7" creationId="{0CD5DC5C-74CA-4EDA-9671-68CC7AD71556}"/>
          </ac:spMkLst>
        </pc:spChg>
        <pc:spChg chg="add mod">
          <ac:chgData name="Thomas Stensitzki" userId="75cafe6b-2f2a-469b-85c4-eec3b9c972ba" providerId="ADAL" clId="{04798C56-1619-44FF-99CC-951BCBEDA3B6}" dt="2021-10-16T10:08:48.758" v="1391" actId="6549"/>
          <ac:spMkLst>
            <pc:docMk/>
            <pc:sldMk cId="2691419104" sldId="518"/>
            <ac:spMk id="8" creationId="{C9B36C8D-8A39-40DD-B2C4-DDEB9D759FA0}"/>
          </ac:spMkLst>
        </pc:spChg>
        <pc:spChg chg="add mod">
          <ac:chgData name="Thomas Stensitzki" userId="75cafe6b-2f2a-469b-85c4-eec3b9c972ba" providerId="ADAL" clId="{04798C56-1619-44FF-99CC-951BCBEDA3B6}" dt="2021-10-16T10:09:18.980" v="1397" actId="20577"/>
          <ac:spMkLst>
            <pc:docMk/>
            <pc:sldMk cId="2691419104" sldId="518"/>
            <ac:spMk id="9" creationId="{E9BB9833-9F79-4B36-9636-CC4370E7DC8C}"/>
          </ac:spMkLst>
        </pc:spChg>
        <pc:spChg chg="add mod ord">
          <ac:chgData name="Thomas Stensitzki" userId="75cafe6b-2f2a-469b-85c4-eec3b9c972ba" providerId="ADAL" clId="{04798C56-1619-44FF-99CC-951BCBEDA3B6}" dt="2021-10-16T10:14:14.384" v="1505" actId="14100"/>
          <ac:spMkLst>
            <pc:docMk/>
            <pc:sldMk cId="2691419104" sldId="518"/>
            <ac:spMk id="10" creationId="{6A60B348-C845-407F-A247-0A246554E660}"/>
          </ac:spMkLst>
        </pc:spChg>
        <pc:graphicFrameChg chg="add mod modGraphic">
          <ac:chgData name="Thomas Stensitzki" userId="75cafe6b-2f2a-469b-85c4-eec3b9c972ba" providerId="ADAL" clId="{04798C56-1619-44FF-99CC-951BCBEDA3B6}" dt="2021-10-16T10:13:14.175" v="1499"/>
          <ac:graphicFrameMkLst>
            <pc:docMk/>
            <pc:sldMk cId="2691419104" sldId="518"/>
            <ac:graphicFrameMk id="4" creationId="{4AC86CB2-51E8-461A-9CF6-C0B8BF3C67EA}"/>
          </ac:graphicFrameMkLst>
        </pc:graphicFrameChg>
      </pc:sldChg>
      <pc:sldChg chg="addSp delSp modSp new mod">
        <pc:chgData name="Thomas Stensitzki" userId="75cafe6b-2f2a-469b-85c4-eec3b9c972ba" providerId="ADAL" clId="{04798C56-1619-44FF-99CC-951BCBEDA3B6}" dt="2021-10-16T10:16:13.903" v="1524" actId="1582"/>
        <pc:sldMkLst>
          <pc:docMk/>
          <pc:sldMk cId="2239521866" sldId="519"/>
        </pc:sldMkLst>
        <pc:spChg chg="mod">
          <ac:chgData name="Thomas Stensitzki" userId="75cafe6b-2f2a-469b-85c4-eec3b9c972ba" providerId="ADAL" clId="{04798C56-1619-44FF-99CC-951BCBEDA3B6}" dt="2021-10-16T10:15:28.597" v="1517"/>
          <ac:spMkLst>
            <pc:docMk/>
            <pc:sldMk cId="2239521866" sldId="519"/>
            <ac:spMk id="2" creationId="{75913CB6-469C-4453-AEDA-EE717EB96E3C}"/>
          </ac:spMkLst>
        </pc:spChg>
        <pc:spChg chg="del">
          <ac:chgData name="Thomas Stensitzki" userId="75cafe6b-2f2a-469b-85c4-eec3b9c972ba" providerId="ADAL" clId="{04798C56-1619-44FF-99CC-951BCBEDA3B6}" dt="2021-10-16T10:15:31.791" v="1518" actId="478"/>
          <ac:spMkLst>
            <pc:docMk/>
            <pc:sldMk cId="2239521866" sldId="519"/>
            <ac:spMk id="3" creationId="{27077580-231D-40E2-B229-13188EF2803B}"/>
          </ac:spMkLst>
        </pc:spChg>
        <pc:picChg chg="add mod">
          <ac:chgData name="Thomas Stensitzki" userId="75cafe6b-2f2a-469b-85c4-eec3b9c972ba" providerId="ADAL" clId="{04798C56-1619-44FF-99CC-951BCBEDA3B6}" dt="2021-10-16T10:15:55.797" v="1521" actId="1076"/>
          <ac:picMkLst>
            <pc:docMk/>
            <pc:sldMk cId="2239521866" sldId="519"/>
            <ac:picMk id="2050" creationId="{2A5A4F4F-8033-4E40-9E1E-76A41BBF5BF6}"/>
          </ac:picMkLst>
        </pc:picChg>
        <pc:cxnChg chg="add mod">
          <ac:chgData name="Thomas Stensitzki" userId="75cafe6b-2f2a-469b-85c4-eec3b9c972ba" providerId="ADAL" clId="{04798C56-1619-44FF-99CC-951BCBEDA3B6}" dt="2021-10-16T10:16:13.903" v="1524" actId="1582"/>
          <ac:cxnSpMkLst>
            <pc:docMk/>
            <pc:sldMk cId="2239521866" sldId="519"/>
            <ac:cxnSpMk id="5" creationId="{E012D3C3-9366-4C2A-9AB2-13279C03CA18}"/>
          </ac:cxnSpMkLst>
        </pc:cxnChg>
      </pc:sldChg>
      <pc:sldChg chg="addSp delSp modSp new mod">
        <pc:chgData name="Thomas Stensitzki" userId="75cafe6b-2f2a-469b-85c4-eec3b9c972ba" providerId="ADAL" clId="{04798C56-1619-44FF-99CC-951BCBEDA3B6}" dt="2021-10-16T10:20:24.982" v="1626" actId="1440"/>
        <pc:sldMkLst>
          <pc:docMk/>
          <pc:sldMk cId="2023308020" sldId="520"/>
        </pc:sldMkLst>
        <pc:spChg chg="mod">
          <ac:chgData name="Thomas Stensitzki" userId="75cafe6b-2f2a-469b-85c4-eec3b9c972ba" providerId="ADAL" clId="{04798C56-1619-44FF-99CC-951BCBEDA3B6}" dt="2021-10-16T10:18:58.345" v="1602"/>
          <ac:spMkLst>
            <pc:docMk/>
            <pc:sldMk cId="2023308020" sldId="520"/>
            <ac:spMk id="2" creationId="{873A3C1C-26A2-48C4-A072-652CE92B49A4}"/>
          </ac:spMkLst>
        </pc:spChg>
        <pc:spChg chg="del">
          <ac:chgData name="Thomas Stensitzki" userId="75cafe6b-2f2a-469b-85c4-eec3b9c972ba" providerId="ADAL" clId="{04798C56-1619-44FF-99CC-951BCBEDA3B6}" dt="2021-10-16T10:19:08.223" v="1603" actId="478"/>
          <ac:spMkLst>
            <pc:docMk/>
            <pc:sldMk cId="2023308020" sldId="520"/>
            <ac:spMk id="3" creationId="{787E991E-D7FF-420C-A4DB-65DDE4DA2A39}"/>
          </ac:spMkLst>
        </pc:spChg>
        <pc:picChg chg="add mod">
          <ac:chgData name="Thomas Stensitzki" userId="75cafe6b-2f2a-469b-85c4-eec3b9c972ba" providerId="ADAL" clId="{04798C56-1619-44FF-99CC-951BCBEDA3B6}" dt="2021-10-16T10:19:20.010" v="1607" actId="1076"/>
          <ac:picMkLst>
            <pc:docMk/>
            <pc:sldMk cId="2023308020" sldId="520"/>
            <ac:picMk id="3074" creationId="{B7A60345-AAD4-465E-A1C2-3D1747C6575D}"/>
          </ac:picMkLst>
        </pc:picChg>
        <pc:picChg chg="add mod">
          <ac:chgData name="Thomas Stensitzki" userId="75cafe6b-2f2a-469b-85c4-eec3b9c972ba" providerId="ADAL" clId="{04798C56-1619-44FF-99CC-951BCBEDA3B6}" dt="2021-10-16T10:20:14.138" v="1624" actId="1076"/>
          <ac:picMkLst>
            <pc:docMk/>
            <pc:sldMk cId="2023308020" sldId="520"/>
            <ac:picMk id="3076" creationId="{95CF4B3E-C0AD-4948-9F80-F2D7726AF8AB}"/>
          </ac:picMkLst>
        </pc:picChg>
        <pc:picChg chg="add mod">
          <ac:chgData name="Thomas Stensitzki" userId="75cafe6b-2f2a-469b-85c4-eec3b9c972ba" providerId="ADAL" clId="{04798C56-1619-44FF-99CC-951BCBEDA3B6}" dt="2021-10-16T10:20:24.982" v="1626" actId="1440"/>
          <ac:picMkLst>
            <pc:docMk/>
            <pc:sldMk cId="2023308020" sldId="520"/>
            <ac:picMk id="3078" creationId="{1A918997-72EF-46A2-9956-D54C41BC4199}"/>
          </ac:picMkLst>
        </pc:picChg>
        <pc:cxnChg chg="add mod">
          <ac:chgData name="Thomas Stensitzki" userId="75cafe6b-2f2a-469b-85c4-eec3b9c972ba" providerId="ADAL" clId="{04798C56-1619-44FF-99CC-951BCBEDA3B6}" dt="2021-10-16T10:19:44.316" v="1615" actId="14100"/>
          <ac:cxnSpMkLst>
            <pc:docMk/>
            <pc:sldMk cId="2023308020" sldId="520"/>
            <ac:cxnSpMk id="5" creationId="{147FBB7F-95B3-4D9F-B716-41066EEA072D}"/>
          </ac:cxnSpMkLst>
        </pc:cxnChg>
      </pc:sldChg>
      <pc:sldChg chg="addSp delSp modSp new mod modClrScheme chgLayout">
        <pc:chgData name="Thomas Stensitzki" userId="75cafe6b-2f2a-469b-85c4-eec3b9c972ba" providerId="ADAL" clId="{04798C56-1619-44FF-99CC-951BCBEDA3B6}" dt="2021-10-16T10:23:07.401" v="1702" actId="1076"/>
        <pc:sldMkLst>
          <pc:docMk/>
          <pc:sldMk cId="3342197954" sldId="521"/>
        </pc:sldMkLst>
        <pc:spChg chg="del mod ord">
          <ac:chgData name="Thomas Stensitzki" userId="75cafe6b-2f2a-469b-85c4-eec3b9c972ba" providerId="ADAL" clId="{04798C56-1619-44FF-99CC-951BCBEDA3B6}" dt="2021-10-16T10:21:06.137" v="1629" actId="700"/>
          <ac:spMkLst>
            <pc:docMk/>
            <pc:sldMk cId="3342197954" sldId="521"/>
            <ac:spMk id="2" creationId="{1FCC91F0-9F3C-45EB-B6FF-336C851682C6}"/>
          </ac:spMkLst>
        </pc:spChg>
        <pc:spChg chg="del">
          <ac:chgData name="Thomas Stensitzki" userId="75cafe6b-2f2a-469b-85c4-eec3b9c972ba" providerId="ADAL" clId="{04798C56-1619-44FF-99CC-951BCBEDA3B6}" dt="2021-10-16T10:21:06.137" v="1629" actId="700"/>
          <ac:spMkLst>
            <pc:docMk/>
            <pc:sldMk cId="3342197954" sldId="521"/>
            <ac:spMk id="3" creationId="{F2D5539C-F64B-4BBD-8D92-FFBA85D0F45F}"/>
          </ac:spMkLst>
        </pc:spChg>
        <pc:spChg chg="add mod ord">
          <ac:chgData name="Thomas Stensitzki" userId="75cafe6b-2f2a-469b-85c4-eec3b9c972ba" providerId="ADAL" clId="{04798C56-1619-44FF-99CC-951BCBEDA3B6}" dt="2021-10-16T10:21:12.726" v="1631"/>
          <ac:spMkLst>
            <pc:docMk/>
            <pc:sldMk cId="3342197954" sldId="521"/>
            <ac:spMk id="4" creationId="{237778C3-D01E-4605-9275-3F8FEEF77C69}"/>
          </ac:spMkLst>
        </pc:spChg>
        <pc:picChg chg="add mod">
          <ac:chgData name="Thomas Stensitzki" userId="75cafe6b-2f2a-469b-85c4-eec3b9c972ba" providerId="ADAL" clId="{04798C56-1619-44FF-99CC-951BCBEDA3B6}" dt="2021-10-16T10:22:38.682" v="1698" actId="1076"/>
          <ac:picMkLst>
            <pc:docMk/>
            <pc:sldMk cId="3342197954" sldId="521"/>
            <ac:picMk id="4098" creationId="{A3EBC635-856A-4C2D-A3A7-4C6EDD7B2A52}"/>
          </ac:picMkLst>
        </pc:picChg>
        <pc:cxnChg chg="add mod">
          <ac:chgData name="Thomas Stensitzki" userId="75cafe6b-2f2a-469b-85c4-eec3b9c972ba" providerId="ADAL" clId="{04798C56-1619-44FF-99CC-951BCBEDA3B6}" dt="2021-10-16T10:23:07.401" v="1702" actId="1076"/>
          <ac:cxnSpMkLst>
            <pc:docMk/>
            <pc:sldMk cId="3342197954" sldId="521"/>
            <ac:cxnSpMk id="6" creationId="{754815A2-3648-4ADF-AA4E-B5635C544B6E}"/>
          </ac:cxnSpMkLst>
        </pc:cxnChg>
      </pc:sldChg>
      <pc:sldChg chg="addSp delSp modSp add del mod">
        <pc:chgData name="Thomas Stensitzki" userId="75cafe6b-2f2a-469b-85c4-eec3b9c972ba" providerId="ADAL" clId="{04798C56-1619-44FF-99CC-951BCBEDA3B6}" dt="2021-10-16T10:25:24.902" v="1728" actId="2696"/>
        <pc:sldMkLst>
          <pc:docMk/>
          <pc:sldMk cId="963108723" sldId="522"/>
        </pc:sldMkLst>
        <pc:spChg chg="mod">
          <ac:chgData name="Thomas Stensitzki" userId="75cafe6b-2f2a-469b-85c4-eec3b9c972ba" providerId="ADAL" clId="{04798C56-1619-44FF-99CC-951BCBEDA3B6}" dt="2021-10-16T10:24:16.796" v="1721"/>
          <ac:spMkLst>
            <pc:docMk/>
            <pc:sldMk cId="963108723" sldId="522"/>
            <ac:spMk id="4" creationId="{237778C3-D01E-4605-9275-3F8FEEF77C69}"/>
          </ac:spMkLst>
        </pc:spChg>
        <pc:picChg chg="add del mod">
          <ac:chgData name="Thomas Stensitzki" userId="75cafe6b-2f2a-469b-85c4-eec3b9c972ba" providerId="ADAL" clId="{04798C56-1619-44FF-99CC-951BCBEDA3B6}" dt="2021-10-16T10:24:47.539" v="1727" actId="478"/>
          <ac:picMkLst>
            <pc:docMk/>
            <pc:sldMk cId="963108723" sldId="522"/>
            <ac:picMk id="2" creationId="{34804C99-4832-4326-92A8-C133C8FA725B}"/>
          </ac:picMkLst>
        </pc:picChg>
      </pc:sldChg>
      <pc:sldChg chg="addSp modSp add mod ord modAnim">
        <pc:chgData name="Thomas Stensitzki" userId="75cafe6b-2f2a-469b-85c4-eec3b9c972ba" providerId="ADAL" clId="{04798C56-1619-44FF-99CC-951BCBEDA3B6}" dt="2021-10-18T06:57:29.195" v="3931"/>
        <pc:sldMkLst>
          <pc:docMk/>
          <pc:sldMk cId="2697887611" sldId="523"/>
        </pc:sldMkLst>
        <pc:spChg chg="mod">
          <ac:chgData name="Thomas Stensitzki" userId="75cafe6b-2f2a-469b-85c4-eec3b9c972ba" providerId="ADAL" clId="{04798C56-1619-44FF-99CC-951BCBEDA3B6}" dt="2021-10-16T11:10:34.667" v="2369" actId="5793"/>
          <ac:spMkLst>
            <pc:docMk/>
            <pc:sldMk cId="2697887611" sldId="523"/>
            <ac:spMk id="4" creationId="{237778C3-D01E-4605-9275-3F8FEEF77C69}"/>
          </ac:spMkLst>
        </pc:spChg>
        <pc:picChg chg="add mod">
          <ac:chgData name="Thomas Stensitzki" userId="75cafe6b-2f2a-469b-85c4-eec3b9c972ba" providerId="ADAL" clId="{04798C56-1619-44FF-99CC-951BCBEDA3B6}" dt="2021-10-16T11:10:13.484" v="2353" actId="1076"/>
          <ac:picMkLst>
            <pc:docMk/>
            <pc:sldMk cId="2697887611" sldId="523"/>
            <ac:picMk id="3" creationId="{4D0CC758-400B-485A-A1EF-67C25647D090}"/>
          </ac:picMkLst>
        </pc:picChg>
        <pc:picChg chg="add mod">
          <ac:chgData name="Thomas Stensitzki" userId="75cafe6b-2f2a-469b-85c4-eec3b9c972ba" providerId="ADAL" clId="{04798C56-1619-44FF-99CC-951BCBEDA3B6}" dt="2021-10-16T11:10:15.406" v="2354" actId="1076"/>
          <ac:picMkLst>
            <pc:docMk/>
            <pc:sldMk cId="2697887611" sldId="523"/>
            <ac:picMk id="5" creationId="{BFEF3186-9AD0-4D4C-A61B-F40053705A67}"/>
          </ac:picMkLst>
        </pc:picChg>
      </pc:sldChg>
      <pc:sldChg chg="modSp add mod ord">
        <pc:chgData name="Thomas Stensitzki" userId="75cafe6b-2f2a-469b-85c4-eec3b9c972ba" providerId="ADAL" clId="{04798C56-1619-44FF-99CC-951BCBEDA3B6}" dt="2021-10-18T06:53:32.991" v="3804" actId="1035"/>
        <pc:sldMkLst>
          <pc:docMk/>
          <pc:sldMk cId="3151864037" sldId="524"/>
        </pc:sldMkLst>
        <pc:spChg chg="mod">
          <ac:chgData name="Thomas Stensitzki" userId="75cafe6b-2f2a-469b-85c4-eec3b9c972ba" providerId="ADAL" clId="{04798C56-1619-44FF-99CC-951BCBEDA3B6}" dt="2021-10-18T06:53:32.991" v="3804" actId="1035"/>
          <ac:spMkLst>
            <pc:docMk/>
            <pc:sldMk cId="3151864037" sldId="524"/>
            <ac:spMk id="2" creationId="{909DC09D-B9A6-4493-9A72-1CA7ECB1F5CA}"/>
          </ac:spMkLst>
        </pc:spChg>
        <pc:spChg chg="mod">
          <ac:chgData name="Thomas Stensitzki" userId="75cafe6b-2f2a-469b-85c4-eec3b9c972ba" providerId="ADAL" clId="{04798C56-1619-44FF-99CC-951BCBEDA3B6}" dt="2021-10-16T11:36:38.393" v="3113" actId="6549"/>
          <ac:spMkLst>
            <pc:docMk/>
            <pc:sldMk cId="3151864037" sldId="524"/>
            <ac:spMk id="5" creationId="{C24DACB5-1BEC-4C86-9652-BAFD8DE56FEF}"/>
          </ac:spMkLst>
        </pc:spChg>
      </pc:sldChg>
      <pc:sldChg chg="addSp modSp add mod ord">
        <pc:chgData name="Thomas Stensitzki" userId="75cafe6b-2f2a-469b-85c4-eec3b9c972ba" providerId="ADAL" clId="{04798C56-1619-44FF-99CC-951BCBEDA3B6}" dt="2021-10-16T10:32:37.603" v="1870"/>
        <pc:sldMkLst>
          <pc:docMk/>
          <pc:sldMk cId="1710541557" sldId="525"/>
        </pc:sldMkLst>
        <pc:spChg chg="mod">
          <ac:chgData name="Thomas Stensitzki" userId="75cafe6b-2f2a-469b-85c4-eec3b9c972ba" providerId="ADAL" clId="{04798C56-1619-44FF-99CC-951BCBEDA3B6}" dt="2021-10-16T10:32:31.346" v="1868"/>
          <ac:spMkLst>
            <pc:docMk/>
            <pc:sldMk cId="1710541557" sldId="525"/>
            <ac:spMk id="4" creationId="{237778C3-D01E-4605-9275-3F8FEEF77C69}"/>
          </ac:spMkLst>
        </pc:spChg>
        <pc:picChg chg="add mod">
          <ac:chgData name="Thomas Stensitzki" userId="75cafe6b-2f2a-469b-85c4-eec3b9c972ba" providerId="ADAL" clId="{04798C56-1619-44FF-99CC-951BCBEDA3B6}" dt="2021-10-16T10:32:19.181" v="1867" actId="1440"/>
          <ac:picMkLst>
            <pc:docMk/>
            <pc:sldMk cId="1710541557" sldId="525"/>
            <ac:picMk id="2" creationId="{06D52E15-8E3C-4940-B65E-F576B3596520}"/>
          </ac:picMkLst>
        </pc:picChg>
      </pc:sldChg>
      <pc:sldChg chg="addSp delSp modSp add mod modClrScheme chgLayout">
        <pc:chgData name="Thomas Stensitzki" userId="75cafe6b-2f2a-469b-85c4-eec3b9c972ba" providerId="ADAL" clId="{04798C56-1619-44FF-99CC-951BCBEDA3B6}" dt="2021-10-16T10:57:29.333" v="2266" actId="20577"/>
        <pc:sldMkLst>
          <pc:docMk/>
          <pc:sldMk cId="2296744449" sldId="526"/>
        </pc:sldMkLst>
        <pc:spChg chg="del mod ord">
          <ac:chgData name="Thomas Stensitzki" userId="75cafe6b-2f2a-469b-85c4-eec3b9c972ba" providerId="ADAL" clId="{04798C56-1619-44FF-99CC-951BCBEDA3B6}" dt="2021-10-16T10:53:41.948" v="2003" actId="700"/>
          <ac:spMkLst>
            <pc:docMk/>
            <pc:sldMk cId="2296744449" sldId="526"/>
            <ac:spMk id="4" creationId="{237778C3-D01E-4605-9275-3F8FEEF77C69}"/>
          </ac:spMkLst>
        </pc:spChg>
        <pc:spChg chg="add mod ord">
          <ac:chgData name="Thomas Stensitzki" userId="75cafe6b-2f2a-469b-85c4-eec3b9c972ba" providerId="ADAL" clId="{04798C56-1619-44FF-99CC-951BCBEDA3B6}" dt="2021-10-16T10:53:57.007" v="2006"/>
          <ac:spMkLst>
            <pc:docMk/>
            <pc:sldMk cId="2296744449" sldId="526"/>
            <ac:spMk id="6" creationId="{A902098A-57D9-477D-88A8-01CD719FA8C7}"/>
          </ac:spMkLst>
        </pc:spChg>
        <pc:spChg chg="add mod ord">
          <ac:chgData name="Thomas Stensitzki" userId="75cafe6b-2f2a-469b-85c4-eec3b9c972ba" providerId="ADAL" clId="{04798C56-1619-44FF-99CC-951BCBEDA3B6}" dt="2021-10-16T10:57:29.333" v="2266" actId="20577"/>
          <ac:spMkLst>
            <pc:docMk/>
            <pc:sldMk cId="2296744449" sldId="526"/>
            <ac:spMk id="7" creationId="{05582143-F84F-494C-9ED3-74F62B4BE08E}"/>
          </ac:spMkLst>
        </pc:spChg>
        <pc:picChg chg="add del">
          <ac:chgData name="Thomas Stensitzki" userId="75cafe6b-2f2a-469b-85c4-eec3b9c972ba" providerId="ADAL" clId="{04798C56-1619-44FF-99CC-951BCBEDA3B6}" dt="2021-10-16T10:51:53.504" v="1996" actId="478"/>
          <ac:picMkLst>
            <pc:docMk/>
            <pc:sldMk cId="2296744449" sldId="526"/>
            <ac:picMk id="2" creationId="{8354C8BF-DF9C-44EA-A1E6-2EC4D16FDA45}"/>
          </ac:picMkLst>
        </pc:picChg>
        <pc:picChg chg="add mod">
          <ac:chgData name="Thomas Stensitzki" userId="75cafe6b-2f2a-469b-85c4-eec3b9c972ba" providerId="ADAL" clId="{04798C56-1619-44FF-99CC-951BCBEDA3B6}" dt="2021-10-16T10:56:09.529" v="2173" actId="1076"/>
          <ac:picMkLst>
            <pc:docMk/>
            <pc:sldMk cId="2296744449" sldId="526"/>
            <ac:picMk id="5" creationId="{5052816C-78B9-4C14-9CFB-A4857227AC95}"/>
          </ac:picMkLst>
        </pc:picChg>
      </pc:sldChg>
      <pc:sldChg chg="addSp delSp modSp new mod">
        <pc:chgData name="Thomas Stensitzki" userId="75cafe6b-2f2a-469b-85c4-eec3b9c972ba" providerId="ADAL" clId="{04798C56-1619-44FF-99CC-951BCBEDA3B6}" dt="2021-10-16T11:12:32.506" v="2404" actId="1440"/>
        <pc:sldMkLst>
          <pc:docMk/>
          <pc:sldMk cId="1119798974" sldId="527"/>
        </pc:sldMkLst>
        <pc:spChg chg="mod">
          <ac:chgData name="Thomas Stensitzki" userId="75cafe6b-2f2a-469b-85c4-eec3b9c972ba" providerId="ADAL" clId="{04798C56-1619-44FF-99CC-951BCBEDA3B6}" dt="2021-10-16T11:12:14.446" v="2400"/>
          <ac:spMkLst>
            <pc:docMk/>
            <pc:sldMk cId="1119798974" sldId="527"/>
            <ac:spMk id="2" creationId="{B8016162-B70C-4672-8C07-1762516DBD9A}"/>
          </ac:spMkLst>
        </pc:spChg>
        <pc:picChg chg="add del mod">
          <ac:chgData name="Thomas Stensitzki" userId="75cafe6b-2f2a-469b-85c4-eec3b9c972ba" providerId="ADAL" clId="{04798C56-1619-44FF-99CC-951BCBEDA3B6}" dt="2021-10-16T11:10:02.834" v="2350" actId="478"/>
          <ac:picMkLst>
            <pc:docMk/>
            <pc:sldMk cId="1119798974" sldId="527"/>
            <ac:picMk id="3" creationId="{3EBA36CF-0A26-4084-8A58-4C6C233A6D9A}"/>
          </ac:picMkLst>
        </pc:picChg>
        <pc:picChg chg="add mod">
          <ac:chgData name="Thomas Stensitzki" userId="75cafe6b-2f2a-469b-85c4-eec3b9c972ba" providerId="ADAL" clId="{04798C56-1619-44FF-99CC-951BCBEDA3B6}" dt="2021-10-16T11:12:32.506" v="2404" actId="1440"/>
          <ac:picMkLst>
            <pc:docMk/>
            <pc:sldMk cId="1119798974" sldId="527"/>
            <ac:picMk id="4" creationId="{EFB94256-E15F-4C1D-B7BB-F66F224840E1}"/>
          </ac:picMkLst>
        </pc:picChg>
        <pc:picChg chg="add del mod">
          <ac:chgData name="Thomas Stensitzki" userId="75cafe6b-2f2a-469b-85c4-eec3b9c972ba" providerId="ADAL" clId="{04798C56-1619-44FF-99CC-951BCBEDA3B6}" dt="2021-10-16T11:10:03.376" v="2351" actId="478"/>
          <ac:picMkLst>
            <pc:docMk/>
            <pc:sldMk cId="1119798974" sldId="527"/>
            <ac:picMk id="5122" creationId="{D4548B28-107D-4544-AA40-F5A15963A7EF}"/>
          </ac:picMkLst>
        </pc:picChg>
      </pc:sldChg>
      <pc:sldChg chg="addSp delSp modSp add mod modAnim">
        <pc:chgData name="Thomas Stensitzki" userId="75cafe6b-2f2a-469b-85c4-eec3b9c972ba" providerId="ADAL" clId="{04798C56-1619-44FF-99CC-951BCBEDA3B6}" dt="2021-10-18T06:57:50.645" v="3932"/>
        <pc:sldMkLst>
          <pc:docMk/>
          <pc:sldMk cId="2356668622" sldId="528"/>
        </pc:sldMkLst>
        <pc:spChg chg="mod">
          <ac:chgData name="Thomas Stensitzki" userId="75cafe6b-2f2a-469b-85c4-eec3b9c972ba" providerId="ADAL" clId="{04798C56-1619-44FF-99CC-951BCBEDA3B6}" dt="2021-10-16T11:10:31.499" v="2367" actId="5793"/>
          <ac:spMkLst>
            <pc:docMk/>
            <pc:sldMk cId="2356668622" sldId="528"/>
            <ac:spMk id="4" creationId="{237778C3-D01E-4605-9275-3F8FEEF77C69}"/>
          </ac:spMkLst>
        </pc:spChg>
        <pc:picChg chg="del">
          <ac:chgData name="Thomas Stensitzki" userId="75cafe6b-2f2a-469b-85c4-eec3b9c972ba" providerId="ADAL" clId="{04798C56-1619-44FF-99CC-951BCBEDA3B6}" dt="2021-10-16T11:10:21.200" v="2356" actId="478"/>
          <ac:picMkLst>
            <pc:docMk/>
            <pc:sldMk cId="2356668622" sldId="528"/>
            <ac:picMk id="3" creationId="{4D0CC758-400B-485A-A1EF-67C25647D090}"/>
          </ac:picMkLst>
        </pc:picChg>
        <pc:picChg chg="del">
          <ac:chgData name="Thomas Stensitzki" userId="75cafe6b-2f2a-469b-85c4-eec3b9c972ba" providerId="ADAL" clId="{04798C56-1619-44FF-99CC-951BCBEDA3B6}" dt="2021-10-16T11:10:21.840" v="2357" actId="478"/>
          <ac:picMkLst>
            <pc:docMk/>
            <pc:sldMk cId="2356668622" sldId="528"/>
            <ac:picMk id="5" creationId="{BFEF3186-9AD0-4D4C-A61B-F40053705A67}"/>
          </ac:picMkLst>
        </pc:picChg>
        <pc:picChg chg="add mod">
          <ac:chgData name="Thomas Stensitzki" userId="75cafe6b-2f2a-469b-85c4-eec3b9c972ba" providerId="ADAL" clId="{04798C56-1619-44FF-99CC-951BCBEDA3B6}" dt="2021-10-16T11:10:59.517" v="2375" actId="1440"/>
          <ac:picMkLst>
            <pc:docMk/>
            <pc:sldMk cId="2356668622" sldId="528"/>
            <ac:picMk id="6146" creationId="{7451AACD-DCF9-47D1-ADF4-2445FE7C952C}"/>
          </ac:picMkLst>
        </pc:picChg>
        <pc:picChg chg="add mod">
          <ac:chgData name="Thomas Stensitzki" userId="75cafe6b-2f2a-469b-85c4-eec3b9c972ba" providerId="ADAL" clId="{04798C56-1619-44FF-99CC-951BCBEDA3B6}" dt="2021-10-16T11:11:02.084" v="2376" actId="1076"/>
          <ac:picMkLst>
            <pc:docMk/>
            <pc:sldMk cId="2356668622" sldId="528"/>
            <ac:picMk id="6148" creationId="{8B67657B-55D4-4655-A739-B22B08D9C5DE}"/>
          </ac:picMkLst>
        </pc:picChg>
      </pc:sldChg>
      <pc:sldChg chg="addSp modSp add mod">
        <pc:chgData name="Thomas Stensitzki" userId="75cafe6b-2f2a-469b-85c4-eec3b9c972ba" providerId="ADAL" clId="{04798C56-1619-44FF-99CC-951BCBEDA3B6}" dt="2021-10-16T11:38:20.939" v="3132" actId="1440"/>
        <pc:sldMkLst>
          <pc:docMk/>
          <pc:sldMk cId="3227298801" sldId="529"/>
        </pc:sldMkLst>
        <pc:spChg chg="mod">
          <ac:chgData name="Thomas Stensitzki" userId="75cafe6b-2f2a-469b-85c4-eec3b9c972ba" providerId="ADAL" clId="{04798C56-1619-44FF-99CC-951BCBEDA3B6}" dt="2021-10-16T11:37:46.995" v="3124"/>
          <ac:spMkLst>
            <pc:docMk/>
            <pc:sldMk cId="3227298801" sldId="529"/>
            <ac:spMk id="2" creationId="{B8016162-B70C-4672-8C07-1762516DBD9A}"/>
          </ac:spMkLst>
        </pc:spChg>
        <pc:picChg chg="add mod">
          <ac:chgData name="Thomas Stensitzki" userId="75cafe6b-2f2a-469b-85c4-eec3b9c972ba" providerId="ADAL" clId="{04798C56-1619-44FF-99CC-951BCBEDA3B6}" dt="2021-10-16T11:38:20.939" v="3132" actId="1440"/>
          <ac:picMkLst>
            <pc:docMk/>
            <pc:sldMk cId="3227298801" sldId="529"/>
            <ac:picMk id="10242" creationId="{851EA549-C7C6-4F51-B742-7F9C1BA59D95}"/>
          </ac:picMkLst>
        </pc:picChg>
      </pc:sldChg>
      <pc:sldChg chg="modSp new mod">
        <pc:chgData name="Thomas Stensitzki" userId="75cafe6b-2f2a-469b-85c4-eec3b9c972ba" providerId="ADAL" clId="{04798C56-1619-44FF-99CC-951BCBEDA3B6}" dt="2021-10-16T11:17:44.016" v="2803" actId="20577"/>
        <pc:sldMkLst>
          <pc:docMk/>
          <pc:sldMk cId="4001838037" sldId="530"/>
        </pc:sldMkLst>
        <pc:spChg chg="mod">
          <ac:chgData name="Thomas Stensitzki" userId="75cafe6b-2f2a-469b-85c4-eec3b9c972ba" providerId="ADAL" clId="{04798C56-1619-44FF-99CC-951BCBEDA3B6}" dt="2021-10-16T11:14:51.998" v="2436"/>
          <ac:spMkLst>
            <pc:docMk/>
            <pc:sldMk cId="4001838037" sldId="530"/>
            <ac:spMk id="2" creationId="{B0491DAA-2211-497D-B366-2D81056B599B}"/>
          </ac:spMkLst>
        </pc:spChg>
        <pc:spChg chg="mod">
          <ac:chgData name="Thomas Stensitzki" userId="75cafe6b-2f2a-469b-85c4-eec3b9c972ba" providerId="ADAL" clId="{04798C56-1619-44FF-99CC-951BCBEDA3B6}" dt="2021-10-16T11:17:44.016" v="2803" actId="20577"/>
          <ac:spMkLst>
            <pc:docMk/>
            <pc:sldMk cId="4001838037" sldId="530"/>
            <ac:spMk id="3" creationId="{1150D9B8-210A-4612-9CCD-2CE3DFFD258F}"/>
          </ac:spMkLst>
        </pc:spChg>
      </pc:sldChg>
      <pc:sldChg chg="addSp delSp modSp new mod">
        <pc:chgData name="Thomas Stensitzki" userId="75cafe6b-2f2a-469b-85c4-eec3b9c972ba" providerId="ADAL" clId="{04798C56-1619-44FF-99CC-951BCBEDA3B6}" dt="2021-10-16T11:27:21.554" v="3001" actId="1076"/>
        <pc:sldMkLst>
          <pc:docMk/>
          <pc:sldMk cId="459788482" sldId="531"/>
        </pc:sldMkLst>
        <pc:spChg chg="mod">
          <ac:chgData name="Thomas Stensitzki" userId="75cafe6b-2f2a-469b-85c4-eec3b9c972ba" providerId="ADAL" clId="{04798C56-1619-44FF-99CC-951BCBEDA3B6}" dt="2021-10-16T11:22:16.085" v="2871"/>
          <ac:spMkLst>
            <pc:docMk/>
            <pc:sldMk cId="459788482" sldId="531"/>
            <ac:spMk id="2" creationId="{9A692100-D637-40AC-B465-436308DBF798}"/>
          </ac:spMkLst>
        </pc:spChg>
        <pc:spChg chg="mod">
          <ac:chgData name="Thomas Stensitzki" userId="75cafe6b-2f2a-469b-85c4-eec3b9c972ba" providerId="ADAL" clId="{04798C56-1619-44FF-99CC-951BCBEDA3B6}" dt="2021-10-16T11:24:48.505" v="2987" actId="14100"/>
          <ac:spMkLst>
            <pc:docMk/>
            <pc:sldMk cId="459788482" sldId="531"/>
            <ac:spMk id="3" creationId="{83208AB7-10CC-4D6E-BC26-AF9DC53A690D}"/>
          </ac:spMkLst>
        </pc:spChg>
        <pc:picChg chg="add mod">
          <ac:chgData name="Thomas Stensitzki" userId="75cafe6b-2f2a-469b-85c4-eec3b9c972ba" providerId="ADAL" clId="{04798C56-1619-44FF-99CC-951BCBEDA3B6}" dt="2021-10-16T11:26:12.772" v="2997" actId="1440"/>
          <ac:picMkLst>
            <pc:docMk/>
            <pc:sldMk cId="459788482" sldId="531"/>
            <ac:picMk id="5" creationId="{4D4BF80E-2A59-47C3-A019-BA83C8F8F996}"/>
          </ac:picMkLst>
        </pc:picChg>
        <pc:picChg chg="add del mod">
          <ac:chgData name="Thomas Stensitzki" userId="75cafe6b-2f2a-469b-85c4-eec3b9c972ba" providerId="ADAL" clId="{04798C56-1619-44FF-99CC-951BCBEDA3B6}" dt="2021-10-16T11:24:49.119" v="2988"/>
          <ac:picMkLst>
            <pc:docMk/>
            <pc:sldMk cId="459788482" sldId="531"/>
            <ac:picMk id="8194" creationId="{8B8AEE66-5CA1-4506-9A8B-509DA9B1A978}"/>
          </ac:picMkLst>
        </pc:picChg>
        <pc:picChg chg="add del mod">
          <ac:chgData name="Thomas Stensitzki" userId="75cafe6b-2f2a-469b-85c4-eec3b9c972ba" providerId="ADAL" clId="{04798C56-1619-44FF-99CC-951BCBEDA3B6}" dt="2021-10-16T11:25:44.167" v="2993" actId="478"/>
          <ac:picMkLst>
            <pc:docMk/>
            <pc:sldMk cId="459788482" sldId="531"/>
            <ac:picMk id="8196" creationId="{DB2EA760-F1EB-43B9-9FB8-FA608FEE1D28}"/>
          </ac:picMkLst>
        </pc:picChg>
        <pc:cxnChg chg="add mod">
          <ac:chgData name="Thomas Stensitzki" userId="75cafe6b-2f2a-469b-85c4-eec3b9c972ba" providerId="ADAL" clId="{04798C56-1619-44FF-99CC-951BCBEDA3B6}" dt="2021-10-16T11:27:21.554" v="3001" actId="1076"/>
          <ac:cxnSpMkLst>
            <pc:docMk/>
            <pc:sldMk cId="459788482" sldId="531"/>
            <ac:cxnSpMk id="8" creationId="{A41DC692-3D18-46E9-A378-1B84DD1F59A2}"/>
          </ac:cxnSpMkLst>
        </pc:cxnChg>
      </pc:sldChg>
      <pc:sldChg chg="modSp add mod ord">
        <pc:chgData name="Thomas Stensitzki" userId="75cafe6b-2f2a-469b-85c4-eec3b9c972ba" providerId="ADAL" clId="{04798C56-1619-44FF-99CC-951BCBEDA3B6}" dt="2021-10-18T06:58:32.773" v="4022" actId="1036"/>
        <pc:sldMkLst>
          <pc:docMk/>
          <pc:sldMk cId="1002663695" sldId="532"/>
        </pc:sldMkLst>
        <pc:spChg chg="mod">
          <ac:chgData name="Thomas Stensitzki" userId="75cafe6b-2f2a-469b-85c4-eec3b9c972ba" providerId="ADAL" clId="{04798C56-1619-44FF-99CC-951BCBEDA3B6}" dt="2021-10-18T06:58:32.773" v="4022" actId="1036"/>
          <ac:spMkLst>
            <pc:docMk/>
            <pc:sldMk cId="1002663695" sldId="532"/>
            <ac:spMk id="2" creationId="{909DC09D-B9A6-4493-9A72-1CA7ECB1F5CA}"/>
          </ac:spMkLst>
        </pc:spChg>
        <pc:spChg chg="mod">
          <ac:chgData name="Thomas Stensitzki" userId="75cafe6b-2f2a-469b-85c4-eec3b9c972ba" providerId="ADAL" clId="{04798C56-1619-44FF-99CC-951BCBEDA3B6}" dt="2021-10-16T11:44:42.795" v="3488"/>
          <ac:spMkLst>
            <pc:docMk/>
            <pc:sldMk cId="1002663695" sldId="532"/>
            <ac:spMk id="5" creationId="{C24DACB5-1BEC-4C86-9652-BAFD8DE56FEF}"/>
          </ac:spMkLst>
        </pc:spChg>
      </pc:sldChg>
      <pc:sldChg chg="modSp add mod ord">
        <pc:chgData name="Thomas Stensitzki" userId="75cafe6b-2f2a-469b-85c4-eec3b9c972ba" providerId="ADAL" clId="{04798C56-1619-44FF-99CC-951BCBEDA3B6}" dt="2021-10-18T07:04:02.151" v="4348" actId="1036"/>
        <pc:sldMkLst>
          <pc:docMk/>
          <pc:sldMk cId="3719475429" sldId="533"/>
        </pc:sldMkLst>
        <pc:spChg chg="mod">
          <ac:chgData name="Thomas Stensitzki" userId="75cafe6b-2f2a-469b-85c4-eec3b9c972ba" providerId="ADAL" clId="{04798C56-1619-44FF-99CC-951BCBEDA3B6}" dt="2021-10-18T07:04:02.151" v="4348" actId="1036"/>
          <ac:spMkLst>
            <pc:docMk/>
            <pc:sldMk cId="3719475429" sldId="533"/>
            <ac:spMk id="2" creationId="{909DC09D-B9A6-4493-9A72-1CA7ECB1F5CA}"/>
          </ac:spMkLst>
        </pc:spChg>
        <pc:spChg chg="mod">
          <ac:chgData name="Thomas Stensitzki" userId="75cafe6b-2f2a-469b-85c4-eec3b9c972ba" providerId="ADAL" clId="{04798C56-1619-44FF-99CC-951BCBEDA3B6}" dt="2021-10-18T07:03:50.310" v="4338" actId="6549"/>
          <ac:spMkLst>
            <pc:docMk/>
            <pc:sldMk cId="3719475429" sldId="533"/>
            <ac:spMk id="5" creationId="{C24DACB5-1BEC-4C86-9652-BAFD8DE56FEF}"/>
          </ac:spMkLst>
        </pc:spChg>
      </pc:sldChg>
      <pc:sldChg chg="addSp delSp modSp new mod modClrScheme chgLayout modNotesTx">
        <pc:chgData name="Thomas Stensitzki" userId="75cafe6b-2f2a-469b-85c4-eec3b9c972ba" providerId="ADAL" clId="{04798C56-1619-44FF-99CC-951BCBEDA3B6}" dt="2021-10-16T11:32:27.538" v="3047" actId="113"/>
        <pc:sldMkLst>
          <pc:docMk/>
          <pc:sldMk cId="3555038738" sldId="534"/>
        </pc:sldMkLst>
        <pc:spChg chg="mod ord">
          <ac:chgData name="Thomas Stensitzki" userId="75cafe6b-2f2a-469b-85c4-eec3b9c972ba" providerId="ADAL" clId="{04798C56-1619-44FF-99CC-951BCBEDA3B6}" dt="2021-10-16T11:31:44.321" v="3037" actId="5793"/>
          <ac:spMkLst>
            <pc:docMk/>
            <pc:sldMk cId="3555038738" sldId="534"/>
            <ac:spMk id="2" creationId="{F3EA054C-2C03-457B-9EA6-7DC02548D2F0}"/>
          </ac:spMkLst>
        </pc:spChg>
        <pc:spChg chg="del">
          <ac:chgData name="Thomas Stensitzki" userId="75cafe6b-2f2a-469b-85c4-eec3b9c972ba" providerId="ADAL" clId="{04798C56-1619-44FF-99CC-951BCBEDA3B6}" dt="2021-10-16T11:30:16.132" v="3015" actId="700"/>
          <ac:spMkLst>
            <pc:docMk/>
            <pc:sldMk cId="3555038738" sldId="534"/>
            <ac:spMk id="3" creationId="{B90489FA-BDAE-41A3-BF5F-364BFEBD10A7}"/>
          </ac:spMkLst>
        </pc:spChg>
        <pc:picChg chg="add mod">
          <ac:chgData name="Thomas Stensitzki" userId="75cafe6b-2f2a-469b-85c4-eec3b9c972ba" providerId="ADAL" clId="{04798C56-1619-44FF-99CC-951BCBEDA3B6}" dt="2021-10-16T11:30:54.222" v="3022" actId="14100"/>
          <ac:picMkLst>
            <pc:docMk/>
            <pc:sldMk cId="3555038738" sldId="534"/>
            <ac:picMk id="4" creationId="{34D5F48E-9275-4D51-B47D-8DB0BE183846}"/>
          </ac:picMkLst>
        </pc:picChg>
        <pc:picChg chg="add mod">
          <ac:chgData name="Thomas Stensitzki" userId="75cafe6b-2f2a-469b-85c4-eec3b9c972ba" providerId="ADAL" clId="{04798C56-1619-44FF-99CC-951BCBEDA3B6}" dt="2021-10-16T11:31:49.452" v="3038" actId="1076"/>
          <ac:picMkLst>
            <pc:docMk/>
            <pc:sldMk cId="3555038738" sldId="534"/>
            <ac:picMk id="9218" creationId="{F47B81C6-CB63-40EF-A313-E7716606F9F9}"/>
          </ac:picMkLst>
        </pc:picChg>
      </pc:sldChg>
      <pc:sldChg chg="addSp delSp modSp add mod">
        <pc:chgData name="Thomas Stensitzki" userId="75cafe6b-2f2a-469b-85c4-eec3b9c972ba" providerId="ADAL" clId="{04798C56-1619-44FF-99CC-951BCBEDA3B6}" dt="2021-10-16T11:32:03.627" v="3044" actId="1440"/>
        <pc:sldMkLst>
          <pc:docMk/>
          <pc:sldMk cId="89213568" sldId="535"/>
        </pc:sldMkLst>
        <pc:picChg chg="add mod">
          <ac:chgData name="Thomas Stensitzki" userId="75cafe6b-2f2a-469b-85c4-eec3b9c972ba" providerId="ADAL" clId="{04798C56-1619-44FF-99CC-951BCBEDA3B6}" dt="2021-10-16T11:32:03.627" v="3044" actId="1440"/>
          <ac:picMkLst>
            <pc:docMk/>
            <pc:sldMk cId="89213568" sldId="535"/>
            <ac:picMk id="3" creationId="{3B97F59B-4030-42F7-94D8-8C1FE516657F}"/>
          </ac:picMkLst>
        </pc:picChg>
        <pc:picChg chg="del">
          <ac:chgData name="Thomas Stensitzki" userId="75cafe6b-2f2a-469b-85c4-eec3b9c972ba" providerId="ADAL" clId="{04798C56-1619-44FF-99CC-951BCBEDA3B6}" dt="2021-10-16T11:31:52.271" v="3039" actId="478"/>
          <ac:picMkLst>
            <pc:docMk/>
            <pc:sldMk cId="89213568" sldId="535"/>
            <ac:picMk id="4" creationId="{34D5F48E-9275-4D51-B47D-8DB0BE183846}"/>
          </ac:picMkLst>
        </pc:picChg>
        <pc:picChg chg="del">
          <ac:chgData name="Thomas Stensitzki" userId="75cafe6b-2f2a-469b-85c4-eec3b9c972ba" providerId="ADAL" clId="{04798C56-1619-44FF-99CC-951BCBEDA3B6}" dt="2021-10-16T11:31:52.676" v="3040" actId="478"/>
          <ac:picMkLst>
            <pc:docMk/>
            <pc:sldMk cId="89213568" sldId="535"/>
            <ac:picMk id="9218" creationId="{F47B81C6-CB63-40EF-A313-E7716606F9F9}"/>
          </ac:picMkLst>
        </pc:picChg>
      </pc:sldChg>
      <pc:sldChg chg="addSp modSp add mod modClrScheme chgLayout">
        <pc:chgData name="Thomas Stensitzki" userId="75cafe6b-2f2a-469b-85c4-eec3b9c972ba" providerId="ADAL" clId="{04798C56-1619-44FF-99CC-951BCBEDA3B6}" dt="2021-10-16T11:44:08.289" v="3486" actId="20577"/>
        <pc:sldMkLst>
          <pc:docMk/>
          <pc:sldMk cId="3161842247" sldId="536"/>
        </pc:sldMkLst>
        <pc:spChg chg="mod ord">
          <ac:chgData name="Thomas Stensitzki" userId="75cafe6b-2f2a-469b-85c4-eec3b9c972ba" providerId="ADAL" clId="{04798C56-1619-44FF-99CC-951BCBEDA3B6}" dt="2021-10-16T11:40:00.345" v="3140" actId="700"/>
          <ac:spMkLst>
            <pc:docMk/>
            <pc:sldMk cId="3161842247" sldId="536"/>
            <ac:spMk id="2" creationId="{B8016162-B70C-4672-8C07-1762516DBD9A}"/>
          </ac:spMkLst>
        </pc:spChg>
        <pc:spChg chg="add mod ord">
          <ac:chgData name="Thomas Stensitzki" userId="75cafe6b-2f2a-469b-85c4-eec3b9c972ba" providerId="ADAL" clId="{04798C56-1619-44FF-99CC-951BCBEDA3B6}" dt="2021-10-16T11:44:08.289" v="3486" actId="20577"/>
          <ac:spMkLst>
            <pc:docMk/>
            <pc:sldMk cId="3161842247" sldId="536"/>
            <ac:spMk id="4" creationId="{4BE03C7F-5A9C-4420-BECB-1150EC706B50}"/>
          </ac:spMkLst>
        </pc:spChg>
        <pc:picChg chg="add mod">
          <ac:chgData name="Thomas Stensitzki" userId="75cafe6b-2f2a-469b-85c4-eec3b9c972ba" providerId="ADAL" clId="{04798C56-1619-44FF-99CC-951BCBEDA3B6}" dt="2021-10-16T11:43:00.019" v="3394" actId="1076"/>
          <ac:picMkLst>
            <pc:docMk/>
            <pc:sldMk cId="3161842247" sldId="536"/>
            <ac:picMk id="3" creationId="{585D2684-FF48-407A-9437-E3734865FDFE}"/>
          </ac:picMkLst>
        </pc:picChg>
      </pc:sldChg>
      <pc:sldChg chg="addSp modSp add mod modNotesTx">
        <pc:chgData name="Thomas Stensitzki" userId="75cafe6b-2f2a-469b-85c4-eec3b9c972ba" providerId="ADAL" clId="{04798C56-1619-44FF-99CC-951BCBEDA3B6}" dt="2021-10-16T11:45:48.736" v="3512" actId="1076"/>
        <pc:sldMkLst>
          <pc:docMk/>
          <pc:sldMk cId="273152899" sldId="537"/>
        </pc:sldMkLst>
        <pc:spChg chg="mod">
          <ac:chgData name="Thomas Stensitzki" userId="75cafe6b-2f2a-469b-85c4-eec3b9c972ba" providerId="ADAL" clId="{04798C56-1619-44FF-99CC-951BCBEDA3B6}" dt="2021-10-16T11:44:56.403" v="3489"/>
          <ac:spMkLst>
            <pc:docMk/>
            <pc:sldMk cId="273152899" sldId="537"/>
            <ac:spMk id="2" creationId="{B8016162-B70C-4672-8C07-1762516DBD9A}"/>
          </ac:spMkLst>
        </pc:spChg>
        <pc:picChg chg="add mod">
          <ac:chgData name="Thomas Stensitzki" userId="75cafe6b-2f2a-469b-85c4-eec3b9c972ba" providerId="ADAL" clId="{04798C56-1619-44FF-99CC-951BCBEDA3B6}" dt="2021-10-16T11:45:48.736" v="3512" actId="1076"/>
          <ac:picMkLst>
            <pc:docMk/>
            <pc:sldMk cId="273152899" sldId="537"/>
            <ac:picMk id="11266" creationId="{1CAA1F0D-AF5E-469F-BD6E-983D4ADF3CF5}"/>
          </ac:picMkLst>
        </pc:picChg>
        <pc:picChg chg="add mod">
          <ac:chgData name="Thomas Stensitzki" userId="75cafe6b-2f2a-469b-85c4-eec3b9c972ba" providerId="ADAL" clId="{04798C56-1619-44FF-99CC-951BCBEDA3B6}" dt="2021-10-16T11:45:46.299" v="3511" actId="1076"/>
          <ac:picMkLst>
            <pc:docMk/>
            <pc:sldMk cId="273152899" sldId="537"/>
            <ac:picMk id="11268" creationId="{1FFCE83E-C685-4E11-AF75-61C5AE51B2FC}"/>
          </ac:picMkLst>
        </pc:picChg>
      </pc:sldChg>
      <pc:sldChg chg="modSp add mod ord modNotesTx">
        <pc:chgData name="Thomas Stensitzki" userId="75cafe6b-2f2a-469b-85c4-eec3b9c972ba" providerId="ADAL" clId="{04798C56-1619-44FF-99CC-951BCBEDA3B6}" dt="2021-10-18T06:51:15.469" v="3578" actId="20577"/>
        <pc:sldMkLst>
          <pc:docMk/>
          <pc:sldMk cId="3101364963" sldId="538"/>
        </pc:sldMkLst>
        <pc:spChg chg="mod">
          <ac:chgData name="Thomas Stensitzki" userId="75cafe6b-2f2a-469b-85c4-eec3b9c972ba" providerId="ADAL" clId="{04798C56-1619-44FF-99CC-951BCBEDA3B6}" dt="2021-10-18T06:51:08.141" v="3555" actId="14100"/>
          <ac:spMkLst>
            <pc:docMk/>
            <pc:sldMk cId="3101364963" sldId="538"/>
            <ac:spMk id="2" creationId="{909DC09D-B9A6-4493-9A72-1CA7ECB1F5CA}"/>
          </ac:spMkLst>
        </pc:spChg>
      </pc:sldChg>
      <pc:sldChg chg="modSp add mod ord modNotesTx">
        <pc:chgData name="Thomas Stensitzki" userId="75cafe6b-2f2a-469b-85c4-eec3b9c972ba" providerId="ADAL" clId="{04798C56-1619-44FF-99CC-951BCBEDA3B6}" dt="2021-10-18T06:52:51.495" v="3715" actId="20577"/>
        <pc:sldMkLst>
          <pc:docMk/>
          <pc:sldMk cId="2457228316" sldId="539"/>
        </pc:sldMkLst>
        <pc:spChg chg="mod">
          <ac:chgData name="Thomas Stensitzki" userId="75cafe6b-2f2a-469b-85c4-eec3b9c972ba" providerId="ADAL" clId="{04798C56-1619-44FF-99CC-951BCBEDA3B6}" dt="2021-10-18T06:51:41.820" v="3614" actId="1035"/>
          <ac:spMkLst>
            <pc:docMk/>
            <pc:sldMk cId="2457228316" sldId="539"/>
            <ac:spMk id="2" creationId="{909DC09D-B9A6-4493-9A72-1CA7ECB1F5CA}"/>
          </ac:spMkLst>
        </pc:spChg>
      </pc:sldChg>
      <pc:sldChg chg="modSp add mod ord modNotesTx">
        <pc:chgData name="Thomas Stensitzki" userId="75cafe6b-2f2a-469b-85c4-eec3b9c972ba" providerId="ADAL" clId="{04798C56-1619-44FF-99CC-951BCBEDA3B6}" dt="2021-10-18T06:52:46.391" v="3714" actId="20577"/>
        <pc:sldMkLst>
          <pc:docMk/>
          <pc:sldMk cId="3084141999" sldId="540"/>
        </pc:sldMkLst>
        <pc:spChg chg="mod">
          <ac:chgData name="Thomas Stensitzki" userId="75cafe6b-2f2a-469b-85c4-eec3b9c972ba" providerId="ADAL" clId="{04798C56-1619-44FF-99CC-951BCBEDA3B6}" dt="2021-10-18T06:52:19.274" v="3658" actId="14100"/>
          <ac:spMkLst>
            <pc:docMk/>
            <pc:sldMk cId="3084141999" sldId="540"/>
            <ac:spMk id="2" creationId="{909DC09D-B9A6-4493-9A72-1CA7ECB1F5CA}"/>
          </ac:spMkLst>
        </pc:spChg>
      </pc:sldChg>
      <pc:sldChg chg="modSp add mod modNotesTx">
        <pc:chgData name="Thomas Stensitzki" userId="75cafe6b-2f2a-469b-85c4-eec3b9c972ba" providerId="ADAL" clId="{04798C56-1619-44FF-99CC-951BCBEDA3B6}" dt="2021-10-18T06:52:43.202" v="3713" actId="20577"/>
        <pc:sldMkLst>
          <pc:docMk/>
          <pc:sldMk cId="400379336" sldId="541"/>
        </pc:sldMkLst>
        <pc:spChg chg="mod">
          <ac:chgData name="Thomas Stensitzki" userId="75cafe6b-2f2a-469b-85c4-eec3b9c972ba" providerId="ADAL" clId="{04798C56-1619-44FF-99CC-951BCBEDA3B6}" dt="2021-10-18T06:52:36.004" v="3712" actId="1036"/>
          <ac:spMkLst>
            <pc:docMk/>
            <pc:sldMk cId="400379336" sldId="541"/>
            <ac:spMk id="2" creationId="{909DC09D-B9A6-4493-9A72-1CA7ECB1F5CA}"/>
          </ac:spMkLst>
        </pc:spChg>
      </pc:sldChg>
      <pc:sldChg chg="modSp add mod">
        <pc:chgData name="Thomas Stensitzki" userId="75cafe6b-2f2a-469b-85c4-eec3b9c972ba" providerId="ADAL" clId="{04798C56-1619-44FF-99CC-951BCBEDA3B6}" dt="2021-10-18T06:53:03.289" v="3751" actId="1035"/>
        <pc:sldMkLst>
          <pc:docMk/>
          <pc:sldMk cId="2825434786" sldId="542"/>
        </pc:sldMkLst>
        <pc:spChg chg="mod">
          <ac:chgData name="Thomas Stensitzki" userId="75cafe6b-2f2a-469b-85c4-eec3b9c972ba" providerId="ADAL" clId="{04798C56-1619-44FF-99CC-951BCBEDA3B6}" dt="2021-10-18T06:53:03.289" v="3751" actId="1035"/>
          <ac:spMkLst>
            <pc:docMk/>
            <pc:sldMk cId="2825434786" sldId="542"/>
            <ac:spMk id="2" creationId="{909DC09D-B9A6-4493-9A72-1CA7ECB1F5CA}"/>
          </ac:spMkLst>
        </pc:spChg>
      </pc:sldChg>
      <pc:sldChg chg="modSp add mod ord">
        <pc:chgData name="Thomas Stensitzki" userId="75cafe6b-2f2a-469b-85c4-eec3b9c972ba" providerId="ADAL" clId="{04798C56-1619-44FF-99CC-951BCBEDA3B6}" dt="2021-10-18T06:56:28.062" v="3832" actId="1036"/>
        <pc:sldMkLst>
          <pc:docMk/>
          <pc:sldMk cId="2440018585" sldId="543"/>
        </pc:sldMkLst>
        <pc:spChg chg="mod">
          <ac:chgData name="Thomas Stensitzki" userId="75cafe6b-2f2a-469b-85c4-eec3b9c972ba" providerId="ADAL" clId="{04798C56-1619-44FF-99CC-951BCBEDA3B6}" dt="2021-10-18T06:56:28.062" v="3832" actId="1036"/>
          <ac:spMkLst>
            <pc:docMk/>
            <pc:sldMk cId="2440018585" sldId="543"/>
            <ac:spMk id="2" creationId="{909DC09D-B9A6-4493-9A72-1CA7ECB1F5CA}"/>
          </ac:spMkLst>
        </pc:spChg>
      </pc:sldChg>
      <pc:sldChg chg="modSp add mod ord">
        <pc:chgData name="Thomas Stensitzki" userId="75cafe6b-2f2a-469b-85c4-eec3b9c972ba" providerId="ADAL" clId="{04798C56-1619-44FF-99CC-951BCBEDA3B6}" dt="2021-10-18T06:56:44.985" v="3870" actId="1036"/>
        <pc:sldMkLst>
          <pc:docMk/>
          <pc:sldMk cId="3405544507" sldId="544"/>
        </pc:sldMkLst>
        <pc:spChg chg="mod">
          <ac:chgData name="Thomas Stensitzki" userId="75cafe6b-2f2a-469b-85c4-eec3b9c972ba" providerId="ADAL" clId="{04798C56-1619-44FF-99CC-951BCBEDA3B6}" dt="2021-10-18T06:56:44.985" v="3870" actId="1036"/>
          <ac:spMkLst>
            <pc:docMk/>
            <pc:sldMk cId="3405544507" sldId="544"/>
            <ac:spMk id="2" creationId="{909DC09D-B9A6-4493-9A72-1CA7ECB1F5CA}"/>
          </ac:spMkLst>
        </pc:spChg>
      </pc:sldChg>
      <pc:sldChg chg="modSp add mod">
        <pc:chgData name="Thomas Stensitzki" userId="75cafe6b-2f2a-469b-85c4-eec3b9c972ba" providerId="ADAL" clId="{04798C56-1619-44FF-99CC-951BCBEDA3B6}" dt="2021-10-18T06:56:57.513" v="3891" actId="1035"/>
        <pc:sldMkLst>
          <pc:docMk/>
          <pc:sldMk cId="3435528560" sldId="545"/>
        </pc:sldMkLst>
        <pc:spChg chg="mod">
          <ac:chgData name="Thomas Stensitzki" userId="75cafe6b-2f2a-469b-85c4-eec3b9c972ba" providerId="ADAL" clId="{04798C56-1619-44FF-99CC-951BCBEDA3B6}" dt="2021-10-18T06:56:57.513" v="3891" actId="1035"/>
          <ac:spMkLst>
            <pc:docMk/>
            <pc:sldMk cId="3435528560" sldId="545"/>
            <ac:spMk id="2" creationId="{909DC09D-B9A6-4493-9A72-1CA7ECB1F5CA}"/>
          </ac:spMkLst>
        </pc:spChg>
      </pc:sldChg>
      <pc:sldChg chg="modSp add mod ord">
        <pc:chgData name="Thomas Stensitzki" userId="75cafe6b-2f2a-469b-85c4-eec3b9c972ba" providerId="ADAL" clId="{04798C56-1619-44FF-99CC-951BCBEDA3B6}" dt="2021-10-18T06:57:14.342" v="3927" actId="1035"/>
        <pc:sldMkLst>
          <pc:docMk/>
          <pc:sldMk cId="351288392" sldId="546"/>
        </pc:sldMkLst>
        <pc:spChg chg="mod">
          <ac:chgData name="Thomas Stensitzki" userId="75cafe6b-2f2a-469b-85c4-eec3b9c972ba" providerId="ADAL" clId="{04798C56-1619-44FF-99CC-951BCBEDA3B6}" dt="2021-10-18T06:57:14.342" v="3927" actId="1035"/>
          <ac:spMkLst>
            <pc:docMk/>
            <pc:sldMk cId="351288392" sldId="546"/>
            <ac:spMk id="2" creationId="{909DC09D-B9A6-4493-9A72-1CA7ECB1F5CA}"/>
          </ac:spMkLst>
        </pc:spChg>
      </pc:sldChg>
      <pc:sldChg chg="modSp add mod ord">
        <pc:chgData name="Thomas Stensitzki" userId="75cafe6b-2f2a-469b-85c4-eec3b9c972ba" providerId="ADAL" clId="{04798C56-1619-44FF-99CC-951BCBEDA3B6}" dt="2021-10-18T06:58:03.546" v="3954" actId="1035"/>
        <pc:sldMkLst>
          <pc:docMk/>
          <pc:sldMk cId="553914419" sldId="547"/>
        </pc:sldMkLst>
        <pc:spChg chg="mod">
          <ac:chgData name="Thomas Stensitzki" userId="75cafe6b-2f2a-469b-85c4-eec3b9c972ba" providerId="ADAL" clId="{04798C56-1619-44FF-99CC-951BCBEDA3B6}" dt="2021-10-18T06:58:03.546" v="3954" actId="1035"/>
          <ac:spMkLst>
            <pc:docMk/>
            <pc:sldMk cId="553914419" sldId="547"/>
            <ac:spMk id="2" creationId="{909DC09D-B9A6-4493-9A72-1CA7ECB1F5CA}"/>
          </ac:spMkLst>
        </pc:spChg>
      </pc:sldChg>
      <pc:sldChg chg="modSp add mod ord">
        <pc:chgData name="Thomas Stensitzki" userId="75cafe6b-2f2a-469b-85c4-eec3b9c972ba" providerId="ADAL" clId="{04798C56-1619-44FF-99CC-951BCBEDA3B6}" dt="2021-10-18T06:58:15.942" v="3992" actId="1036"/>
        <pc:sldMkLst>
          <pc:docMk/>
          <pc:sldMk cId="3814430672" sldId="548"/>
        </pc:sldMkLst>
        <pc:spChg chg="mod">
          <ac:chgData name="Thomas Stensitzki" userId="75cafe6b-2f2a-469b-85c4-eec3b9c972ba" providerId="ADAL" clId="{04798C56-1619-44FF-99CC-951BCBEDA3B6}" dt="2021-10-18T06:58:15.942" v="3992" actId="1036"/>
          <ac:spMkLst>
            <pc:docMk/>
            <pc:sldMk cId="3814430672" sldId="548"/>
            <ac:spMk id="2" creationId="{909DC09D-B9A6-4493-9A72-1CA7ECB1F5CA}"/>
          </ac:spMkLst>
        </pc:spChg>
      </pc:sldChg>
      <pc:sldChg chg="modSp add mod">
        <pc:chgData name="Thomas Stensitzki" userId="75cafe6b-2f2a-469b-85c4-eec3b9c972ba" providerId="ADAL" clId="{04798C56-1619-44FF-99CC-951BCBEDA3B6}" dt="2021-10-18T06:58:56.748" v="4024" actId="1076"/>
        <pc:sldMkLst>
          <pc:docMk/>
          <pc:sldMk cId="3585174972" sldId="549"/>
        </pc:sldMkLst>
        <pc:spChg chg="mod">
          <ac:chgData name="Thomas Stensitzki" userId="75cafe6b-2f2a-469b-85c4-eec3b9c972ba" providerId="ADAL" clId="{04798C56-1619-44FF-99CC-951BCBEDA3B6}" dt="2021-10-18T06:58:56.748" v="4024" actId="1076"/>
          <ac:spMkLst>
            <pc:docMk/>
            <pc:sldMk cId="3585174972" sldId="549"/>
            <ac:spMk id="2" creationId="{909DC09D-B9A6-4493-9A72-1CA7ECB1F5CA}"/>
          </ac:spMkLst>
        </pc:spChg>
      </pc:sldChg>
      <pc:sldChg chg="modSp add mod">
        <pc:chgData name="Thomas Stensitzki" userId="75cafe6b-2f2a-469b-85c4-eec3b9c972ba" providerId="ADAL" clId="{04798C56-1619-44FF-99CC-951BCBEDA3B6}" dt="2021-10-18T06:59:11.100" v="4027" actId="14100"/>
        <pc:sldMkLst>
          <pc:docMk/>
          <pc:sldMk cId="50830545" sldId="550"/>
        </pc:sldMkLst>
        <pc:spChg chg="mod">
          <ac:chgData name="Thomas Stensitzki" userId="75cafe6b-2f2a-469b-85c4-eec3b9c972ba" providerId="ADAL" clId="{04798C56-1619-44FF-99CC-951BCBEDA3B6}" dt="2021-10-18T06:59:11.100" v="4027" actId="14100"/>
          <ac:spMkLst>
            <pc:docMk/>
            <pc:sldMk cId="50830545" sldId="550"/>
            <ac:spMk id="2" creationId="{909DC09D-B9A6-4493-9A72-1CA7ECB1F5CA}"/>
          </ac:spMkLst>
        </pc:spChg>
      </pc:sldChg>
      <pc:sldChg chg="modSp add mod ord">
        <pc:chgData name="Thomas Stensitzki" userId="75cafe6b-2f2a-469b-85c4-eec3b9c972ba" providerId="ADAL" clId="{04798C56-1619-44FF-99CC-951BCBEDA3B6}" dt="2021-10-18T06:59:56.422" v="4061" actId="14100"/>
        <pc:sldMkLst>
          <pc:docMk/>
          <pc:sldMk cId="4020096464" sldId="551"/>
        </pc:sldMkLst>
        <pc:spChg chg="mod">
          <ac:chgData name="Thomas Stensitzki" userId="75cafe6b-2f2a-469b-85c4-eec3b9c972ba" providerId="ADAL" clId="{04798C56-1619-44FF-99CC-951BCBEDA3B6}" dt="2021-10-18T06:59:56.422" v="4061" actId="14100"/>
          <ac:spMkLst>
            <pc:docMk/>
            <pc:sldMk cId="4020096464" sldId="551"/>
            <ac:spMk id="2" creationId="{909DC09D-B9A6-4493-9A72-1CA7ECB1F5CA}"/>
          </ac:spMkLst>
        </pc:spChg>
      </pc:sldChg>
      <pc:sldChg chg="add ord">
        <pc:chgData name="Thomas Stensitzki" userId="75cafe6b-2f2a-469b-85c4-eec3b9c972ba" providerId="ADAL" clId="{04798C56-1619-44FF-99CC-951BCBEDA3B6}" dt="2021-10-18T06:59:43.415" v="4037"/>
        <pc:sldMkLst>
          <pc:docMk/>
          <pc:sldMk cId="2714743288" sldId="552"/>
        </pc:sldMkLst>
      </pc:sldChg>
      <pc:sldChg chg="modSp add mod">
        <pc:chgData name="Thomas Stensitzki" userId="75cafe6b-2f2a-469b-85c4-eec3b9c972ba" providerId="ADAL" clId="{04798C56-1619-44FF-99CC-951BCBEDA3B6}" dt="2021-10-18T07:00:34.488" v="4127" actId="14100"/>
        <pc:sldMkLst>
          <pc:docMk/>
          <pc:sldMk cId="941299666" sldId="553"/>
        </pc:sldMkLst>
        <pc:spChg chg="mod">
          <ac:chgData name="Thomas Stensitzki" userId="75cafe6b-2f2a-469b-85c4-eec3b9c972ba" providerId="ADAL" clId="{04798C56-1619-44FF-99CC-951BCBEDA3B6}" dt="2021-10-18T07:00:34.488" v="4127" actId="14100"/>
          <ac:spMkLst>
            <pc:docMk/>
            <pc:sldMk cId="941299666" sldId="553"/>
            <ac:spMk id="2" creationId="{909DC09D-B9A6-4493-9A72-1CA7ECB1F5CA}"/>
          </ac:spMkLst>
        </pc:spChg>
      </pc:sldChg>
      <pc:sldChg chg="modSp add mod ord">
        <pc:chgData name="Thomas Stensitzki" userId="75cafe6b-2f2a-469b-85c4-eec3b9c972ba" providerId="ADAL" clId="{04798C56-1619-44FF-99CC-951BCBEDA3B6}" dt="2021-10-18T07:01:16.434" v="4173" actId="1035"/>
        <pc:sldMkLst>
          <pc:docMk/>
          <pc:sldMk cId="2071923169" sldId="554"/>
        </pc:sldMkLst>
        <pc:spChg chg="mod">
          <ac:chgData name="Thomas Stensitzki" userId="75cafe6b-2f2a-469b-85c4-eec3b9c972ba" providerId="ADAL" clId="{04798C56-1619-44FF-99CC-951BCBEDA3B6}" dt="2021-10-18T07:01:16.434" v="4173" actId="1035"/>
          <ac:spMkLst>
            <pc:docMk/>
            <pc:sldMk cId="2071923169" sldId="554"/>
            <ac:spMk id="2" creationId="{909DC09D-B9A6-4493-9A72-1CA7ECB1F5CA}"/>
          </ac:spMkLst>
        </pc:spChg>
      </pc:sldChg>
      <pc:sldChg chg="modSp add mod ord">
        <pc:chgData name="Thomas Stensitzki" userId="75cafe6b-2f2a-469b-85c4-eec3b9c972ba" providerId="ADAL" clId="{04798C56-1619-44FF-99CC-951BCBEDA3B6}" dt="2021-10-18T07:01:53.554" v="4210" actId="1036"/>
        <pc:sldMkLst>
          <pc:docMk/>
          <pc:sldMk cId="1201850461" sldId="555"/>
        </pc:sldMkLst>
        <pc:spChg chg="mod">
          <ac:chgData name="Thomas Stensitzki" userId="75cafe6b-2f2a-469b-85c4-eec3b9c972ba" providerId="ADAL" clId="{04798C56-1619-44FF-99CC-951BCBEDA3B6}" dt="2021-10-18T07:01:53.554" v="4210" actId="1036"/>
          <ac:spMkLst>
            <pc:docMk/>
            <pc:sldMk cId="1201850461" sldId="555"/>
            <ac:spMk id="2" creationId="{909DC09D-B9A6-4493-9A72-1CA7ECB1F5CA}"/>
          </ac:spMkLst>
        </pc:spChg>
      </pc:sldChg>
      <pc:sldChg chg="add">
        <pc:chgData name="Thomas Stensitzki" userId="75cafe6b-2f2a-469b-85c4-eec3b9c972ba" providerId="ADAL" clId="{04798C56-1619-44FF-99CC-951BCBEDA3B6}" dt="2021-10-18T07:01:56.293" v="4211"/>
        <pc:sldMkLst>
          <pc:docMk/>
          <pc:sldMk cId="1634876817" sldId="556"/>
        </pc:sldMkLst>
      </pc:sldChg>
      <pc:sldChg chg="modSp add mod">
        <pc:chgData name="Thomas Stensitzki" userId="75cafe6b-2f2a-469b-85c4-eec3b9c972ba" providerId="ADAL" clId="{04798C56-1619-44FF-99CC-951BCBEDA3B6}" dt="2021-10-18T07:02:18.221" v="4260" actId="1035"/>
        <pc:sldMkLst>
          <pc:docMk/>
          <pc:sldMk cId="1953218065" sldId="557"/>
        </pc:sldMkLst>
        <pc:spChg chg="mod">
          <ac:chgData name="Thomas Stensitzki" userId="75cafe6b-2f2a-469b-85c4-eec3b9c972ba" providerId="ADAL" clId="{04798C56-1619-44FF-99CC-951BCBEDA3B6}" dt="2021-10-18T07:02:18.221" v="4260" actId="1035"/>
          <ac:spMkLst>
            <pc:docMk/>
            <pc:sldMk cId="1953218065" sldId="557"/>
            <ac:spMk id="2" creationId="{909DC09D-B9A6-4493-9A72-1CA7ECB1F5CA}"/>
          </ac:spMkLst>
        </pc:spChg>
      </pc:sldChg>
      <pc:sldChg chg="modSp add mod">
        <pc:chgData name="Thomas Stensitzki" userId="75cafe6b-2f2a-469b-85c4-eec3b9c972ba" providerId="ADAL" clId="{04798C56-1619-44FF-99CC-951BCBEDA3B6}" dt="2021-10-18T07:02:34.931" v="4294" actId="1036"/>
        <pc:sldMkLst>
          <pc:docMk/>
          <pc:sldMk cId="4180666764" sldId="558"/>
        </pc:sldMkLst>
        <pc:spChg chg="mod">
          <ac:chgData name="Thomas Stensitzki" userId="75cafe6b-2f2a-469b-85c4-eec3b9c972ba" providerId="ADAL" clId="{04798C56-1619-44FF-99CC-951BCBEDA3B6}" dt="2021-10-18T07:02:34.931" v="4294" actId="1036"/>
          <ac:spMkLst>
            <pc:docMk/>
            <pc:sldMk cId="4180666764" sldId="558"/>
            <ac:spMk id="2" creationId="{909DC09D-B9A6-4493-9A72-1CA7ECB1F5CA}"/>
          </ac:spMkLst>
        </pc:spChg>
      </pc:sldChg>
      <pc:sldChg chg="modSp add mod ord">
        <pc:chgData name="Thomas Stensitzki" userId="75cafe6b-2f2a-469b-85c4-eec3b9c972ba" providerId="ADAL" clId="{04798C56-1619-44FF-99CC-951BCBEDA3B6}" dt="2021-10-18T07:03:11.638" v="4326" actId="1036"/>
        <pc:sldMkLst>
          <pc:docMk/>
          <pc:sldMk cId="3051092088" sldId="559"/>
        </pc:sldMkLst>
        <pc:spChg chg="mod">
          <ac:chgData name="Thomas Stensitzki" userId="75cafe6b-2f2a-469b-85c4-eec3b9c972ba" providerId="ADAL" clId="{04798C56-1619-44FF-99CC-951BCBEDA3B6}" dt="2021-10-18T07:03:11.638" v="4326" actId="1036"/>
          <ac:spMkLst>
            <pc:docMk/>
            <pc:sldMk cId="3051092088" sldId="559"/>
            <ac:spMk id="2" creationId="{909DC09D-B9A6-4493-9A72-1CA7ECB1F5CA}"/>
          </ac:spMkLst>
        </pc:spChg>
      </pc:sldChg>
      <pc:sldChg chg="mod ord modShow">
        <pc:chgData name="Thomas Stensitzki" userId="75cafe6b-2f2a-469b-85c4-eec3b9c972ba" providerId="ADAL" clId="{04798C56-1619-44FF-99CC-951BCBEDA3B6}" dt="2021-10-21T13:33:51.755" v="5110" actId="729"/>
        <pc:sldMkLst>
          <pc:docMk/>
          <pc:sldMk cId="2791634409" sldId="560"/>
        </pc:sldMkLst>
      </pc:sldChg>
      <pc:sldChg chg="addSp delSp modSp add del mod">
        <pc:chgData name="Thomas Stensitzki" userId="75cafe6b-2f2a-469b-85c4-eec3b9c972ba" providerId="ADAL" clId="{04798C56-1619-44FF-99CC-951BCBEDA3B6}" dt="2021-10-21T13:33:32.121" v="5106" actId="47"/>
        <pc:sldMkLst>
          <pc:docMk/>
          <pc:sldMk cId="1728515471" sldId="561"/>
        </pc:sldMkLst>
        <pc:spChg chg="mod">
          <ac:chgData name="Thomas Stensitzki" userId="75cafe6b-2f2a-469b-85c4-eec3b9c972ba" providerId="ADAL" clId="{04798C56-1619-44FF-99CC-951BCBEDA3B6}" dt="2021-10-21T13:30:12.935" v="4830" actId="20577"/>
          <ac:spMkLst>
            <pc:docMk/>
            <pc:sldMk cId="1728515471" sldId="561"/>
            <ac:spMk id="2" creationId="{55B028BF-A9D0-4C57-86E7-6EE5916BE93B}"/>
          </ac:spMkLst>
        </pc:spChg>
        <pc:spChg chg="del">
          <ac:chgData name="Thomas Stensitzki" userId="75cafe6b-2f2a-469b-85c4-eec3b9c972ba" providerId="ADAL" clId="{04798C56-1619-44FF-99CC-951BCBEDA3B6}" dt="2021-10-21T13:30:01.997" v="4804" actId="3680"/>
          <ac:spMkLst>
            <pc:docMk/>
            <pc:sldMk cId="1728515471" sldId="561"/>
            <ac:spMk id="3" creationId="{21C24382-C9CB-4D3D-9C93-877D31F13E35}"/>
          </ac:spMkLst>
        </pc:spChg>
        <pc:graphicFrameChg chg="add mod ord modGraphic">
          <ac:chgData name="Thomas Stensitzki" userId="75cafe6b-2f2a-469b-85c4-eec3b9c972ba" providerId="ADAL" clId="{04798C56-1619-44FF-99CC-951BCBEDA3B6}" dt="2021-10-21T13:33:22.728" v="5104" actId="20577"/>
          <ac:graphicFrameMkLst>
            <pc:docMk/>
            <pc:sldMk cId="1728515471" sldId="561"/>
            <ac:graphicFrameMk id="4" creationId="{55EDB790-67BC-42E5-B64A-5647620B8383}"/>
          </ac:graphicFrameMkLst>
        </pc:graphicFrameChg>
      </pc:sldChg>
    </pc:docChg>
  </pc:docChgLst>
  <pc:docChgLst>
    <pc:chgData name="Thomas Stensitzki" userId="75cafe6b-2f2a-469b-85c4-eec3b9c972ba" providerId="ADAL" clId="{0B87B391-63D8-4860-8354-FA216B9E4DD7}"/>
    <pc:docChg chg="undo custSel modSld">
      <pc:chgData name="Thomas Stensitzki" userId="75cafe6b-2f2a-469b-85c4-eec3b9c972ba" providerId="ADAL" clId="{0B87B391-63D8-4860-8354-FA216B9E4DD7}" dt="2023-08-14T14:33:55.941" v="46"/>
      <pc:docMkLst>
        <pc:docMk/>
      </pc:docMkLst>
      <pc:sldChg chg="modSp mod">
        <pc:chgData name="Thomas Stensitzki" userId="75cafe6b-2f2a-469b-85c4-eec3b9c972ba" providerId="ADAL" clId="{0B87B391-63D8-4860-8354-FA216B9E4DD7}" dt="2023-08-14T14:32:16.531" v="20" actId="6549"/>
        <pc:sldMkLst>
          <pc:docMk/>
          <pc:sldMk cId="671489701" sldId="256"/>
        </pc:sldMkLst>
        <pc:spChg chg="mod">
          <ac:chgData name="Thomas Stensitzki" userId="75cafe6b-2f2a-469b-85c4-eec3b9c972ba" providerId="ADAL" clId="{0B87B391-63D8-4860-8354-FA216B9E4DD7}" dt="2023-08-14T14:32:16.531" v="20" actId="6549"/>
          <ac:spMkLst>
            <pc:docMk/>
            <pc:sldMk cId="671489701" sldId="256"/>
            <ac:spMk id="3" creationId="{CBA95633-B02D-4A15-A8B1-A38E0A70FD27}"/>
          </ac:spMkLst>
        </pc:spChg>
      </pc:sldChg>
      <pc:sldChg chg="modSp mod">
        <pc:chgData name="Thomas Stensitzki" userId="75cafe6b-2f2a-469b-85c4-eec3b9c972ba" providerId="ADAL" clId="{0B87B391-63D8-4860-8354-FA216B9E4DD7}" dt="2023-08-14T14:33:55.941" v="46"/>
        <pc:sldMkLst>
          <pc:docMk/>
          <pc:sldMk cId="2855324227" sldId="257"/>
        </pc:sldMkLst>
        <pc:graphicFrameChg chg="mod modGraphic">
          <ac:chgData name="Thomas Stensitzki" userId="75cafe6b-2f2a-469b-85c4-eec3b9c972ba" providerId="ADAL" clId="{0B87B391-63D8-4860-8354-FA216B9E4DD7}" dt="2023-08-14T14:33:55.941" v="46"/>
          <ac:graphicFrameMkLst>
            <pc:docMk/>
            <pc:sldMk cId="2855324227" sldId="257"/>
            <ac:graphicFrameMk id="6" creationId="{0F955DCC-462D-431D-BBDE-26F10687D590}"/>
          </ac:graphicFrameMkLst>
        </pc:graphicFrameChg>
      </pc:sldChg>
    </pc:docChg>
  </pc:docChgLst>
  <pc:docChgLst>
    <pc:chgData name="Thomas Stensitzki" userId="75cafe6b-2f2a-469b-85c4-eec3b9c972ba" providerId="ADAL" clId="{6E7BC4CE-A1B6-E044-AB96-223C5FC8A115}"/>
    <pc:docChg chg="custSel addSld delSld modSld sldOrd modSection">
      <pc:chgData name="Thomas Stensitzki" userId="75cafe6b-2f2a-469b-85c4-eec3b9c972ba" providerId="ADAL" clId="{6E7BC4CE-A1B6-E044-AB96-223C5FC8A115}" dt="2022-05-12T06:08:02.427" v="1358" actId="20577"/>
      <pc:docMkLst>
        <pc:docMk/>
      </pc:docMkLst>
      <pc:sldChg chg="modSp">
        <pc:chgData name="Thomas Stensitzki" userId="75cafe6b-2f2a-469b-85c4-eec3b9c972ba" providerId="ADAL" clId="{6E7BC4CE-A1B6-E044-AB96-223C5FC8A115}" dt="2022-05-12T06:08:02.427" v="1358" actId="20577"/>
        <pc:sldMkLst>
          <pc:docMk/>
          <pc:sldMk cId="2855324227" sldId="257"/>
        </pc:sldMkLst>
        <pc:graphicFrameChg chg="modGraphic">
          <ac:chgData name="Thomas Stensitzki" userId="75cafe6b-2f2a-469b-85c4-eec3b9c972ba" providerId="ADAL" clId="{6E7BC4CE-A1B6-E044-AB96-223C5FC8A115}" dt="2022-05-12T06:08:02.427" v="1358" actId="20577"/>
          <ac:graphicFrameMkLst>
            <pc:docMk/>
            <pc:sldMk cId="2855324227" sldId="257"/>
            <ac:graphicFrameMk id="6" creationId="{0F955DCC-462D-431D-BBDE-26F10687D590}"/>
          </ac:graphicFrameMkLst>
        </pc:graphicFrameChg>
      </pc:sldChg>
      <pc:sldChg chg="modSp">
        <pc:chgData name="Thomas Stensitzki" userId="75cafe6b-2f2a-469b-85c4-eec3b9c972ba" providerId="ADAL" clId="{6E7BC4CE-A1B6-E044-AB96-223C5FC8A115}" dt="2022-04-24T18:08:34.807" v="1293" actId="20577"/>
        <pc:sldMkLst>
          <pc:docMk/>
          <pc:sldMk cId="4007670073" sldId="268"/>
        </pc:sldMkLst>
        <pc:spChg chg="mod">
          <ac:chgData name="Thomas Stensitzki" userId="75cafe6b-2f2a-469b-85c4-eec3b9c972ba" providerId="ADAL" clId="{6E7BC4CE-A1B6-E044-AB96-223C5FC8A115}" dt="2022-04-24T18:08:34.807" v="1293" actId="20577"/>
          <ac:spMkLst>
            <pc:docMk/>
            <pc:sldMk cId="4007670073" sldId="268"/>
            <ac:spMk id="5" creationId="{F3459BE7-1731-4733-A912-12977C68CFD6}"/>
          </ac:spMkLst>
        </pc:spChg>
      </pc:sldChg>
      <pc:sldChg chg="del">
        <pc:chgData name="Thomas Stensitzki" userId="75cafe6b-2f2a-469b-85c4-eec3b9c972ba" providerId="ADAL" clId="{6E7BC4CE-A1B6-E044-AB96-223C5FC8A115}" dt="2022-04-24T18:09:29.350" v="1296" actId="2696"/>
        <pc:sldMkLst>
          <pc:docMk/>
          <pc:sldMk cId="53967156" sldId="297"/>
        </pc:sldMkLst>
      </pc:sldChg>
      <pc:sldChg chg="modSp">
        <pc:chgData name="Thomas Stensitzki" userId="75cafe6b-2f2a-469b-85c4-eec3b9c972ba" providerId="ADAL" clId="{6E7BC4CE-A1B6-E044-AB96-223C5FC8A115}" dt="2022-04-24T18:06:19.776" v="1230" actId="113"/>
        <pc:sldMkLst>
          <pc:docMk/>
          <pc:sldMk cId="2680249750" sldId="595"/>
        </pc:sldMkLst>
        <pc:spChg chg="mod">
          <ac:chgData name="Thomas Stensitzki" userId="75cafe6b-2f2a-469b-85c4-eec3b9c972ba" providerId="ADAL" clId="{6E7BC4CE-A1B6-E044-AB96-223C5FC8A115}" dt="2022-04-24T18:06:03.085" v="1226" actId="113"/>
          <ac:spMkLst>
            <pc:docMk/>
            <pc:sldMk cId="2680249750" sldId="595"/>
            <ac:spMk id="6" creationId="{03D53420-11EA-4D1B-9F13-CC90F632184E}"/>
          </ac:spMkLst>
        </pc:spChg>
        <pc:spChg chg="mod">
          <ac:chgData name="Thomas Stensitzki" userId="75cafe6b-2f2a-469b-85c4-eec3b9c972ba" providerId="ADAL" clId="{6E7BC4CE-A1B6-E044-AB96-223C5FC8A115}" dt="2022-04-24T18:06:10.863" v="1228" actId="255"/>
          <ac:spMkLst>
            <pc:docMk/>
            <pc:sldMk cId="2680249750" sldId="595"/>
            <ac:spMk id="7" creationId="{36EC7950-C586-452E-8736-1D139437B0BE}"/>
          </ac:spMkLst>
        </pc:spChg>
        <pc:spChg chg="mod">
          <ac:chgData name="Thomas Stensitzki" userId="75cafe6b-2f2a-469b-85c4-eec3b9c972ba" providerId="ADAL" clId="{6E7BC4CE-A1B6-E044-AB96-223C5FC8A115}" dt="2022-04-24T18:06:19.776" v="1230" actId="113"/>
          <ac:spMkLst>
            <pc:docMk/>
            <pc:sldMk cId="2680249750" sldId="595"/>
            <ac:spMk id="9" creationId="{183E4717-94DF-47D2-9915-B0740BADCA26}"/>
          </ac:spMkLst>
        </pc:spChg>
      </pc:sldChg>
      <pc:sldChg chg="modSp mod modClrScheme chgLayout">
        <pc:chgData name="Thomas Stensitzki" userId="75cafe6b-2f2a-469b-85c4-eec3b9c972ba" providerId="ADAL" clId="{6E7BC4CE-A1B6-E044-AB96-223C5FC8A115}" dt="2022-04-23T13:31:12.477" v="15" actId="1076"/>
        <pc:sldMkLst>
          <pc:docMk/>
          <pc:sldMk cId="1109434383" sldId="596"/>
        </pc:sldMkLst>
        <pc:spChg chg="mod ord">
          <ac:chgData name="Thomas Stensitzki" userId="75cafe6b-2f2a-469b-85c4-eec3b9c972ba" providerId="ADAL" clId="{6E7BC4CE-A1B6-E044-AB96-223C5FC8A115}" dt="2022-04-23T13:31:11.298" v="14" actId="20577"/>
          <ac:spMkLst>
            <pc:docMk/>
            <pc:sldMk cId="1109434383" sldId="596"/>
            <ac:spMk id="4" creationId="{041C0BDF-2374-4ACD-9289-35E2F2C5124D}"/>
          </ac:spMkLst>
        </pc:spChg>
        <pc:spChg chg="mod ord">
          <ac:chgData name="Thomas Stensitzki" userId="75cafe6b-2f2a-469b-85c4-eec3b9c972ba" providerId="ADAL" clId="{6E7BC4CE-A1B6-E044-AB96-223C5FC8A115}" dt="2022-04-23T13:31:12.477" v="15" actId="1076"/>
          <ac:spMkLst>
            <pc:docMk/>
            <pc:sldMk cId="1109434383" sldId="596"/>
            <ac:spMk id="5" creationId="{B1886A4C-E9E4-4111-BFDC-F9784FD52406}"/>
          </ac:spMkLst>
        </pc:spChg>
      </pc:sldChg>
      <pc:sldChg chg="modSp new mod modClrScheme chgLayout">
        <pc:chgData name="Thomas Stensitzki" userId="75cafe6b-2f2a-469b-85c4-eec3b9c972ba" providerId="ADAL" clId="{6E7BC4CE-A1B6-E044-AB96-223C5FC8A115}" dt="2022-04-23T13:35:57.013" v="396" actId="20577"/>
        <pc:sldMkLst>
          <pc:docMk/>
          <pc:sldMk cId="2098288780" sldId="597"/>
        </pc:sldMkLst>
        <pc:spChg chg="mod ord">
          <ac:chgData name="Thomas Stensitzki" userId="75cafe6b-2f2a-469b-85c4-eec3b9c972ba" providerId="ADAL" clId="{6E7BC4CE-A1B6-E044-AB96-223C5FC8A115}" dt="2022-04-23T13:31:43.130" v="38" actId="20577"/>
          <ac:spMkLst>
            <pc:docMk/>
            <pc:sldMk cId="2098288780" sldId="597"/>
            <ac:spMk id="2" creationId="{42DA031A-C25A-9457-35EB-F99DDD69A1A1}"/>
          </ac:spMkLst>
        </pc:spChg>
        <pc:spChg chg="mod ord">
          <ac:chgData name="Thomas Stensitzki" userId="75cafe6b-2f2a-469b-85c4-eec3b9c972ba" providerId="ADAL" clId="{6E7BC4CE-A1B6-E044-AB96-223C5FC8A115}" dt="2022-04-23T13:35:57.013" v="396" actId="20577"/>
          <ac:spMkLst>
            <pc:docMk/>
            <pc:sldMk cId="2098288780" sldId="597"/>
            <ac:spMk id="3" creationId="{26C8DA23-4FF8-3D58-B509-BFFD25A330F7}"/>
          </ac:spMkLst>
        </pc:spChg>
      </pc:sldChg>
      <pc:sldChg chg="modSp new">
        <pc:chgData name="Thomas Stensitzki" userId="75cafe6b-2f2a-469b-85c4-eec3b9c972ba" providerId="ADAL" clId="{6E7BC4CE-A1B6-E044-AB96-223C5FC8A115}" dt="2022-04-23T13:36:46.123" v="424" actId="20577"/>
        <pc:sldMkLst>
          <pc:docMk/>
          <pc:sldMk cId="2122712351" sldId="598"/>
        </pc:sldMkLst>
        <pc:spChg chg="mod">
          <ac:chgData name="Thomas Stensitzki" userId="75cafe6b-2f2a-469b-85c4-eec3b9c972ba" providerId="ADAL" clId="{6E7BC4CE-A1B6-E044-AB96-223C5FC8A115}" dt="2022-04-23T13:36:46.123" v="424" actId="20577"/>
          <ac:spMkLst>
            <pc:docMk/>
            <pc:sldMk cId="2122712351" sldId="598"/>
            <ac:spMk id="2" creationId="{1BC691DD-DCF8-E22A-F993-2C3F954C9BA6}"/>
          </ac:spMkLst>
        </pc:spChg>
      </pc:sldChg>
      <pc:sldChg chg="addSp delSp modSp add del ord">
        <pc:chgData name="Thomas Stensitzki" userId="75cafe6b-2f2a-469b-85c4-eec3b9c972ba" providerId="ADAL" clId="{6E7BC4CE-A1B6-E044-AB96-223C5FC8A115}" dt="2022-04-24T18:04:40.004" v="1225" actId="20577"/>
        <pc:sldMkLst>
          <pc:docMk/>
          <pc:sldMk cId="3219683340" sldId="600"/>
        </pc:sldMkLst>
        <pc:spChg chg="mod">
          <ac:chgData name="Thomas Stensitzki" userId="75cafe6b-2f2a-469b-85c4-eec3b9c972ba" providerId="ADAL" clId="{6E7BC4CE-A1B6-E044-AB96-223C5FC8A115}" dt="2022-04-24T18:01:09.387" v="1156" actId="20577"/>
          <ac:spMkLst>
            <pc:docMk/>
            <pc:sldMk cId="3219683340" sldId="600"/>
            <ac:spMk id="2" creationId="{42DA031A-C25A-9457-35EB-F99DDD69A1A1}"/>
          </ac:spMkLst>
        </pc:spChg>
        <pc:spChg chg="del mod">
          <ac:chgData name="Thomas Stensitzki" userId="75cafe6b-2f2a-469b-85c4-eec3b9c972ba" providerId="ADAL" clId="{6E7BC4CE-A1B6-E044-AB96-223C5FC8A115}" dt="2022-04-24T18:00:06.154" v="1150" actId="478"/>
          <ac:spMkLst>
            <pc:docMk/>
            <pc:sldMk cId="3219683340" sldId="600"/>
            <ac:spMk id="3" creationId="{26C8DA23-4FF8-3D58-B509-BFFD25A330F7}"/>
          </ac:spMkLst>
        </pc:spChg>
        <pc:spChg chg="add del mod">
          <ac:chgData name="Thomas Stensitzki" userId="75cafe6b-2f2a-469b-85c4-eec3b9c972ba" providerId="ADAL" clId="{6E7BC4CE-A1B6-E044-AB96-223C5FC8A115}" dt="2022-04-24T18:00:08.778" v="1151" actId="478"/>
          <ac:spMkLst>
            <pc:docMk/>
            <pc:sldMk cId="3219683340" sldId="600"/>
            <ac:spMk id="5" creationId="{AF05C41D-32C8-3AB4-098C-0BC45CAC0443}"/>
          </ac:spMkLst>
        </pc:spChg>
        <pc:spChg chg="add mod">
          <ac:chgData name="Thomas Stensitzki" userId="75cafe6b-2f2a-469b-85c4-eec3b9c972ba" providerId="ADAL" clId="{6E7BC4CE-A1B6-E044-AB96-223C5FC8A115}" dt="2022-04-24T18:00:55.964" v="1155" actId="17032"/>
          <ac:spMkLst>
            <pc:docMk/>
            <pc:sldMk cId="3219683340" sldId="600"/>
            <ac:spMk id="6" creationId="{B8352C24-DAF7-AA4A-95ED-E9347C155D0F}"/>
          </ac:spMkLst>
        </pc:spChg>
        <pc:spChg chg="add mod">
          <ac:chgData name="Thomas Stensitzki" userId="75cafe6b-2f2a-469b-85c4-eec3b9c972ba" providerId="ADAL" clId="{6E7BC4CE-A1B6-E044-AB96-223C5FC8A115}" dt="2022-04-24T18:03:55.434" v="1181" actId="208"/>
          <ac:spMkLst>
            <pc:docMk/>
            <pc:sldMk cId="3219683340" sldId="600"/>
            <ac:spMk id="7" creationId="{74833D07-425E-D0B9-7DE1-6DDF33012B13}"/>
          </ac:spMkLst>
        </pc:spChg>
        <pc:spChg chg="add mod">
          <ac:chgData name="Thomas Stensitzki" userId="75cafe6b-2f2a-469b-85c4-eec3b9c972ba" providerId="ADAL" clId="{6E7BC4CE-A1B6-E044-AB96-223C5FC8A115}" dt="2022-04-24T18:04:40.004" v="1225" actId="20577"/>
          <ac:spMkLst>
            <pc:docMk/>
            <pc:sldMk cId="3219683340" sldId="600"/>
            <ac:spMk id="9" creationId="{5D009486-2F96-7449-A37B-1EAC2B59D33E}"/>
          </ac:spMkLst>
        </pc:spChg>
      </pc:sldChg>
      <pc:sldChg chg="modSp add">
        <pc:chgData name="Thomas Stensitzki" userId="75cafe6b-2f2a-469b-85c4-eec3b9c972ba" providerId="ADAL" clId="{6E7BC4CE-A1B6-E044-AB96-223C5FC8A115}" dt="2022-04-24T17:32:32.457" v="550" actId="20577"/>
        <pc:sldMkLst>
          <pc:docMk/>
          <pc:sldMk cId="3760544869" sldId="603"/>
        </pc:sldMkLst>
        <pc:spChg chg="mod">
          <ac:chgData name="Thomas Stensitzki" userId="75cafe6b-2f2a-469b-85c4-eec3b9c972ba" providerId="ADAL" clId="{6E7BC4CE-A1B6-E044-AB96-223C5FC8A115}" dt="2022-04-24T17:32:32.457" v="550" actId="20577"/>
          <ac:spMkLst>
            <pc:docMk/>
            <pc:sldMk cId="3760544869" sldId="603"/>
            <ac:spMk id="2" creationId="{42DA031A-C25A-9457-35EB-F99DDD69A1A1}"/>
          </ac:spMkLst>
        </pc:spChg>
      </pc:sldChg>
      <pc:sldChg chg="modSp add">
        <pc:chgData name="Thomas Stensitzki" userId="75cafe6b-2f2a-469b-85c4-eec3b9c972ba" providerId="ADAL" clId="{6E7BC4CE-A1B6-E044-AB96-223C5FC8A115}" dt="2022-04-24T18:01:15.346" v="1157" actId="20577"/>
        <pc:sldMkLst>
          <pc:docMk/>
          <pc:sldMk cId="4098706796" sldId="604"/>
        </pc:sldMkLst>
        <pc:spChg chg="mod">
          <ac:chgData name="Thomas Stensitzki" userId="75cafe6b-2f2a-469b-85c4-eec3b9c972ba" providerId="ADAL" clId="{6E7BC4CE-A1B6-E044-AB96-223C5FC8A115}" dt="2022-04-24T18:01:15.346" v="1157" actId="20577"/>
          <ac:spMkLst>
            <pc:docMk/>
            <pc:sldMk cId="4098706796" sldId="604"/>
            <ac:spMk id="2" creationId="{42DA031A-C25A-9457-35EB-F99DDD69A1A1}"/>
          </ac:spMkLst>
        </pc:spChg>
        <pc:spChg chg="mod">
          <ac:chgData name="Thomas Stensitzki" userId="75cafe6b-2f2a-469b-85c4-eec3b9c972ba" providerId="ADAL" clId="{6E7BC4CE-A1B6-E044-AB96-223C5FC8A115}" dt="2022-04-24T17:40:57.489" v="1143" actId="20577"/>
          <ac:spMkLst>
            <pc:docMk/>
            <pc:sldMk cId="4098706796" sldId="604"/>
            <ac:spMk id="3" creationId="{26C8DA23-4FF8-3D58-B509-BFFD25A330F7}"/>
          </ac:spMkLst>
        </pc:spChg>
      </pc:sldChg>
      <pc:sldChg chg="add del">
        <pc:chgData name="Thomas Stensitzki" userId="75cafe6b-2f2a-469b-85c4-eec3b9c972ba" providerId="ADAL" clId="{6E7BC4CE-A1B6-E044-AB96-223C5FC8A115}" dt="2022-04-24T17:58:36.350" v="1147" actId="2696"/>
        <pc:sldMkLst>
          <pc:docMk/>
          <pc:sldMk cId="681312876" sldId="605"/>
        </pc:sldMkLst>
      </pc:sldChg>
      <pc:sldChg chg="modSp add">
        <pc:chgData name="Thomas Stensitzki" userId="75cafe6b-2f2a-469b-85c4-eec3b9c972ba" providerId="ADAL" clId="{6E7BC4CE-A1B6-E044-AB96-223C5FC8A115}" dt="2022-04-24T18:08:20.579" v="1290" actId="20577"/>
        <pc:sldMkLst>
          <pc:docMk/>
          <pc:sldMk cId="4145245121" sldId="605"/>
        </pc:sldMkLst>
        <pc:spChg chg="mod">
          <ac:chgData name="Thomas Stensitzki" userId="75cafe6b-2f2a-469b-85c4-eec3b9c972ba" providerId="ADAL" clId="{6E7BC4CE-A1B6-E044-AB96-223C5FC8A115}" dt="2022-04-24T18:08:20.579" v="1290" actId="20577"/>
          <ac:spMkLst>
            <pc:docMk/>
            <pc:sldMk cId="4145245121" sldId="605"/>
            <ac:spMk id="4" creationId="{6C908133-7121-4AFA-B3AD-60A9B860C54F}"/>
          </ac:spMkLst>
        </pc:spChg>
      </pc:sldChg>
      <pc:sldChg chg="modSp add ord">
        <pc:chgData name="Thomas Stensitzki" userId="75cafe6b-2f2a-469b-85c4-eec3b9c972ba" providerId="ADAL" clId="{6E7BC4CE-A1B6-E044-AB96-223C5FC8A115}" dt="2022-04-24T18:09:53.301" v="1346" actId="20577"/>
        <pc:sldMkLst>
          <pc:docMk/>
          <pc:sldMk cId="1856989855" sldId="606"/>
        </pc:sldMkLst>
        <pc:spChg chg="mod">
          <ac:chgData name="Thomas Stensitzki" userId="75cafe6b-2f2a-469b-85c4-eec3b9c972ba" providerId="ADAL" clId="{6E7BC4CE-A1B6-E044-AB96-223C5FC8A115}" dt="2022-04-24T18:09:53.301" v="1346" actId="20577"/>
          <ac:spMkLst>
            <pc:docMk/>
            <pc:sldMk cId="1856989855" sldId="606"/>
            <ac:spMk id="5" creationId="{F3459BE7-1731-4733-A912-12977C68CFD6}"/>
          </ac:spMkLst>
        </pc:spChg>
      </pc:sldChg>
    </pc:docChg>
  </pc:docChgLst>
  <pc:docChgLst>
    <pc:chgData name="Thomas Stensitzki" userId="75cafe6b-2f2a-469b-85c4-eec3b9c972ba" providerId="ADAL" clId="{ADB70B9A-E028-484E-93D9-2068C3FA1355}"/>
    <pc:docChg chg="undo custSel addSld delSld modSld sldOrd addSection delSection modSection">
      <pc:chgData name="Thomas Stensitzki" userId="75cafe6b-2f2a-469b-85c4-eec3b9c972ba" providerId="ADAL" clId="{ADB70B9A-E028-484E-93D9-2068C3FA1355}" dt="2023-03-02T18:00:37.343" v="1507" actId="6549"/>
      <pc:docMkLst>
        <pc:docMk/>
      </pc:docMkLst>
      <pc:sldChg chg="modSp mod modTransition">
        <pc:chgData name="Thomas Stensitzki" userId="75cafe6b-2f2a-469b-85c4-eec3b9c972ba" providerId="ADAL" clId="{ADB70B9A-E028-484E-93D9-2068C3FA1355}" dt="2023-03-01T15:15:23.115" v="1497"/>
        <pc:sldMkLst>
          <pc:docMk/>
          <pc:sldMk cId="671489701" sldId="256"/>
        </pc:sldMkLst>
        <pc:spChg chg="mod">
          <ac:chgData name="Thomas Stensitzki" userId="75cafe6b-2f2a-469b-85c4-eec3b9c972ba" providerId="ADAL" clId="{ADB70B9A-E028-484E-93D9-2068C3FA1355}" dt="2023-02-22T14:00:15.780" v="28" actId="20577"/>
          <ac:spMkLst>
            <pc:docMk/>
            <pc:sldMk cId="671489701" sldId="256"/>
            <ac:spMk id="3" creationId="{CBA95633-B02D-4A15-A8B1-A38E0A70FD27}"/>
          </ac:spMkLst>
        </pc:spChg>
      </pc:sldChg>
      <pc:sldChg chg="modSp mod modTransition">
        <pc:chgData name="Thomas Stensitzki" userId="75cafe6b-2f2a-469b-85c4-eec3b9c972ba" providerId="ADAL" clId="{ADB70B9A-E028-484E-93D9-2068C3FA1355}" dt="2023-03-01T15:15:23.115" v="1497"/>
        <pc:sldMkLst>
          <pc:docMk/>
          <pc:sldMk cId="2855324227" sldId="257"/>
        </pc:sldMkLst>
        <pc:graphicFrameChg chg="mod modGraphic">
          <ac:chgData name="Thomas Stensitzki" userId="75cafe6b-2f2a-469b-85c4-eec3b9c972ba" providerId="ADAL" clId="{ADB70B9A-E028-484E-93D9-2068C3FA1355}" dt="2023-02-22T14:02:06.872" v="64" actId="20577"/>
          <ac:graphicFrameMkLst>
            <pc:docMk/>
            <pc:sldMk cId="2855324227" sldId="257"/>
            <ac:graphicFrameMk id="6" creationId="{0F955DCC-462D-431D-BBDE-26F10687D590}"/>
          </ac:graphicFrameMkLst>
        </pc:graphicFrameChg>
      </pc:sldChg>
      <pc:sldChg chg="modSp mod modTransition">
        <pc:chgData name="Thomas Stensitzki" userId="75cafe6b-2f2a-469b-85c4-eec3b9c972ba" providerId="ADAL" clId="{ADB70B9A-E028-484E-93D9-2068C3FA1355}" dt="2023-03-01T15:20:25.153" v="1501" actId="20577"/>
        <pc:sldMkLst>
          <pc:docMk/>
          <pc:sldMk cId="3332792154" sldId="258"/>
        </pc:sldMkLst>
        <pc:spChg chg="mod">
          <ac:chgData name="Thomas Stensitzki" userId="75cafe6b-2f2a-469b-85c4-eec3b9c972ba" providerId="ADAL" clId="{ADB70B9A-E028-484E-93D9-2068C3FA1355}" dt="2023-03-01T15:20:25.153" v="1501" actId="20577"/>
          <ac:spMkLst>
            <pc:docMk/>
            <pc:sldMk cId="3332792154" sldId="258"/>
            <ac:spMk id="3" creationId="{3A5A44EB-7FB9-473A-8ED3-C49DDD2E65AB}"/>
          </ac:spMkLst>
        </pc:spChg>
      </pc:sldChg>
      <pc:sldChg chg="addSp modSp mod modTransition modShow">
        <pc:chgData name="Thomas Stensitzki" userId="75cafe6b-2f2a-469b-85c4-eec3b9c972ba" providerId="ADAL" clId="{ADB70B9A-E028-484E-93D9-2068C3FA1355}" dt="2023-03-02T14:47:15.346" v="1505" actId="729"/>
        <pc:sldMkLst>
          <pc:docMk/>
          <pc:sldMk cId="1545829058" sldId="259"/>
        </pc:sldMkLst>
        <pc:picChg chg="add mod">
          <ac:chgData name="Thomas Stensitzki" userId="75cafe6b-2f2a-469b-85c4-eec3b9c972ba" providerId="ADAL" clId="{ADB70B9A-E028-484E-93D9-2068C3FA1355}" dt="2023-03-02T14:47:02.317" v="1504" actId="1076"/>
          <ac:picMkLst>
            <pc:docMk/>
            <pc:sldMk cId="1545829058" sldId="259"/>
            <ac:picMk id="4" creationId="{31DC9F61-9044-6FE5-0374-686D575A8A28}"/>
          </ac:picMkLst>
        </pc:picChg>
      </pc:sldChg>
      <pc:sldChg chg="modSp mod modTransition">
        <pc:chgData name="Thomas Stensitzki" userId="75cafe6b-2f2a-469b-85c4-eec3b9c972ba" providerId="ADAL" clId="{ADB70B9A-E028-484E-93D9-2068C3FA1355}" dt="2023-03-01T15:15:23.115" v="1497"/>
        <pc:sldMkLst>
          <pc:docMk/>
          <pc:sldMk cId="2698998357" sldId="260"/>
        </pc:sldMkLst>
        <pc:spChg chg="mod">
          <ac:chgData name="Thomas Stensitzki" userId="75cafe6b-2f2a-469b-85c4-eec3b9c972ba" providerId="ADAL" clId="{ADB70B9A-E028-484E-93D9-2068C3FA1355}" dt="2023-02-22T14:01:22.756" v="51" actId="20577"/>
          <ac:spMkLst>
            <pc:docMk/>
            <pc:sldMk cId="2698998357" sldId="260"/>
            <ac:spMk id="4" creationId="{F3A15CBD-C746-44A3-A4F0-4898CE2F02E6}"/>
          </ac:spMkLst>
        </pc:spChg>
        <pc:spChg chg="mod">
          <ac:chgData name="Thomas Stensitzki" userId="75cafe6b-2f2a-469b-85c4-eec3b9c972ba" providerId="ADAL" clId="{ADB70B9A-E028-484E-93D9-2068C3FA1355}" dt="2023-02-22T14:01:17.588" v="50" actId="6549"/>
          <ac:spMkLst>
            <pc:docMk/>
            <pc:sldMk cId="2698998357" sldId="260"/>
            <ac:spMk id="5" creationId="{F3459BE7-1731-4733-A912-12977C68CFD6}"/>
          </ac:spMkLst>
        </pc:spChg>
      </pc:sldChg>
      <pc:sldChg chg="modSp add mod modTransition">
        <pc:chgData name="Thomas Stensitzki" userId="75cafe6b-2f2a-469b-85c4-eec3b9c972ba" providerId="ADAL" clId="{ADB70B9A-E028-484E-93D9-2068C3FA1355}" dt="2023-03-01T15:15:23.115" v="1497"/>
        <pc:sldMkLst>
          <pc:docMk/>
          <pc:sldMk cId="4007670073" sldId="268"/>
        </pc:sldMkLst>
        <pc:spChg chg="mod">
          <ac:chgData name="Thomas Stensitzki" userId="75cafe6b-2f2a-469b-85c4-eec3b9c972ba" providerId="ADAL" clId="{ADB70B9A-E028-484E-93D9-2068C3FA1355}" dt="2023-02-22T14:02:51.043" v="71" actId="20577"/>
          <ac:spMkLst>
            <pc:docMk/>
            <pc:sldMk cId="4007670073" sldId="268"/>
            <ac:spMk id="5" creationId="{F3459BE7-1731-4733-A912-12977C68CFD6}"/>
          </ac:spMkLst>
        </pc:spChg>
      </pc:sldChg>
      <pc:sldChg chg="modSp mod modTransition">
        <pc:chgData name="Thomas Stensitzki" userId="75cafe6b-2f2a-469b-85c4-eec3b9c972ba" providerId="ADAL" clId="{ADB70B9A-E028-484E-93D9-2068C3FA1355}" dt="2023-03-01T15:15:23.115" v="1497"/>
        <pc:sldMkLst>
          <pc:docMk/>
          <pc:sldMk cId="2721051844" sldId="269"/>
        </pc:sldMkLst>
        <pc:spChg chg="mod">
          <ac:chgData name="Thomas Stensitzki" userId="75cafe6b-2f2a-469b-85c4-eec3b9c972ba" providerId="ADAL" clId="{ADB70B9A-E028-484E-93D9-2068C3FA1355}" dt="2023-02-22T14:05:35.079" v="134" actId="20577"/>
          <ac:spMkLst>
            <pc:docMk/>
            <pc:sldMk cId="2721051844" sldId="269"/>
            <ac:spMk id="5" creationId="{C24DACB5-1BEC-4C86-9652-BAFD8DE56FEF}"/>
          </ac:spMkLst>
        </pc:spChg>
      </pc:sldChg>
      <pc:sldChg chg="modTransition">
        <pc:chgData name="Thomas Stensitzki" userId="75cafe6b-2f2a-469b-85c4-eec3b9c972ba" providerId="ADAL" clId="{ADB70B9A-E028-484E-93D9-2068C3FA1355}" dt="2023-03-01T15:15:23.115" v="1497"/>
        <pc:sldMkLst>
          <pc:docMk/>
          <pc:sldMk cId="1928334901" sldId="295"/>
        </pc:sldMkLst>
      </pc:sldChg>
      <pc:sldChg chg="modTransition">
        <pc:chgData name="Thomas Stensitzki" userId="75cafe6b-2f2a-469b-85c4-eec3b9c972ba" providerId="ADAL" clId="{ADB70B9A-E028-484E-93D9-2068C3FA1355}" dt="2023-03-01T15:15:23.115" v="1497"/>
        <pc:sldMkLst>
          <pc:docMk/>
          <pc:sldMk cId="2814967912" sldId="311"/>
        </pc:sldMkLst>
      </pc:sldChg>
      <pc:sldChg chg="modSp add mod modTransition">
        <pc:chgData name="Thomas Stensitzki" userId="75cafe6b-2f2a-469b-85c4-eec3b9c972ba" providerId="ADAL" clId="{ADB70B9A-E028-484E-93D9-2068C3FA1355}" dt="2023-03-01T15:15:23.115" v="1497"/>
        <pc:sldMkLst>
          <pc:docMk/>
          <pc:sldMk cId="2227487991" sldId="378"/>
        </pc:sldMkLst>
        <pc:spChg chg="mod">
          <ac:chgData name="Thomas Stensitzki" userId="75cafe6b-2f2a-469b-85c4-eec3b9c972ba" providerId="ADAL" clId="{ADB70B9A-E028-484E-93D9-2068C3FA1355}" dt="2023-02-22T15:21:53.403" v="260" actId="14100"/>
          <ac:spMkLst>
            <pc:docMk/>
            <pc:sldMk cId="2227487991" sldId="378"/>
            <ac:spMk id="2" creationId="{909DC09D-B9A6-4493-9A72-1CA7ECB1F5CA}"/>
          </ac:spMkLst>
        </pc:spChg>
        <pc:spChg chg="mod">
          <ac:chgData name="Thomas Stensitzki" userId="75cafe6b-2f2a-469b-85c4-eec3b9c972ba" providerId="ADAL" clId="{ADB70B9A-E028-484E-93D9-2068C3FA1355}" dt="2023-03-01T13:32:18.696" v="1356"/>
          <ac:spMkLst>
            <pc:docMk/>
            <pc:sldMk cId="2227487991" sldId="378"/>
            <ac:spMk id="5" creationId="{C24DACB5-1BEC-4C86-9652-BAFD8DE56FEF}"/>
          </ac:spMkLst>
        </pc:spChg>
      </pc:sldChg>
      <pc:sldChg chg="modTransition">
        <pc:chgData name="Thomas Stensitzki" userId="75cafe6b-2f2a-469b-85c4-eec3b9c972ba" providerId="ADAL" clId="{ADB70B9A-E028-484E-93D9-2068C3FA1355}" dt="2023-03-01T15:15:23.115" v="1497"/>
        <pc:sldMkLst>
          <pc:docMk/>
          <pc:sldMk cId="2923837414" sldId="513"/>
        </pc:sldMkLst>
      </pc:sldChg>
      <pc:sldChg chg="modTransition">
        <pc:chgData name="Thomas Stensitzki" userId="75cafe6b-2f2a-469b-85c4-eec3b9c972ba" providerId="ADAL" clId="{ADB70B9A-E028-484E-93D9-2068C3FA1355}" dt="2023-03-01T15:15:23.115" v="1497"/>
        <pc:sldMkLst>
          <pc:docMk/>
          <pc:sldMk cId="2395924320" sldId="514"/>
        </pc:sldMkLst>
      </pc:sldChg>
      <pc:sldChg chg="modSp add mod modTransition">
        <pc:chgData name="Thomas Stensitzki" userId="75cafe6b-2f2a-469b-85c4-eec3b9c972ba" providerId="ADAL" clId="{ADB70B9A-E028-484E-93D9-2068C3FA1355}" dt="2023-03-01T15:15:23.115" v="1497"/>
        <pc:sldMkLst>
          <pc:docMk/>
          <pc:sldMk cId="3797754622" sldId="515"/>
        </pc:sldMkLst>
        <pc:spChg chg="mod">
          <ac:chgData name="Thomas Stensitzki" userId="75cafe6b-2f2a-469b-85c4-eec3b9c972ba" providerId="ADAL" clId="{ADB70B9A-E028-484E-93D9-2068C3FA1355}" dt="2023-03-01T13:38:07.364" v="1417" actId="14100"/>
          <ac:spMkLst>
            <pc:docMk/>
            <pc:sldMk cId="3797754622" sldId="515"/>
            <ac:spMk id="2" creationId="{909DC09D-B9A6-4493-9A72-1CA7ECB1F5CA}"/>
          </ac:spMkLst>
        </pc:spChg>
        <pc:spChg chg="mod">
          <ac:chgData name="Thomas Stensitzki" userId="75cafe6b-2f2a-469b-85c4-eec3b9c972ba" providerId="ADAL" clId="{ADB70B9A-E028-484E-93D9-2068C3FA1355}" dt="2023-02-22T15:59:11.249" v="1279" actId="20577"/>
          <ac:spMkLst>
            <pc:docMk/>
            <pc:sldMk cId="3797754622" sldId="515"/>
            <ac:spMk id="5" creationId="{C24DACB5-1BEC-4C86-9652-BAFD8DE56FEF}"/>
          </ac:spMkLst>
        </pc:spChg>
      </pc:sldChg>
      <pc:sldChg chg="modTransition">
        <pc:chgData name="Thomas Stensitzki" userId="75cafe6b-2f2a-469b-85c4-eec3b9c972ba" providerId="ADAL" clId="{ADB70B9A-E028-484E-93D9-2068C3FA1355}" dt="2023-03-01T15:15:23.115" v="1497"/>
        <pc:sldMkLst>
          <pc:docMk/>
          <pc:sldMk cId="2791634409" sldId="560"/>
        </pc:sldMkLst>
      </pc:sldChg>
      <pc:sldChg chg="mod modTransition modShow">
        <pc:chgData name="Thomas Stensitzki" userId="75cafe6b-2f2a-469b-85c4-eec3b9c972ba" providerId="ADAL" clId="{ADB70B9A-E028-484E-93D9-2068C3FA1355}" dt="2023-03-01T15:20:04.607" v="1499" actId="729"/>
        <pc:sldMkLst>
          <pc:docMk/>
          <pc:sldMk cId="1728515471" sldId="561"/>
        </pc:sldMkLst>
      </pc:sldChg>
      <pc:sldChg chg="del">
        <pc:chgData name="Thomas Stensitzki" userId="75cafe6b-2f2a-469b-85c4-eec3b9c972ba" providerId="ADAL" clId="{ADB70B9A-E028-484E-93D9-2068C3FA1355}" dt="2023-02-22T14:06:20.967" v="137" actId="18676"/>
        <pc:sldMkLst>
          <pc:docMk/>
          <pc:sldMk cId="1856989855" sldId="606"/>
        </pc:sldMkLst>
      </pc:sldChg>
      <pc:sldChg chg="modTransition">
        <pc:chgData name="Thomas Stensitzki" userId="75cafe6b-2f2a-469b-85c4-eec3b9c972ba" providerId="ADAL" clId="{ADB70B9A-E028-484E-93D9-2068C3FA1355}" dt="2023-03-01T15:15:23.115" v="1497"/>
        <pc:sldMkLst>
          <pc:docMk/>
          <pc:sldMk cId="1051205786" sldId="607"/>
        </pc:sldMkLst>
      </pc:sldChg>
      <pc:sldChg chg="del">
        <pc:chgData name="Thomas Stensitzki" userId="75cafe6b-2f2a-469b-85c4-eec3b9c972ba" providerId="ADAL" clId="{ADB70B9A-E028-484E-93D9-2068C3FA1355}" dt="2023-02-22T14:06:20.967" v="137" actId="18676"/>
        <pc:sldMkLst>
          <pc:docMk/>
          <pc:sldMk cId="4003618409" sldId="608"/>
        </pc:sldMkLst>
      </pc:sldChg>
      <pc:sldChg chg="new del">
        <pc:chgData name="Thomas Stensitzki" userId="75cafe6b-2f2a-469b-85c4-eec3b9c972ba" providerId="ADAL" clId="{ADB70B9A-E028-484E-93D9-2068C3FA1355}" dt="2023-02-22T15:13:32.832" v="166" actId="47"/>
        <pc:sldMkLst>
          <pc:docMk/>
          <pc:sldMk cId="3017762970" sldId="609"/>
        </pc:sldMkLst>
      </pc:sldChg>
      <pc:sldChg chg="add del">
        <pc:chgData name="Thomas Stensitzki" userId="75cafe6b-2f2a-469b-85c4-eec3b9c972ba" providerId="ADAL" clId="{ADB70B9A-E028-484E-93D9-2068C3FA1355}" dt="2023-02-22T14:03:19.359" v="74" actId="47"/>
        <pc:sldMkLst>
          <pc:docMk/>
          <pc:sldMk cId="839699773" sldId="610"/>
        </pc:sldMkLst>
      </pc:sldChg>
      <pc:sldChg chg="add del">
        <pc:chgData name="Thomas Stensitzki" userId="75cafe6b-2f2a-469b-85c4-eec3b9c972ba" providerId="ADAL" clId="{ADB70B9A-E028-484E-93D9-2068C3FA1355}" dt="2023-02-22T14:02:34.696" v="67" actId="47"/>
        <pc:sldMkLst>
          <pc:docMk/>
          <pc:sldMk cId="1399224848" sldId="610"/>
        </pc:sldMkLst>
      </pc:sldChg>
      <pc:sldChg chg="modSp add mod modTransition">
        <pc:chgData name="Thomas Stensitzki" userId="75cafe6b-2f2a-469b-85c4-eec3b9c972ba" providerId="ADAL" clId="{ADB70B9A-E028-484E-93D9-2068C3FA1355}" dt="2023-03-01T15:15:23.115" v="1497"/>
        <pc:sldMkLst>
          <pc:docMk/>
          <pc:sldMk cId="1962477249" sldId="659"/>
        </pc:sldMkLst>
        <pc:spChg chg="mod">
          <ac:chgData name="Thomas Stensitzki" userId="75cafe6b-2f2a-469b-85c4-eec3b9c972ba" providerId="ADAL" clId="{ADB70B9A-E028-484E-93D9-2068C3FA1355}" dt="2023-02-22T14:06:07.245" v="136" actId="6549"/>
          <ac:spMkLst>
            <pc:docMk/>
            <pc:sldMk cId="1962477249" sldId="659"/>
            <ac:spMk id="5" creationId="{F3459BE7-1731-4733-A912-12977C68CFD6}"/>
          </ac:spMkLst>
        </pc:spChg>
      </pc:sldChg>
      <pc:sldChg chg="addSp delSp modSp new mod modTransition modNotesTx">
        <pc:chgData name="Thomas Stensitzki" userId="75cafe6b-2f2a-469b-85c4-eec3b9c972ba" providerId="ADAL" clId="{ADB70B9A-E028-484E-93D9-2068C3FA1355}" dt="2023-03-01T15:15:23.115" v="1497"/>
        <pc:sldMkLst>
          <pc:docMk/>
          <pc:sldMk cId="1307406210" sldId="660"/>
        </pc:sldMkLst>
        <pc:spChg chg="mod">
          <ac:chgData name="Thomas Stensitzki" userId="75cafe6b-2f2a-469b-85c4-eec3b9c972ba" providerId="ADAL" clId="{ADB70B9A-E028-484E-93D9-2068C3FA1355}" dt="2023-02-22T15:14:26.751" v="168"/>
          <ac:spMkLst>
            <pc:docMk/>
            <pc:sldMk cId="1307406210" sldId="660"/>
            <ac:spMk id="2" creationId="{75238B7F-9981-D55C-CE85-8DB712CB6E38}"/>
          </ac:spMkLst>
        </pc:spChg>
        <pc:spChg chg="del">
          <ac:chgData name="Thomas Stensitzki" userId="75cafe6b-2f2a-469b-85c4-eec3b9c972ba" providerId="ADAL" clId="{ADB70B9A-E028-484E-93D9-2068C3FA1355}" dt="2023-02-22T15:15:09.518" v="169" actId="478"/>
          <ac:spMkLst>
            <pc:docMk/>
            <pc:sldMk cId="1307406210" sldId="660"/>
            <ac:spMk id="3" creationId="{4BD5D4C0-ED60-714F-B695-57B38CCC7CFF}"/>
          </ac:spMkLst>
        </pc:spChg>
        <pc:picChg chg="add mod">
          <ac:chgData name="Thomas Stensitzki" userId="75cafe6b-2f2a-469b-85c4-eec3b9c972ba" providerId="ADAL" clId="{ADB70B9A-E028-484E-93D9-2068C3FA1355}" dt="2023-03-01T13:30:24.450" v="1347" actId="1440"/>
          <ac:picMkLst>
            <pc:docMk/>
            <pc:sldMk cId="1307406210" sldId="660"/>
            <ac:picMk id="4" creationId="{1272FF8F-2CC2-7DB8-1084-1150C72C5D60}"/>
          </ac:picMkLst>
        </pc:picChg>
        <pc:picChg chg="add del mod">
          <ac:chgData name="Thomas Stensitzki" userId="75cafe6b-2f2a-469b-85c4-eec3b9c972ba" providerId="ADAL" clId="{ADB70B9A-E028-484E-93D9-2068C3FA1355}" dt="2023-02-22T15:16:00.157" v="184" actId="478"/>
          <ac:picMkLst>
            <pc:docMk/>
            <pc:sldMk cId="1307406210" sldId="660"/>
            <ac:picMk id="1026" creationId="{4BC2D7BB-8D22-2656-DFF6-CABAF2CB2535}"/>
          </ac:picMkLst>
        </pc:picChg>
      </pc:sldChg>
      <pc:sldChg chg="delSp modSp add mod modTransition">
        <pc:chgData name="Thomas Stensitzki" userId="75cafe6b-2f2a-469b-85c4-eec3b9c972ba" providerId="ADAL" clId="{ADB70B9A-E028-484E-93D9-2068C3FA1355}" dt="2023-03-01T15:15:23.115" v="1497"/>
        <pc:sldMkLst>
          <pc:docMk/>
          <pc:sldMk cId="3311861693" sldId="661"/>
        </pc:sldMkLst>
        <pc:picChg chg="del">
          <ac:chgData name="Thomas Stensitzki" userId="75cafe6b-2f2a-469b-85c4-eec3b9c972ba" providerId="ADAL" clId="{ADB70B9A-E028-484E-93D9-2068C3FA1355}" dt="2023-02-22T15:15:54.593" v="182" actId="478"/>
          <ac:picMkLst>
            <pc:docMk/>
            <pc:sldMk cId="3311861693" sldId="661"/>
            <ac:picMk id="4" creationId="{1272FF8F-2CC2-7DB8-1084-1150C72C5D60}"/>
          </ac:picMkLst>
        </pc:picChg>
        <pc:picChg chg="mod">
          <ac:chgData name="Thomas Stensitzki" userId="75cafe6b-2f2a-469b-85c4-eec3b9c972ba" providerId="ADAL" clId="{ADB70B9A-E028-484E-93D9-2068C3FA1355}" dt="2023-03-01T13:30:21.051" v="1345" actId="1440"/>
          <ac:picMkLst>
            <pc:docMk/>
            <pc:sldMk cId="3311861693" sldId="661"/>
            <ac:picMk id="1026" creationId="{4BC2D7BB-8D22-2656-DFF6-CABAF2CB2535}"/>
          </ac:picMkLst>
        </pc:picChg>
      </pc:sldChg>
      <pc:sldChg chg="addSp delSp modSp new mod modTransition modNotesTx">
        <pc:chgData name="Thomas Stensitzki" userId="75cafe6b-2f2a-469b-85c4-eec3b9c972ba" providerId="ADAL" clId="{ADB70B9A-E028-484E-93D9-2068C3FA1355}" dt="2023-03-01T15:15:23.115" v="1497"/>
        <pc:sldMkLst>
          <pc:docMk/>
          <pc:sldMk cId="561974499" sldId="662"/>
        </pc:sldMkLst>
        <pc:spChg chg="mod">
          <ac:chgData name="Thomas Stensitzki" userId="75cafe6b-2f2a-469b-85c4-eec3b9c972ba" providerId="ADAL" clId="{ADB70B9A-E028-484E-93D9-2068C3FA1355}" dt="2023-02-22T15:20:56.709" v="236"/>
          <ac:spMkLst>
            <pc:docMk/>
            <pc:sldMk cId="561974499" sldId="662"/>
            <ac:spMk id="2" creationId="{66B6D1AB-3252-99CD-D68D-81ADE08F2139}"/>
          </ac:spMkLst>
        </pc:spChg>
        <pc:spChg chg="del">
          <ac:chgData name="Thomas Stensitzki" userId="75cafe6b-2f2a-469b-85c4-eec3b9c972ba" providerId="ADAL" clId="{ADB70B9A-E028-484E-93D9-2068C3FA1355}" dt="2023-02-22T15:20:58.839" v="237" actId="478"/>
          <ac:spMkLst>
            <pc:docMk/>
            <pc:sldMk cId="561974499" sldId="662"/>
            <ac:spMk id="3" creationId="{4DCC9CCA-3AED-9C1A-1B40-3C724319E77D}"/>
          </ac:spMkLst>
        </pc:spChg>
        <pc:picChg chg="add mod">
          <ac:chgData name="Thomas Stensitzki" userId="75cafe6b-2f2a-469b-85c4-eec3b9c972ba" providerId="ADAL" clId="{ADB70B9A-E028-484E-93D9-2068C3FA1355}" dt="2023-03-01T13:30:43.530" v="1353" actId="1440"/>
          <ac:picMkLst>
            <pc:docMk/>
            <pc:sldMk cId="561974499" sldId="662"/>
            <ac:picMk id="2050" creationId="{A79A94B8-95E5-A191-BAD5-FE9B99FB9734}"/>
          </ac:picMkLst>
        </pc:picChg>
        <pc:picChg chg="add mod">
          <ac:chgData name="Thomas Stensitzki" userId="75cafe6b-2f2a-469b-85c4-eec3b9c972ba" providerId="ADAL" clId="{ADB70B9A-E028-484E-93D9-2068C3FA1355}" dt="2023-03-01T13:30:44.372" v="1354" actId="1440"/>
          <ac:picMkLst>
            <pc:docMk/>
            <pc:sldMk cId="561974499" sldId="662"/>
            <ac:picMk id="2052" creationId="{78B28087-1AD1-A85D-439E-5401E7C109FD}"/>
          </ac:picMkLst>
        </pc:picChg>
      </pc:sldChg>
      <pc:sldChg chg="addSp delSp modSp new mod modTransition modClrScheme chgLayout">
        <pc:chgData name="Thomas Stensitzki" userId="75cafe6b-2f2a-469b-85c4-eec3b9c972ba" providerId="ADAL" clId="{ADB70B9A-E028-484E-93D9-2068C3FA1355}" dt="2023-03-02T18:00:37.343" v="1507" actId="6549"/>
        <pc:sldMkLst>
          <pc:docMk/>
          <pc:sldMk cId="102271189" sldId="663"/>
        </pc:sldMkLst>
        <pc:spChg chg="del mod ord">
          <ac:chgData name="Thomas Stensitzki" userId="75cafe6b-2f2a-469b-85c4-eec3b9c972ba" providerId="ADAL" clId="{ADB70B9A-E028-484E-93D9-2068C3FA1355}" dt="2023-02-22T15:22:00.660" v="262" actId="700"/>
          <ac:spMkLst>
            <pc:docMk/>
            <pc:sldMk cId="102271189" sldId="663"/>
            <ac:spMk id="2" creationId="{45650585-CDF9-EECB-7738-AEFA6ACA381B}"/>
          </ac:spMkLst>
        </pc:spChg>
        <pc:spChg chg="del">
          <ac:chgData name="Thomas Stensitzki" userId="75cafe6b-2f2a-469b-85c4-eec3b9c972ba" providerId="ADAL" clId="{ADB70B9A-E028-484E-93D9-2068C3FA1355}" dt="2023-02-22T15:22:00.660" v="262" actId="700"/>
          <ac:spMkLst>
            <pc:docMk/>
            <pc:sldMk cId="102271189" sldId="663"/>
            <ac:spMk id="3" creationId="{21B2C257-FF44-3D0B-D71F-63C346768626}"/>
          </ac:spMkLst>
        </pc:spChg>
        <pc:spChg chg="add mod ord">
          <ac:chgData name="Thomas Stensitzki" userId="75cafe6b-2f2a-469b-85c4-eec3b9c972ba" providerId="ADAL" clId="{ADB70B9A-E028-484E-93D9-2068C3FA1355}" dt="2023-02-22T15:22:23.016" v="266" actId="14100"/>
          <ac:spMkLst>
            <pc:docMk/>
            <pc:sldMk cId="102271189" sldId="663"/>
            <ac:spMk id="4" creationId="{5C8DB947-5C65-DED0-C531-EA3D61091C16}"/>
          </ac:spMkLst>
        </pc:spChg>
        <pc:spChg chg="add mod">
          <ac:chgData name="Thomas Stensitzki" userId="75cafe6b-2f2a-469b-85c4-eec3b9c972ba" providerId="ADAL" clId="{ADB70B9A-E028-484E-93D9-2068C3FA1355}" dt="2023-03-02T18:00:37.343" v="1507" actId="6549"/>
          <ac:spMkLst>
            <pc:docMk/>
            <pc:sldMk cId="102271189" sldId="663"/>
            <ac:spMk id="5" creationId="{5A287DD3-01EB-E86B-678B-3361BAC8C051}"/>
          </ac:spMkLst>
        </pc:spChg>
        <pc:picChg chg="add mod">
          <ac:chgData name="Thomas Stensitzki" userId="75cafe6b-2f2a-469b-85c4-eec3b9c972ba" providerId="ADAL" clId="{ADB70B9A-E028-484E-93D9-2068C3FA1355}" dt="2023-03-01T13:30:36.636" v="1352" actId="1440"/>
          <ac:picMkLst>
            <pc:docMk/>
            <pc:sldMk cId="102271189" sldId="663"/>
            <ac:picMk id="3074" creationId="{B7FDFC8E-D568-F227-C4BE-11E53D72E6E5}"/>
          </ac:picMkLst>
        </pc:picChg>
      </pc:sldChg>
      <pc:sldChg chg="addSp modSp new mod modTransition">
        <pc:chgData name="Thomas Stensitzki" userId="75cafe6b-2f2a-469b-85c4-eec3b9c972ba" providerId="ADAL" clId="{ADB70B9A-E028-484E-93D9-2068C3FA1355}" dt="2023-03-01T15:15:23.115" v="1497"/>
        <pc:sldMkLst>
          <pc:docMk/>
          <pc:sldMk cId="754705698" sldId="664"/>
        </pc:sldMkLst>
        <pc:spChg chg="mod">
          <ac:chgData name="Thomas Stensitzki" userId="75cafe6b-2f2a-469b-85c4-eec3b9c972ba" providerId="ADAL" clId="{ADB70B9A-E028-484E-93D9-2068C3FA1355}" dt="2023-02-22T15:30:30.213" v="831"/>
          <ac:spMkLst>
            <pc:docMk/>
            <pc:sldMk cId="754705698" sldId="664"/>
            <ac:spMk id="2" creationId="{57982170-16D6-31F5-5239-1E549E23353D}"/>
          </ac:spMkLst>
        </pc:spChg>
        <pc:picChg chg="add mod">
          <ac:chgData name="Thomas Stensitzki" userId="75cafe6b-2f2a-469b-85c4-eec3b9c972ba" providerId="ADAL" clId="{ADB70B9A-E028-484E-93D9-2068C3FA1355}" dt="2023-03-01T13:30:33.796" v="1351" actId="1440"/>
          <ac:picMkLst>
            <pc:docMk/>
            <pc:sldMk cId="754705698" sldId="664"/>
            <ac:picMk id="3" creationId="{C91664D2-EE03-6E0F-C883-B4D6D390D2A5}"/>
          </ac:picMkLst>
        </pc:picChg>
      </pc:sldChg>
      <pc:sldChg chg="addSp delSp modSp new del mod modClrScheme chgLayout">
        <pc:chgData name="Thomas Stensitzki" userId="75cafe6b-2f2a-469b-85c4-eec3b9c972ba" providerId="ADAL" clId="{ADB70B9A-E028-484E-93D9-2068C3FA1355}" dt="2023-02-22T15:30:24.915" v="829" actId="47"/>
        <pc:sldMkLst>
          <pc:docMk/>
          <pc:sldMk cId="3667017667" sldId="664"/>
        </pc:sldMkLst>
        <pc:spChg chg="del mod ord">
          <ac:chgData name="Thomas Stensitzki" userId="75cafe6b-2f2a-469b-85c4-eec3b9c972ba" providerId="ADAL" clId="{ADB70B9A-E028-484E-93D9-2068C3FA1355}" dt="2023-02-22T15:23:03.563" v="273" actId="700"/>
          <ac:spMkLst>
            <pc:docMk/>
            <pc:sldMk cId="3667017667" sldId="664"/>
            <ac:spMk id="2" creationId="{BE846C02-49F7-5DBE-AA3A-59EFBCBEFA46}"/>
          </ac:spMkLst>
        </pc:spChg>
        <pc:spChg chg="add mod ord">
          <ac:chgData name="Thomas Stensitzki" userId="75cafe6b-2f2a-469b-85c4-eec3b9c972ba" providerId="ADAL" clId="{ADB70B9A-E028-484E-93D9-2068C3FA1355}" dt="2023-02-22T15:23:03.563" v="273" actId="700"/>
          <ac:spMkLst>
            <pc:docMk/>
            <pc:sldMk cId="3667017667" sldId="664"/>
            <ac:spMk id="3" creationId="{E508E917-FE0B-97EF-0DFC-934B6B6398AE}"/>
          </ac:spMkLst>
        </pc:spChg>
        <pc:spChg chg="add mod ord">
          <ac:chgData name="Thomas Stensitzki" userId="75cafe6b-2f2a-469b-85c4-eec3b9c972ba" providerId="ADAL" clId="{ADB70B9A-E028-484E-93D9-2068C3FA1355}" dt="2023-02-22T15:23:24.854" v="279" actId="20577"/>
          <ac:spMkLst>
            <pc:docMk/>
            <pc:sldMk cId="3667017667" sldId="664"/>
            <ac:spMk id="4" creationId="{8A7A829A-164B-B87E-94BB-956172B5C7B0}"/>
          </ac:spMkLst>
        </pc:spChg>
      </pc:sldChg>
      <pc:sldChg chg="addSp modSp new mod modTransition">
        <pc:chgData name="Thomas Stensitzki" userId="75cafe6b-2f2a-469b-85c4-eec3b9c972ba" providerId="ADAL" clId="{ADB70B9A-E028-484E-93D9-2068C3FA1355}" dt="2023-03-01T15:15:23.115" v="1497"/>
        <pc:sldMkLst>
          <pc:docMk/>
          <pc:sldMk cId="3467690866" sldId="665"/>
        </pc:sldMkLst>
        <pc:spChg chg="mod">
          <ac:chgData name="Thomas Stensitzki" userId="75cafe6b-2f2a-469b-85c4-eec3b9c972ba" providerId="ADAL" clId="{ADB70B9A-E028-484E-93D9-2068C3FA1355}" dt="2023-02-22T15:31:52.160" v="842"/>
          <ac:spMkLst>
            <pc:docMk/>
            <pc:sldMk cId="3467690866" sldId="665"/>
            <ac:spMk id="2" creationId="{23C74054-08E8-6411-1F56-4D423D99D050}"/>
          </ac:spMkLst>
        </pc:spChg>
        <pc:picChg chg="add mod">
          <ac:chgData name="Thomas Stensitzki" userId="75cafe6b-2f2a-469b-85c4-eec3b9c972ba" providerId="ADAL" clId="{ADB70B9A-E028-484E-93D9-2068C3FA1355}" dt="2023-03-01T13:30:30.296" v="1349" actId="1440"/>
          <ac:picMkLst>
            <pc:docMk/>
            <pc:sldMk cId="3467690866" sldId="665"/>
            <ac:picMk id="4098" creationId="{0B835028-92CC-D43D-345D-92E3F9564D51}"/>
          </ac:picMkLst>
        </pc:picChg>
        <pc:picChg chg="add mod">
          <ac:chgData name="Thomas Stensitzki" userId="75cafe6b-2f2a-469b-85c4-eec3b9c972ba" providerId="ADAL" clId="{ADB70B9A-E028-484E-93D9-2068C3FA1355}" dt="2023-03-01T13:30:30.968" v="1350" actId="1440"/>
          <ac:picMkLst>
            <pc:docMk/>
            <pc:sldMk cId="3467690866" sldId="665"/>
            <ac:picMk id="4100" creationId="{DB750A15-9879-90F4-127D-1C1CCB3D7727}"/>
          </ac:picMkLst>
        </pc:picChg>
      </pc:sldChg>
      <pc:sldChg chg="addSp delSp modSp new mod modTransition modClrScheme chgLayout">
        <pc:chgData name="Thomas Stensitzki" userId="75cafe6b-2f2a-469b-85c4-eec3b9c972ba" providerId="ADAL" clId="{ADB70B9A-E028-484E-93D9-2068C3FA1355}" dt="2023-03-01T15:15:23.115" v="1497"/>
        <pc:sldMkLst>
          <pc:docMk/>
          <pc:sldMk cId="1478336555" sldId="666"/>
        </pc:sldMkLst>
        <pc:spChg chg="mod ord">
          <ac:chgData name="Thomas Stensitzki" userId="75cafe6b-2f2a-469b-85c4-eec3b9c972ba" providerId="ADAL" clId="{ADB70B9A-E028-484E-93D9-2068C3FA1355}" dt="2023-02-22T15:33:30.996" v="859" actId="700"/>
          <ac:spMkLst>
            <pc:docMk/>
            <pc:sldMk cId="1478336555" sldId="666"/>
            <ac:spMk id="2" creationId="{E6D50170-90F3-BE1D-65FD-F002339EB4B6}"/>
          </ac:spMkLst>
        </pc:spChg>
        <pc:spChg chg="del">
          <ac:chgData name="Thomas Stensitzki" userId="75cafe6b-2f2a-469b-85c4-eec3b9c972ba" providerId="ADAL" clId="{ADB70B9A-E028-484E-93D9-2068C3FA1355}" dt="2023-02-22T15:33:30.996" v="859" actId="700"/>
          <ac:spMkLst>
            <pc:docMk/>
            <pc:sldMk cId="1478336555" sldId="666"/>
            <ac:spMk id="3" creationId="{C7B4AE0E-DDA9-2B75-E065-7A50ED8A0754}"/>
          </ac:spMkLst>
        </pc:spChg>
        <pc:picChg chg="add mod">
          <ac:chgData name="Thomas Stensitzki" userId="75cafe6b-2f2a-469b-85c4-eec3b9c972ba" providerId="ADAL" clId="{ADB70B9A-E028-484E-93D9-2068C3FA1355}" dt="2023-03-01T13:30:22.787" v="1346" actId="1440"/>
          <ac:picMkLst>
            <pc:docMk/>
            <pc:sldMk cId="1478336555" sldId="666"/>
            <ac:picMk id="5122" creationId="{36D1FD63-8C89-5A50-6C34-4012ADC93A3C}"/>
          </ac:picMkLst>
        </pc:picChg>
        <pc:picChg chg="add del">
          <ac:chgData name="Thomas Stensitzki" userId="75cafe6b-2f2a-469b-85c4-eec3b9c972ba" providerId="ADAL" clId="{ADB70B9A-E028-484E-93D9-2068C3FA1355}" dt="2023-02-22T15:37:15.634" v="888" actId="478"/>
          <ac:picMkLst>
            <pc:docMk/>
            <pc:sldMk cId="1478336555" sldId="666"/>
            <ac:picMk id="5124" creationId="{82B0D065-1B71-11CF-1DA0-3B0D89378AF5}"/>
          </ac:picMkLst>
        </pc:picChg>
      </pc:sldChg>
      <pc:sldChg chg="addSp delSp modSp add modTransition">
        <pc:chgData name="Thomas Stensitzki" userId="75cafe6b-2f2a-469b-85c4-eec3b9c972ba" providerId="ADAL" clId="{ADB70B9A-E028-484E-93D9-2068C3FA1355}" dt="2023-03-01T15:15:23.115" v="1497"/>
        <pc:sldMkLst>
          <pc:docMk/>
          <pc:sldMk cId="4080389735" sldId="667"/>
        </pc:sldMkLst>
        <pc:picChg chg="del">
          <ac:chgData name="Thomas Stensitzki" userId="75cafe6b-2f2a-469b-85c4-eec3b9c972ba" providerId="ADAL" clId="{ADB70B9A-E028-484E-93D9-2068C3FA1355}" dt="2023-02-22T15:37:25.873" v="891" actId="478"/>
          <ac:picMkLst>
            <pc:docMk/>
            <pc:sldMk cId="4080389735" sldId="667"/>
            <ac:picMk id="5122" creationId="{36D1FD63-8C89-5A50-6C34-4012ADC93A3C}"/>
          </ac:picMkLst>
        </pc:picChg>
        <pc:picChg chg="add mod">
          <ac:chgData name="Thomas Stensitzki" userId="75cafe6b-2f2a-469b-85c4-eec3b9c972ba" providerId="ADAL" clId="{ADB70B9A-E028-484E-93D9-2068C3FA1355}" dt="2023-03-01T13:30:19.133" v="1344" actId="1440"/>
          <ac:picMkLst>
            <pc:docMk/>
            <pc:sldMk cId="4080389735" sldId="667"/>
            <ac:picMk id="6146" creationId="{343F0AB9-C375-CA9F-F09A-13B613F97B37}"/>
          </ac:picMkLst>
        </pc:picChg>
      </pc:sldChg>
      <pc:sldChg chg="addSp delSp modSp add mod modTransition modNotesTx">
        <pc:chgData name="Thomas Stensitzki" userId="75cafe6b-2f2a-469b-85c4-eec3b9c972ba" providerId="ADAL" clId="{ADB70B9A-E028-484E-93D9-2068C3FA1355}" dt="2023-03-01T15:15:23.115" v="1497"/>
        <pc:sldMkLst>
          <pc:docMk/>
          <pc:sldMk cId="3202947217" sldId="668"/>
        </pc:sldMkLst>
        <pc:spChg chg="mod">
          <ac:chgData name="Thomas Stensitzki" userId="75cafe6b-2f2a-469b-85c4-eec3b9c972ba" providerId="ADAL" clId="{ADB70B9A-E028-484E-93D9-2068C3FA1355}" dt="2023-02-22T15:38:16.243" v="919" actId="20577"/>
          <ac:spMkLst>
            <pc:docMk/>
            <pc:sldMk cId="3202947217" sldId="668"/>
            <ac:spMk id="2" creationId="{E6D50170-90F3-BE1D-65FD-F002339EB4B6}"/>
          </ac:spMkLst>
        </pc:spChg>
        <pc:picChg chg="del">
          <ac:chgData name="Thomas Stensitzki" userId="75cafe6b-2f2a-469b-85c4-eec3b9c972ba" providerId="ADAL" clId="{ADB70B9A-E028-484E-93D9-2068C3FA1355}" dt="2023-02-22T15:37:42.711" v="896" actId="478"/>
          <ac:picMkLst>
            <pc:docMk/>
            <pc:sldMk cId="3202947217" sldId="668"/>
            <ac:picMk id="6146" creationId="{343F0AB9-C375-CA9F-F09A-13B613F97B37}"/>
          </ac:picMkLst>
        </pc:picChg>
        <pc:picChg chg="add mod">
          <ac:chgData name="Thomas Stensitzki" userId="75cafe6b-2f2a-469b-85c4-eec3b9c972ba" providerId="ADAL" clId="{ADB70B9A-E028-484E-93D9-2068C3FA1355}" dt="2023-03-01T13:30:15.277" v="1343" actId="1440"/>
          <ac:picMkLst>
            <pc:docMk/>
            <pc:sldMk cId="3202947217" sldId="668"/>
            <ac:picMk id="7170" creationId="{6522AE0F-71D6-B7C1-CAB9-E6AF2F71DE94}"/>
          </ac:picMkLst>
        </pc:picChg>
      </pc:sldChg>
      <pc:sldChg chg="addSp delSp modSp add modTransition">
        <pc:chgData name="Thomas Stensitzki" userId="75cafe6b-2f2a-469b-85c4-eec3b9c972ba" providerId="ADAL" clId="{ADB70B9A-E028-484E-93D9-2068C3FA1355}" dt="2023-03-01T15:15:23.115" v="1497"/>
        <pc:sldMkLst>
          <pc:docMk/>
          <pc:sldMk cId="2193982032" sldId="669"/>
        </pc:sldMkLst>
        <pc:picChg chg="del">
          <ac:chgData name="Thomas Stensitzki" userId="75cafe6b-2f2a-469b-85c4-eec3b9c972ba" providerId="ADAL" clId="{ADB70B9A-E028-484E-93D9-2068C3FA1355}" dt="2023-02-22T15:38:50.810" v="922" actId="478"/>
          <ac:picMkLst>
            <pc:docMk/>
            <pc:sldMk cId="2193982032" sldId="669"/>
            <ac:picMk id="7170" creationId="{6522AE0F-71D6-B7C1-CAB9-E6AF2F71DE94}"/>
          </ac:picMkLst>
        </pc:picChg>
        <pc:picChg chg="add mod">
          <ac:chgData name="Thomas Stensitzki" userId="75cafe6b-2f2a-469b-85c4-eec3b9c972ba" providerId="ADAL" clId="{ADB70B9A-E028-484E-93D9-2068C3FA1355}" dt="2023-03-01T13:30:12.192" v="1342" actId="1440"/>
          <ac:picMkLst>
            <pc:docMk/>
            <pc:sldMk cId="2193982032" sldId="669"/>
            <ac:picMk id="8194" creationId="{AE5E9761-6237-FD76-DE49-4EFBB6292572}"/>
          </ac:picMkLst>
        </pc:picChg>
      </pc:sldChg>
      <pc:sldChg chg="addSp modSp new mod modTransition">
        <pc:chgData name="Thomas Stensitzki" userId="75cafe6b-2f2a-469b-85c4-eec3b9c972ba" providerId="ADAL" clId="{ADB70B9A-E028-484E-93D9-2068C3FA1355}" dt="2023-03-01T15:15:23.115" v="1497"/>
        <pc:sldMkLst>
          <pc:docMk/>
          <pc:sldMk cId="122818087" sldId="670"/>
        </pc:sldMkLst>
        <pc:spChg chg="mod">
          <ac:chgData name="Thomas Stensitzki" userId="75cafe6b-2f2a-469b-85c4-eec3b9c972ba" providerId="ADAL" clId="{ADB70B9A-E028-484E-93D9-2068C3FA1355}" dt="2023-02-22T15:42:38.695" v="963"/>
          <ac:spMkLst>
            <pc:docMk/>
            <pc:sldMk cId="122818087" sldId="670"/>
            <ac:spMk id="2" creationId="{D6485D92-4F89-F269-A09F-2729E827039F}"/>
          </ac:spMkLst>
        </pc:spChg>
        <pc:picChg chg="add mod">
          <ac:chgData name="Thomas Stensitzki" userId="75cafe6b-2f2a-469b-85c4-eec3b9c972ba" providerId="ADAL" clId="{ADB70B9A-E028-484E-93D9-2068C3FA1355}" dt="2023-03-01T13:30:27.958" v="1348" actId="1440"/>
          <ac:picMkLst>
            <pc:docMk/>
            <pc:sldMk cId="122818087" sldId="670"/>
            <ac:picMk id="9218" creationId="{51286DDB-E39A-B097-A136-52CE7C17F37B}"/>
          </ac:picMkLst>
        </pc:picChg>
      </pc:sldChg>
      <pc:sldChg chg="addSp delSp modSp new mod modTransition modClrScheme chgLayout">
        <pc:chgData name="Thomas Stensitzki" userId="75cafe6b-2f2a-469b-85c4-eec3b9c972ba" providerId="ADAL" clId="{ADB70B9A-E028-484E-93D9-2068C3FA1355}" dt="2023-03-01T15:15:23.115" v="1497"/>
        <pc:sldMkLst>
          <pc:docMk/>
          <pc:sldMk cId="2909463456" sldId="671"/>
        </pc:sldMkLst>
        <pc:spChg chg="del mod ord">
          <ac:chgData name="Thomas Stensitzki" userId="75cafe6b-2f2a-469b-85c4-eec3b9c972ba" providerId="ADAL" clId="{ADB70B9A-E028-484E-93D9-2068C3FA1355}" dt="2023-02-22T15:49:10.643" v="1005" actId="700"/>
          <ac:spMkLst>
            <pc:docMk/>
            <pc:sldMk cId="2909463456" sldId="671"/>
            <ac:spMk id="2" creationId="{90B390A1-B881-0CD4-FB35-06ECE615BF13}"/>
          </ac:spMkLst>
        </pc:spChg>
        <pc:spChg chg="add mod ord">
          <ac:chgData name="Thomas Stensitzki" userId="75cafe6b-2f2a-469b-85c4-eec3b9c972ba" providerId="ADAL" clId="{ADB70B9A-E028-484E-93D9-2068C3FA1355}" dt="2023-03-01T13:29:23.613" v="1333" actId="108"/>
          <ac:spMkLst>
            <pc:docMk/>
            <pc:sldMk cId="2909463456" sldId="671"/>
            <ac:spMk id="3" creationId="{E1590F97-E143-D15B-9087-EF0A4139FEEA}"/>
          </ac:spMkLst>
        </pc:spChg>
        <pc:spChg chg="add mod ord">
          <ac:chgData name="Thomas Stensitzki" userId="75cafe6b-2f2a-469b-85c4-eec3b9c972ba" providerId="ADAL" clId="{ADB70B9A-E028-484E-93D9-2068C3FA1355}" dt="2023-02-22T15:53:35.143" v="1270" actId="20577"/>
          <ac:spMkLst>
            <pc:docMk/>
            <pc:sldMk cId="2909463456" sldId="671"/>
            <ac:spMk id="4" creationId="{16579E0E-6A74-E6FD-E614-EFEA424E104F}"/>
          </ac:spMkLst>
        </pc:spChg>
      </pc:sldChg>
      <pc:sldChg chg="addSp delSp modSp new mod modTransition modClrScheme chgLayout">
        <pc:chgData name="Thomas Stensitzki" userId="75cafe6b-2f2a-469b-85c4-eec3b9c972ba" providerId="ADAL" clId="{ADB70B9A-E028-484E-93D9-2068C3FA1355}" dt="2023-03-01T15:18:03.084" v="1498" actId="1440"/>
        <pc:sldMkLst>
          <pc:docMk/>
          <pc:sldMk cId="1253155529" sldId="672"/>
        </pc:sldMkLst>
        <pc:spChg chg="del mod ord">
          <ac:chgData name="Thomas Stensitzki" userId="75cafe6b-2f2a-469b-85c4-eec3b9c972ba" providerId="ADAL" clId="{ADB70B9A-E028-484E-93D9-2068C3FA1355}" dt="2023-02-22T15:54:15.121" v="1274" actId="700"/>
          <ac:spMkLst>
            <pc:docMk/>
            <pc:sldMk cId="1253155529" sldId="672"/>
            <ac:spMk id="2" creationId="{9AB80E92-8802-C9FB-147E-D4213B4A7E50}"/>
          </ac:spMkLst>
        </pc:spChg>
        <pc:spChg chg="del">
          <ac:chgData name="Thomas Stensitzki" userId="75cafe6b-2f2a-469b-85c4-eec3b9c972ba" providerId="ADAL" clId="{ADB70B9A-E028-484E-93D9-2068C3FA1355}" dt="2023-02-22T15:54:15.121" v="1274" actId="700"/>
          <ac:spMkLst>
            <pc:docMk/>
            <pc:sldMk cId="1253155529" sldId="672"/>
            <ac:spMk id="3" creationId="{E60E4756-D26C-66C6-F7B5-E7D4C1089EE8}"/>
          </ac:spMkLst>
        </pc:spChg>
        <pc:spChg chg="add mod ord">
          <ac:chgData name="Thomas Stensitzki" userId="75cafe6b-2f2a-469b-85c4-eec3b9c972ba" providerId="ADAL" clId="{ADB70B9A-E028-484E-93D9-2068C3FA1355}" dt="2023-02-22T15:54:16.978" v="1275"/>
          <ac:spMkLst>
            <pc:docMk/>
            <pc:sldMk cId="1253155529" sldId="672"/>
            <ac:spMk id="4" creationId="{F0AD4EE5-F062-B400-5493-1BC30CBC4BF8}"/>
          </ac:spMkLst>
        </pc:spChg>
        <pc:picChg chg="add mod">
          <ac:chgData name="Thomas Stensitzki" userId="75cafe6b-2f2a-469b-85c4-eec3b9c972ba" providerId="ADAL" clId="{ADB70B9A-E028-484E-93D9-2068C3FA1355}" dt="2023-03-01T15:18:03.084" v="1498" actId="1440"/>
          <ac:picMkLst>
            <pc:docMk/>
            <pc:sldMk cId="1253155529" sldId="672"/>
            <ac:picMk id="10242" creationId="{A07EE45A-5230-1CDE-9844-5F531A7646B2}"/>
          </ac:picMkLst>
        </pc:picChg>
      </pc:sldChg>
      <pc:sldChg chg="addSp delSp modSp add mod ord modTransition">
        <pc:chgData name="Thomas Stensitzki" userId="75cafe6b-2f2a-469b-85c4-eec3b9c972ba" providerId="ADAL" clId="{ADB70B9A-E028-484E-93D9-2068C3FA1355}" dt="2023-03-01T15:15:23.115" v="1497"/>
        <pc:sldMkLst>
          <pc:docMk/>
          <pc:sldMk cId="3265622204" sldId="673"/>
        </pc:sldMkLst>
        <pc:spChg chg="mod">
          <ac:chgData name="Thomas Stensitzki" userId="75cafe6b-2f2a-469b-85c4-eec3b9c972ba" providerId="ADAL" clId="{ADB70B9A-E028-484E-93D9-2068C3FA1355}" dt="2023-03-01T13:40:00.969" v="1448" actId="14100"/>
          <ac:spMkLst>
            <pc:docMk/>
            <pc:sldMk cId="3265622204" sldId="673"/>
            <ac:spMk id="2" creationId="{909DC09D-B9A6-4493-9A72-1CA7ECB1F5CA}"/>
          </ac:spMkLst>
        </pc:spChg>
        <pc:spChg chg="mod">
          <ac:chgData name="Thomas Stensitzki" userId="75cafe6b-2f2a-469b-85c4-eec3b9c972ba" providerId="ADAL" clId="{ADB70B9A-E028-484E-93D9-2068C3FA1355}" dt="2023-03-01T13:37:28.147" v="1410"/>
          <ac:spMkLst>
            <pc:docMk/>
            <pc:sldMk cId="3265622204" sldId="673"/>
            <ac:spMk id="5" creationId="{C24DACB5-1BEC-4C86-9652-BAFD8DE56FEF}"/>
          </ac:spMkLst>
        </pc:spChg>
        <pc:picChg chg="add del">
          <ac:chgData name="Thomas Stensitzki" userId="75cafe6b-2f2a-469b-85c4-eec3b9c972ba" providerId="ADAL" clId="{ADB70B9A-E028-484E-93D9-2068C3FA1355}" dt="2023-03-01T13:33:25.253" v="1365"/>
          <ac:picMkLst>
            <pc:docMk/>
            <pc:sldMk cId="3265622204" sldId="673"/>
            <ac:picMk id="3" creationId="{73EDE04D-DA44-A185-5756-7D147E9C9E64}"/>
          </ac:picMkLst>
        </pc:picChg>
      </pc:sldChg>
      <pc:sldChg chg="addSp modSp new mod modTransition">
        <pc:chgData name="Thomas Stensitzki" userId="75cafe6b-2f2a-469b-85c4-eec3b9c972ba" providerId="ADAL" clId="{ADB70B9A-E028-484E-93D9-2068C3FA1355}" dt="2023-03-01T15:15:23.115" v="1497"/>
        <pc:sldMkLst>
          <pc:docMk/>
          <pc:sldMk cId="549057824" sldId="674"/>
        </pc:sldMkLst>
        <pc:spChg chg="mod">
          <ac:chgData name="Thomas Stensitzki" userId="75cafe6b-2f2a-469b-85c4-eec3b9c972ba" providerId="ADAL" clId="{ADB70B9A-E028-484E-93D9-2068C3FA1355}" dt="2023-03-01T13:29:51.033" v="1337"/>
          <ac:spMkLst>
            <pc:docMk/>
            <pc:sldMk cId="549057824" sldId="674"/>
            <ac:spMk id="2" creationId="{417DC092-79CB-6195-5EA9-9A7312D3615D}"/>
          </ac:spMkLst>
        </pc:spChg>
        <pc:picChg chg="add mod">
          <ac:chgData name="Thomas Stensitzki" userId="75cafe6b-2f2a-469b-85c4-eec3b9c972ba" providerId="ADAL" clId="{ADB70B9A-E028-484E-93D9-2068C3FA1355}" dt="2023-03-01T13:30:09.351" v="1341" actId="1440"/>
          <ac:picMkLst>
            <pc:docMk/>
            <pc:sldMk cId="549057824" sldId="674"/>
            <ac:picMk id="1026" creationId="{2F41541A-AE4F-2D3F-3145-37F53996FF7A}"/>
          </ac:picMkLst>
        </pc:picChg>
      </pc:sldChg>
      <pc:sldChg chg="addSp modSp new mod modTransition">
        <pc:chgData name="Thomas Stensitzki" userId="75cafe6b-2f2a-469b-85c4-eec3b9c972ba" providerId="ADAL" clId="{ADB70B9A-E028-484E-93D9-2068C3FA1355}" dt="2023-03-01T15:15:23.115" v="1497"/>
        <pc:sldMkLst>
          <pc:docMk/>
          <pc:sldMk cId="1757766559" sldId="675"/>
        </pc:sldMkLst>
        <pc:spChg chg="mod">
          <ac:chgData name="Thomas Stensitzki" userId="75cafe6b-2f2a-469b-85c4-eec3b9c972ba" providerId="ADAL" clId="{ADB70B9A-E028-484E-93D9-2068C3FA1355}" dt="2023-03-01T13:32:26.811" v="1358"/>
          <ac:spMkLst>
            <pc:docMk/>
            <pc:sldMk cId="1757766559" sldId="675"/>
            <ac:spMk id="2" creationId="{0249A3FB-B117-07F5-9A07-948D42D267D7}"/>
          </ac:spMkLst>
        </pc:spChg>
        <pc:picChg chg="add mod">
          <ac:chgData name="Thomas Stensitzki" userId="75cafe6b-2f2a-469b-85c4-eec3b9c972ba" providerId="ADAL" clId="{ADB70B9A-E028-484E-93D9-2068C3FA1355}" dt="2023-03-01T13:32:46.617" v="1363" actId="1440"/>
          <ac:picMkLst>
            <pc:docMk/>
            <pc:sldMk cId="1757766559" sldId="675"/>
            <ac:picMk id="2050" creationId="{7B51B339-7233-8BC8-DD6B-738B977FD69B}"/>
          </ac:picMkLst>
        </pc:picChg>
      </pc:sldChg>
      <pc:sldChg chg="addSp modSp new mod modTransition">
        <pc:chgData name="Thomas Stensitzki" userId="75cafe6b-2f2a-469b-85c4-eec3b9c972ba" providerId="ADAL" clId="{ADB70B9A-E028-484E-93D9-2068C3FA1355}" dt="2023-03-01T15:15:23.115" v="1497"/>
        <pc:sldMkLst>
          <pc:docMk/>
          <pc:sldMk cId="2309531245" sldId="676"/>
        </pc:sldMkLst>
        <pc:spChg chg="mod">
          <ac:chgData name="Thomas Stensitzki" userId="75cafe6b-2f2a-469b-85c4-eec3b9c972ba" providerId="ADAL" clId="{ADB70B9A-E028-484E-93D9-2068C3FA1355}" dt="2023-03-01T13:33:40.203" v="1368"/>
          <ac:spMkLst>
            <pc:docMk/>
            <pc:sldMk cId="2309531245" sldId="676"/>
            <ac:spMk id="2" creationId="{79E0106B-D3AC-A629-86D2-9A1CCE4463C6}"/>
          </ac:spMkLst>
        </pc:spChg>
        <pc:picChg chg="add mod">
          <ac:chgData name="Thomas Stensitzki" userId="75cafe6b-2f2a-469b-85c4-eec3b9c972ba" providerId="ADAL" clId="{ADB70B9A-E028-484E-93D9-2068C3FA1355}" dt="2023-03-01T13:35:02.719" v="1382" actId="1440"/>
          <ac:picMkLst>
            <pc:docMk/>
            <pc:sldMk cId="2309531245" sldId="676"/>
            <ac:picMk id="3074" creationId="{7D40F008-A039-F720-0911-C95ED2ADABDE}"/>
          </ac:picMkLst>
        </pc:picChg>
      </pc:sldChg>
      <pc:sldChg chg="addSp delSp modSp add mod modTransition">
        <pc:chgData name="Thomas Stensitzki" userId="75cafe6b-2f2a-469b-85c4-eec3b9c972ba" providerId="ADAL" clId="{ADB70B9A-E028-484E-93D9-2068C3FA1355}" dt="2023-03-01T15:15:23.115" v="1497"/>
        <pc:sldMkLst>
          <pc:docMk/>
          <pc:sldMk cId="857527238" sldId="677"/>
        </pc:sldMkLst>
        <pc:picChg chg="add mod">
          <ac:chgData name="Thomas Stensitzki" userId="75cafe6b-2f2a-469b-85c4-eec3b9c972ba" providerId="ADAL" clId="{ADB70B9A-E028-484E-93D9-2068C3FA1355}" dt="2023-03-01T13:34:57.809" v="1381" actId="1440"/>
          <ac:picMkLst>
            <pc:docMk/>
            <pc:sldMk cId="857527238" sldId="677"/>
            <ac:picMk id="3" creationId="{68337573-0EAA-125B-408C-5D4F0D0D3755}"/>
          </ac:picMkLst>
        </pc:picChg>
        <pc:picChg chg="del">
          <ac:chgData name="Thomas Stensitzki" userId="75cafe6b-2f2a-469b-85c4-eec3b9c972ba" providerId="ADAL" clId="{ADB70B9A-E028-484E-93D9-2068C3FA1355}" dt="2023-03-01T13:34:51.370" v="1379" actId="478"/>
          <ac:picMkLst>
            <pc:docMk/>
            <pc:sldMk cId="857527238" sldId="677"/>
            <ac:picMk id="3074" creationId="{7D40F008-A039-F720-0911-C95ED2ADABDE}"/>
          </ac:picMkLst>
        </pc:picChg>
      </pc:sldChg>
      <pc:sldChg chg="addSp modSp new mod modTransition">
        <pc:chgData name="Thomas Stensitzki" userId="75cafe6b-2f2a-469b-85c4-eec3b9c972ba" providerId="ADAL" clId="{ADB70B9A-E028-484E-93D9-2068C3FA1355}" dt="2023-03-01T15:15:23.115" v="1497"/>
        <pc:sldMkLst>
          <pc:docMk/>
          <pc:sldMk cId="2554844056" sldId="678"/>
        </pc:sldMkLst>
        <pc:spChg chg="mod">
          <ac:chgData name="Thomas Stensitzki" userId="75cafe6b-2f2a-469b-85c4-eec3b9c972ba" providerId="ADAL" clId="{ADB70B9A-E028-484E-93D9-2068C3FA1355}" dt="2023-03-01T13:37:36.403" v="1412"/>
          <ac:spMkLst>
            <pc:docMk/>
            <pc:sldMk cId="2554844056" sldId="678"/>
            <ac:spMk id="2" creationId="{8696C861-CD09-0657-C3EB-D83217AA2443}"/>
          </ac:spMkLst>
        </pc:spChg>
        <pc:picChg chg="add mod">
          <ac:chgData name="Thomas Stensitzki" userId="75cafe6b-2f2a-469b-85c4-eec3b9c972ba" providerId="ADAL" clId="{ADB70B9A-E028-484E-93D9-2068C3FA1355}" dt="2023-03-01T13:37:55.484" v="1416" actId="1440"/>
          <ac:picMkLst>
            <pc:docMk/>
            <pc:sldMk cId="2554844056" sldId="678"/>
            <ac:picMk id="3" creationId="{CA7483D0-B402-CD47-7443-8B64DA58EE09}"/>
          </ac:picMkLst>
        </pc:picChg>
      </pc:sldChg>
      <pc:sldChg chg="modSp add mod ord modTransition">
        <pc:chgData name="Thomas Stensitzki" userId="75cafe6b-2f2a-469b-85c4-eec3b9c972ba" providerId="ADAL" clId="{ADB70B9A-E028-484E-93D9-2068C3FA1355}" dt="2023-03-01T15:15:23.115" v="1497"/>
        <pc:sldMkLst>
          <pc:docMk/>
          <pc:sldMk cId="3925627864" sldId="679"/>
        </pc:sldMkLst>
        <pc:spChg chg="mod">
          <ac:chgData name="Thomas Stensitzki" userId="75cafe6b-2f2a-469b-85c4-eec3b9c972ba" providerId="ADAL" clId="{ADB70B9A-E028-484E-93D9-2068C3FA1355}" dt="2023-03-01T13:38:39.988" v="1428" actId="14100"/>
          <ac:spMkLst>
            <pc:docMk/>
            <pc:sldMk cId="3925627864" sldId="679"/>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3798798789" sldId="680"/>
        </pc:sldMkLst>
        <pc:spChg chg="mod">
          <ac:chgData name="Thomas Stensitzki" userId="75cafe6b-2f2a-469b-85c4-eec3b9c972ba" providerId="ADAL" clId="{ADB70B9A-E028-484E-93D9-2068C3FA1355}" dt="2023-03-01T13:39:08.644" v="1433" actId="14100"/>
          <ac:spMkLst>
            <pc:docMk/>
            <pc:sldMk cId="3798798789" sldId="680"/>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3850999508" sldId="681"/>
        </pc:sldMkLst>
        <pc:spChg chg="mod">
          <ac:chgData name="Thomas Stensitzki" userId="75cafe6b-2f2a-469b-85c4-eec3b9c972ba" providerId="ADAL" clId="{ADB70B9A-E028-484E-93D9-2068C3FA1355}" dt="2023-03-01T13:39:20.931" v="1436" actId="14100"/>
          <ac:spMkLst>
            <pc:docMk/>
            <pc:sldMk cId="3850999508" sldId="681"/>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2152297632" sldId="682"/>
        </pc:sldMkLst>
        <pc:spChg chg="mod">
          <ac:chgData name="Thomas Stensitzki" userId="75cafe6b-2f2a-469b-85c4-eec3b9c972ba" providerId="ADAL" clId="{ADB70B9A-E028-484E-93D9-2068C3FA1355}" dt="2023-03-01T13:39:32.026" v="1444" actId="14100"/>
          <ac:spMkLst>
            <pc:docMk/>
            <pc:sldMk cId="2152297632" sldId="682"/>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476894528" sldId="683"/>
        </pc:sldMkLst>
        <pc:spChg chg="mod">
          <ac:chgData name="Thomas Stensitzki" userId="75cafe6b-2f2a-469b-85c4-eec3b9c972ba" providerId="ADAL" clId="{ADB70B9A-E028-484E-93D9-2068C3FA1355}" dt="2023-03-01T13:39:46.585" v="1447" actId="14100"/>
          <ac:spMkLst>
            <pc:docMk/>
            <pc:sldMk cId="476894528" sldId="683"/>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2385236446" sldId="684"/>
        </pc:sldMkLst>
        <pc:spChg chg="mod">
          <ac:chgData name="Thomas Stensitzki" userId="75cafe6b-2f2a-469b-85c4-eec3b9c972ba" providerId="ADAL" clId="{ADB70B9A-E028-484E-93D9-2068C3FA1355}" dt="2023-03-01T13:40:11.854" v="1452" actId="1076"/>
          <ac:spMkLst>
            <pc:docMk/>
            <pc:sldMk cId="2385236446" sldId="684"/>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380254688" sldId="685"/>
        </pc:sldMkLst>
        <pc:spChg chg="mod">
          <ac:chgData name="Thomas Stensitzki" userId="75cafe6b-2f2a-469b-85c4-eec3b9c972ba" providerId="ADAL" clId="{ADB70B9A-E028-484E-93D9-2068C3FA1355}" dt="2023-03-01T13:40:21.337" v="1455" actId="14100"/>
          <ac:spMkLst>
            <pc:docMk/>
            <pc:sldMk cId="380254688" sldId="685"/>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1151479395" sldId="686"/>
        </pc:sldMkLst>
        <pc:spChg chg="mod">
          <ac:chgData name="Thomas Stensitzki" userId="75cafe6b-2f2a-469b-85c4-eec3b9c972ba" providerId="ADAL" clId="{ADB70B9A-E028-484E-93D9-2068C3FA1355}" dt="2023-03-01T13:40:58.370" v="1460" actId="14100"/>
          <ac:spMkLst>
            <pc:docMk/>
            <pc:sldMk cId="1151479395" sldId="686"/>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3396655959" sldId="687"/>
        </pc:sldMkLst>
        <pc:spChg chg="mod">
          <ac:chgData name="Thomas Stensitzki" userId="75cafe6b-2f2a-469b-85c4-eec3b9c972ba" providerId="ADAL" clId="{ADB70B9A-E028-484E-93D9-2068C3FA1355}" dt="2023-03-01T13:41:16.160" v="1468" actId="14100"/>
          <ac:spMkLst>
            <pc:docMk/>
            <pc:sldMk cId="3396655959" sldId="687"/>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3879280141" sldId="688"/>
        </pc:sldMkLst>
        <pc:spChg chg="mod">
          <ac:chgData name="Thomas Stensitzki" userId="75cafe6b-2f2a-469b-85c4-eec3b9c972ba" providerId="ADAL" clId="{ADB70B9A-E028-484E-93D9-2068C3FA1355}" dt="2023-03-01T13:41:25.703" v="1471" actId="14100"/>
          <ac:spMkLst>
            <pc:docMk/>
            <pc:sldMk cId="3879280141" sldId="688"/>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882736164" sldId="689"/>
        </pc:sldMkLst>
        <pc:spChg chg="mod">
          <ac:chgData name="Thomas Stensitzki" userId="75cafe6b-2f2a-469b-85c4-eec3b9c972ba" providerId="ADAL" clId="{ADB70B9A-E028-484E-93D9-2068C3FA1355}" dt="2023-03-01T13:41:41.011" v="1475" actId="1076"/>
          <ac:spMkLst>
            <pc:docMk/>
            <pc:sldMk cId="882736164" sldId="689"/>
            <ac:spMk id="2" creationId="{909DC09D-B9A6-4493-9A72-1CA7ECB1F5CA}"/>
          </ac:spMkLst>
        </pc:spChg>
        <pc:spChg chg="mod">
          <ac:chgData name="Thomas Stensitzki" userId="75cafe6b-2f2a-469b-85c4-eec3b9c972ba" providerId="ADAL" clId="{ADB70B9A-E028-484E-93D9-2068C3FA1355}" dt="2023-03-01T13:41:43.529" v="1476" actId="20577"/>
          <ac:spMkLst>
            <pc:docMk/>
            <pc:sldMk cId="882736164" sldId="689"/>
            <ac:spMk id="5" creationId="{C24DACB5-1BEC-4C86-9652-BAFD8DE56FEF}"/>
          </ac:spMkLst>
        </pc:spChg>
      </pc:sldChg>
      <pc:sldChg chg="modSp add mod ord modTransition">
        <pc:chgData name="Thomas Stensitzki" userId="75cafe6b-2f2a-469b-85c4-eec3b9c972ba" providerId="ADAL" clId="{ADB70B9A-E028-484E-93D9-2068C3FA1355}" dt="2023-03-01T15:15:23.115" v="1497"/>
        <pc:sldMkLst>
          <pc:docMk/>
          <pc:sldMk cId="2999548056" sldId="690"/>
        </pc:sldMkLst>
        <pc:spChg chg="mod">
          <ac:chgData name="Thomas Stensitzki" userId="75cafe6b-2f2a-469b-85c4-eec3b9c972ba" providerId="ADAL" clId="{ADB70B9A-E028-484E-93D9-2068C3FA1355}" dt="2023-03-01T13:41:57.828" v="1481" actId="14100"/>
          <ac:spMkLst>
            <pc:docMk/>
            <pc:sldMk cId="2999548056" sldId="690"/>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3382179983" sldId="691"/>
        </pc:sldMkLst>
        <pc:spChg chg="mod">
          <ac:chgData name="Thomas Stensitzki" userId="75cafe6b-2f2a-469b-85c4-eec3b9c972ba" providerId="ADAL" clId="{ADB70B9A-E028-484E-93D9-2068C3FA1355}" dt="2023-03-01T13:42:04.432" v="1485" actId="1076"/>
          <ac:spMkLst>
            <pc:docMk/>
            <pc:sldMk cId="3382179983" sldId="691"/>
            <ac:spMk id="2" creationId="{909DC09D-B9A6-4493-9A72-1CA7ECB1F5CA}"/>
          </ac:spMkLst>
        </pc:spChg>
      </pc:sldChg>
      <pc:sldChg chg="modSp add mod modTransition">
        <pc:chgData name="Thomas Stensitzki" userId="75cafe6b-2f2a-469b-85c4-eec3b9c972ba" providerId="ADAL" clId="{ADB70B9A-E028-484E-93D9-2068C3FA1355}" dt="2023-03-01T15:15:23.115" v="1497"/>
        <pc:sldMkLst>
          <pc:docMk/>
          <pc:sldMk cId="2967036620" sldId="692"/>
        </pc:sldMkLst>
        <pc:spChg chg="mod">
          <ac:chgData name="Thomas Stensitzki" userId="75cafe6b-2f2a-469b-85c4-eec3b9c972ba" providerId="ADAL" clId="{ADB70B9A-E028-484E-93D9-2068C3FA1355}" dt="2023-03-01T13:42:13.454" v="1487" actId="1076"/>
          <ac:spMkLst>
            <pc:docMk/>
            <pc:sldMk cId="2967036620" sldId="692"/>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48805967" sldId="693"/>
        </pc:sldMkLst>
        <pc:spChg chg="mod">
          <ac:chgData name="Thomas Stensitzki" userId="75cafe6b-2f2a-469b-85c4-eec3b9c972ba" providerId="ADAL" clId="{ADB70B9A-E028-484E-93D9-2068C3FA1355}" dt="2023-03-01T13:42:24.955" v="1491" actId="1076"/>
          <ac:spMkLst>
            <pc:docMk/>
            <pc:sldMk cId="48805967" sldId="693"/>
            <ac:spMk id="2" creationId="{909DC09D-B9A6-4493-9A72-1CA7ECB1F5CA}"/>
          </ac:spMkLst>
        </pc:spChg>
      </pc:sldChg>
      <pc:sldChg chg="modSp add mod ord modTransition">
        <pc:chgData name="Thomas Stensitzki" userId="75cafe6b-2f2a-469b-85c4-eec3b9c972ba" providerId="ADAL" clId="{ADB70B9A-E028-484E-93D9-2068C3FA1355}" dt="2023-03-01T15:15:23.115" v="1497"/>
        <pc:sldMkLst>
          <pc:docMk/>
          <pc:sldMk cId="1294646207" sldId="694"/>
        </pc:sldMkLst>
        <pc:spChg chg="mod">
          <ac:chgData name="Thomas Stensitzki" userId="75cafe6b-2f2a-469b-85c4-eec3b9c972ba" providerId="ADAL" clId="{ADB70B9A-E028-484E-93D9-2068C3FA1355}" dt="2023-03-01T13:42:36.018" v="1496" actId="14100"/>
          <ac:spMkLst>
            <pc:docMk/>
            <pc:sldMk cId="1294646207" sldId="694"/>
            <ac:spMk id="2" creationId="{909DC09D-B9A6-4493-9A72-1CA7ECB1F5C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ptos" panose="020B00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ptos" panose="020B0004020202020204" pitchFamily="34" charset="0"/>
              </a:defRPr>
            </a:lvl1pPr>
          </a:lstStyle>
          <a:p>
            <a:fld id="{1A951A38-604E-46AF-B68B-4691B9CFFAF5}" type="datetimeFigureOut">
              <a:rPr lang="de-DE" smtClean="0"/>
              <a:pPr/>
              <a:t>04.05.2024</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ptos" panose="020B00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ptos" panose="020B0004020202020204" pitchFamily="34" charset="0"/>
              </a:defRPr>
            </a:lvl1pPr>
          </a:lstStyle>
          <a:p>
            <a:fld id="{3493B9C7-8C41-44EF-A755-70B1D5727268}" type="slidenum">
              <a:rPr lang="de-DE" smtClean="0"/>
              <a:pPr/>
              <a:t>‹Nr.›</a:t>
            </a:fld>
            <a:endParaRPr lang="de-DE" dirty="0"/>
          </a:p>
        </p:txBody>
      </p:sp>
    </p:spTree>
    <p:extLst>
      <p:ext uri="{BB962C8B-B14F-4D97-AF65-F5344CB8AC3E}">
        <p14:creationId xmlns:p14="http://schemas.microsoft.com/office/powerpoint/2010/main" val="12145769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ptos" panose="020B0004020202020204" pitchFamily="34" charset="0"/>
        <a:ea typeface="+mn-ea"/>
        <a:cs typeface="+mn-cs"/>
      </a:defRPr>
    </a:lvl1pPr>
    <a:lvl2pPr marL="457200" algn="l" defTabSz="914400" rtl="0" eaLnBrk="1" latinLnBrk="0" hangingPunct="1">
      <a:defRPr sz="1200" kern="1200">
        <a:solidFill>
          <a:schemeClr val="tx1"/>
        </a:solidFill>
        <a:latin typeface="Aptos" panose="020B0004020202020204" pitchFamily="34" charset="0"/>
        <a:ea typeface="+mn-ea"/>
        <a:cs typeface="+mn-cs"/>
      </a:defRPr>
    </a:lvl2pPr>
    <a:lvl3pPr marL="914400" algn="l" defTabSz="914400" rtl="0" eaLnBrk="1" latinLnBrk="0" hangingPunct="1">
      <a:defRPr sz="1200" kern="1200">
        <a:solidFill>
          <a:schemeClr val="tx1"/>
        </a:solidFill>
        <a:latin typeface="Aptos" panose="020B0004020202020204" pitchFamily="34" charset="0"/>
        <a:ea typeface="+mn-ea"/>
        <a:cs typeface="+mn-cs"/>
      </a:defRPr>
    </a:lvl3pPr>
    <a:lvl4pPr marL="1371600" algn="l" defTabSz="914400" rtl="0" eaLnBrk="1" latinLnBrk="0" hangingPunct="1">
      <a:defRPr sz="1200" kern="1200">
        <a:solidFill>
          <a:schemeClr val="tx1"/>
        </a:solidFill>
        <a:latin typeface="Aptos" panose="020B0004020202020204" pitchFamily="34" charset="0"/>
        <a:ea typeface="+mn-ea"/>
        <a:cs typeface="+mn-cs"/>
      </a:defRPr>
    </a:lvl4pPr>
    <a:lvl5pPr marL="1828800" algn="l" defTabSz="914400" rtl="0" eaLnBrk="1" latinLnBrk="0" hangingPunct="1">
      <a:defRPr sz="1200" kern="1200">
        <a:solidFill>
          <a:schemeClr val="tx1"/>
        </a:solidFill>
        <a:latin typeface="Aptos" panose="020B00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1</a:t>
            </a:fld>
            <a:endParaRPr lang="de-DE"/>
          </a:p>
        </p:txBody>
      </p:sp>
    </p:spTree>
    <p:extLst>
      <p:ext uri="{BB962C8B-B14F-4D97-AF65-F5344CB8AC3E}">
        <p14:creationId xmlns:p14="http://schemas.microsoft.com/office/powerpoint/2010/main" val="33859772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is new feature enhances the customization of Microsoft Teams for users by highlighting the most important meeting apps for them. Admins can choose the meeting apps to pre- pin and pre-install, streamlining the user's experience, especially during meetings. The pinned apps will appear in the meeting app flyout and the meetings tabs next to chat.</a:t>
            </a:r>
          </a:p>
        </p:txBody>
      </p:sp>
      <p:sp>
        <p:nvSpPr>
          <p:cNvPr id="4" name="Foliennummernplatzhalter 3"/>
          <p:cNvSpPr>
            <a:spLocks noGrp="1"/>
          </p:cNvSpPr>
          <p:nvPr>
            <p:ph type="sldNum" sz="quarter" idx="5"/>
          </p:nvPr>
        </p:nvSpPr>
        <p:spPr/>
        <p:txBody>
          <a:bodyPr/>
          <a:lstStyle/>
          <a:p>
            <a:fld id="{3493B9C7-8C41-44EF-A755-70B1D5727268}" type="slidenum">
              <a:rPr lang="de-DE" smtClean="0"/>
              <a:pPr/>
              <a:t>15</a:t>
            </a:fld>
            <a:endParaRPr lang="de-DE" dirty="0"/>
          </a:p>
        </p:txBody>
      </p:sp>
    </p:spTree>
    <p:extLst>
      <p:ext uri="{BB962C8B-B14F-4D97-AF65-F5344CB8AC3E}">
        <p14:creationId xmlns:p14="http://schemas.microsoft.com/office/powerpoint/2010/main" val="41039907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16</a:t>
            </a:fld>
            <a:endParaRPr lang="de-DE"/>
          </a:p>
        </p:txBody>
      </p:sp>
    </p:spTree>
    <p:extLst>
      <p:ext uri="{BB962C8B-B14F-4D97-AF65-F5344CB8AC3E}">
        <p14:creationId xmlns:p14="http://schemas.microsoft.com/office/powerpoint/2010/main" val="3584597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We make constant steps to improve Teams performance irrespective of the platform – this time we are making the experience of Teams meetings on web (in Safari and Firefox browsers) better for anonymous users (guests). That’s crucial because it improves external collaboration. For example, if participants from your tenant would like to have meetings with non-Teams users (who are often joining as guests) it’ll become simpler as guests joining meeting from Safari/Firefox web browsers won’t have to wait significant amount of time for the meeting experience to load. </a:t>
            </a:r>
          </a:p>
          <a:p>
            <a:endParaRPr lang="en-US" dirty="0"/>
          </a:p>
          <a:p>
            <a:r>
              <a:rPr lang="en-US" dirty="0"/>
              <a:t>You may also notice that currently meeting UI in Chrome and Safari/Firefox is different, but with this update it won’t be a case anymore and you’ll enjoy all the benefits of modern UI (such as meeting toolbar on top of the screen, </a:t>
            </a:r>
            <a:r>
              <a:rPr lang="en-US" dirty="0" err="1"/>
              <a:t>etc</a:t>
            </a:r>
            <a:r>
              <a:rPr lang="en-US" dirty="0"/>
              <a:t>). </a:t>
            </a:r>
          </a:p>
        </p:txBody>
      </p:sp>
      <p:sp>
        <p:nvSpPr>
          <p:cNvPr id="4" name="Foliennummernplatzhalter 3"/>
          <p:cNvSpPr>
            <a:spLocks noGrp="1"/>
          </p:cNvSpPr>
          <p:nvPr>
            <p:ph type="sldNum" sz="quarter" idx="5"/>
          </p:nvPr>
        </p:nvSpPr>
        <p:spPr/>
        <p:txBody>
          <a:bodyPr/>
          <a:lstStyle/>
          <a:p>
            <a:fld id="{3493B9C7-8C41-44EF-A755-70B1D5727268}" type="slidenum">
              <a:rPr lang="de-DE" smtClean="0"/>
              <a:pPr/>
              <a:t>17</a:t>
            </a:fld>
            <a:endParaRPr lang="de-DE" dirty="0"/>
          </a:p>
        </p:txBody>
      </p:sp>
    </p:spTree>
    <p:extLst>
      <p:ext uri="{BB962C8B-B14F-4D97-AF65-F5344CB8AC3E}">
        <p14:creationId xmlns:p14="http://schemas.microsoft.com/office/powerpoint/2010/main" val="34520518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18</a:t>
            </a:fld>
            <a:endParaRPr lang="de-DE"/>
          </a:p>
        </p:txBody>
      </p:sp>
    </p:spTree>
    <p:extLst>
      <p:ext uri="{BB962C8B-B14F-4D97-AF65-F5344CB8AC3E}">
        <p14:creationId xmlns:p14="http://schemas.microsoft.com/office/powerpoint/2010/main" val="23456253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0" i="0" dirty="0">
                <a:solidFill>
                  <a:srgbClr val="B3B3B3"/>
                </a:solidFill>
                <a:effectLst/>
                <a:latin typeface="Segoe UI" panose="020B0502040204020203" pitchFamily="34" charset="0"/>
              </a:rPr>
              <a:t>In Microsoft Teams, configuring meeting options for events like webinars and townhalls required users to be taken to a web page after the event had been created. In order to optimize the user experience, we will now allow users to configure meeting options within the Teams app before event creation. This will provide users with more flexibility.</a:t>
            </a:r>
            <a:endParaRPr lang="en-US" dirty="0"/>
          </a:p>
        </p:txBody>
      </p:sp>
      <p:sp>
        <p:nvSpPr>
          <p:cNvPr id="4" name="Foliennummernplatzhalter 3"/>
          <p:cNvSpPr>
            <a:spLocks noGrp="1"/>
          </p:cNvSpPr>
          <p:nvPr>
            <p:ph type="sldNum" sz="quarter" idx="5"/>
          </p:nvPr>
        </p:nvSpPr>
        <p:spPr/>
        <p:txBody>
          <a:bodyPr/>
          <a:lstStyle/>
          <a:p>
            <a:fld id="{3493B9C7-8C41-44EF-A755-70B1D5727268}" type="slidenum">
              <a:rPr lang="de-DE" smtClean="0"/>
              <a:pPr/>
              <a:t>19</a:t>
            </a:fld>
            <a:endParaRPr lang="de-DE" dirty="0"/>
          </a:p>
        </p:txBody>
      </p:sp>
    </p:spTree>
    <p:extLst>
      <p:ext uri="{BB962C8B-B14F-4D97-AF65-F5344CB8AC3E}">
        <p14:creationId xmlns:p14="http://schemas.microsoft.com/office/powerpoint/2010/main" val="2350186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20</a:t>
            </a:fld>
            <a:endParaRPr lang="de-DE"/>
          </a:p>
        </p:txBody>
      </p:sp>
    </p:spTree>
    <p:extLst>
      <p:ext uri="{BB962C8B-B14F-4D97-AF65-F5344CB8AC3E}">
        <p14:creationId xmlns:p14="http://schemas.microsoft.com/office/powerpoint/2010/main" val="15172745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21</a:t>
            </a:fld>
            <a:endParaRPr lang="de-DE"/>
          </a:p>
        </p:txBody>
      </p:sp>
    </p:spTree>
    <p:extLst>
      <p:ext uri="{BB962C8B-B14F-4D97-AF65-F5344CB8AC3E}">
        <p14:creationId xmlns:p14="http://schemas.microsoft.com/office/powerpoint/2010/main" val="17377779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23</a:t>
            </a:fld>
            <a:endParaRPr lang="de-DE"/>
          </a:p>
        </p:txBody>
      </p:sp>
    </p:spTree>
    <p:extLst>
      <p:ext uri="{BB962C8B-B14F-4D97-AF65-F5344CB8AC3E}">
        <p14:creationId xmlns:p14="http://schemas.microsoft.com/office/powerpoint/2010/main" val="40502422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25</a:t>
            </a:fld>
            <a:endParaRPr lang="de-DE"/>
          </a:p>
        </p:txBody>
      </p:sp>
    </p:spTree>
    <p:extLst>
      <p:ext uri="{BB962C8B-B14F-4D97-AF65-F5344CB8AC3E}">
        <p14:creationId xmlns:p14="http://schemas.microsoft.com/office/powerpoint/2010/main" val="34282466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26</a:t>
            </a:fld>
            <a:endParaRPr lang="de-DE"/>
          </a:p>
        </p:txBody>
      </p:sp>
    </p:spTree>
    <p:extLst>
      <p:ext uri="{BB962C8B-B14F-4D97-AF65-F5344CB8AC3E}">
        <p14:creationId xmlns:p14="http://schemas.microsoft.com/office/powerpoint/2010/main" val="786215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2</a:t>
            </a:fld>
            <a:endParaRPr lang="de-DE"/>
          </a:p>
        </p:txBody>
      </p:sp>
    </p:spTree>
    <p:extLst>
      <p:ext uri="{BB962C8B-B14F-4D97-AF65-F5344CB8AC3E}">
        <p14:creationId xmlns:p14="http://schemas.microsoft.com/office/powerpoint/2010/main" val="31188441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28</a:t>
            </a:fld>
            <a:endParaRPr lang="de-DE"/>
          </a:p>
        </p:txBody>
      </p:sp>
    </p:spTree>
    <p:extLst>
      <p:ext uri="{BB962C8B-B14F-4D97-AF65-F5344CB8AC3E}">
        <p14:creationId xmlns:p14="http://schemas.microsoft.com/office/powerpoint/2010/main" val="35117643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0</a:t>
            </a:fld>
            <a:endParaRPr lang="de-DE"/>
          </a:p>
        </p:txBody>
      </p:sp>
    </p:spTree>
    <p:extLst>
      <p:ext uri="{BB962C8B-B14F-4D97-AF65-F5344CB8AC3E}">
        <p14:creationId xmlns:p14="http://schemas.microsoft.com/office/powerpoint/2010/main" val="12879282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2</a:t>
            </a:fld>
            <a:endParaRPr lang="de-DE"/>
          </a:p>
        </p:txBody>
      </p:sp>
    </p:spTree>
    <p:extLst>
      <p:ext uri="{BB962C8B-B14F-4D97-AF65-F5344CB8AC3E}">
        <p14:creationId xmlns:p14="http://schemas.microsoft.com/office/powerpoint/2010/main" val="20738083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33</a:t>
            </a:fld>
            <a:endParaRPr lang="de-DE"/>
          </a:p>
        </p:txBody>
      </p:sp>
    </p:spTree>
    <p:extLst>
      <p:ext uri="{BB962C8B-B14F-4D97-AF65-F5344CB8AC3E}">
        <p14:creationId xmlns:p14="http://schemas.microsoft.com/office/powerpoint/2010/main" val="27250810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4</a:t>
            </a:fld>
            <a:endParaRPr lang="de-DE"/>
          </a:p>
        </p:txBody>
      </p:sp>
    </p:spTree>
    <p:extLst>
      <p:ext uri="{BB962C8B-B14F-4D97-AF65-F5344CB8AC3E}">
        <p14:creationId xmlns:p14="http://schemas.microsoft.com/office/powerpoint/2010/main" val="26326329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6</a:t>
            </a:fld>
            <a:endParaRPr lang="de-DE"/>
          </a:p>
        </p:txBody>
      </p:sp>
    </p:spTree>
    <p:extLst>
      <p:ext uri="{BB962C8B-B14F-4D97-AF65-F5344CB8AC3E}">
        <p14:creationId xmlns:p14="http://schemas.microsoft.com/office/powerpoint/2010/main" val="4708068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7</a:t>
            </a:fld>
            <a:endParaRPr lang="de-DE"/>
          </a:p>
        </p:txBody>
      </p:sp>
    </p:spTree>
    <p:extLst>
      <p:ext uri="{BB962C8B-B14F-4D97-AF65-F5344CB8AC3E}">
        <p14:creationId xmlns:p14="http://schemas.microsoft.com/office/powerpoint/2010/main" val="11654513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38</a:t>
            </a:fld>
            <a:endParaRPr lang="de-DE"/>
          </a:p>
        </p:txBody>
      </p:sp>
    </p:spTree>
    <p:extLst>
      <p:ext uri="{BB962C8B-B14F-4D97-AF65-F5344CB8AC3E}">
        <p14:creationId xmlns:p14="http://schemas.microsoft.com/office/powerpoint/2010/main" val="40502549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Ensuring optimal audio and video quality during Microsoft Teams calls by allowing access to a specific URL as part of the preparation for the Noise Suppression feature.</a:t>
            </a:r>
          </a:p>
        </p:txBody>
      </p:sp>
      <p:sp>
        <p:nvSpPr>
          <p:cNvPr id="4" name="Foliennummernplatzhalter 3"/>
          <p:cNvSpPr>
            <a:spLocks noGrp="1"/>
          </p:cNvSpPr>
          <p:nvPr>
            <p:ph type="sldNum" sz="quarter" idx="5"/>
          </p:nvPr>
        </p:nvSpPr>
        <p:spPr/>
        <p:txBody>
          <a:bodyPr/>
          <a:lstStyle/>
          <a:p>
            <a:fld id="{3493B9C7-8C41-44EF-A755-70B1D5727268}" type="slidenum">
              <a:rPr lang="de-DE" smtClean="0"/>
              <a:pPr/>
              <a:t>39</a:t>
            </a:fld>
            <a:endParaRPr lang="de-DE" dirty="0"/>
          </a:p>
        </p:txBody>
      </p:sp>
    </p:spTree>
    <p:extLst>
      <p:ext uri="{BB962C8B-B14F-4D97-AF65-F5344CB8AC3E}">
        <p14:creationId xmlns:p14="http://schemas.microsoft.com/office/powerpoint/2010/main" val="10948199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40</a:t>
            </a:fld>
            <a:endParaRPr lang="de-DE"/>
          </a:p>
        </p:txBody>
      </p:sp>
    </p:spTree>
    <p:extLst>
      <p:ext uri="{BB962C8B-B14F-4D97-AF65-F5344CB8AC3E}">
        <p14:creationId xmlns:p14="http://schemas.microsoft.com/office/powerpoint/2010/main" val="38575837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4</a:t>
            </a:fld>
            <a:endParaRPr lang="de-DE"/>
          </a:p>
        </p:txBody>
      </p:sp>
    </p:spTree>
    <p:extLst>
      <p:ext uri="{BB962C8B-B14F-4D97-AF65-F5344CB8AC3E}">
        <p14:creationId xmlns:p14="http://schemas.microsoft.com/office/powerpoint/2010/main" val="40063339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42</a:t>
            </a:fld>
            <a:endParaRPr lang="de-DE"/>
          </a:p>
        </p:txBody>
      </p:sp>
    </p:spTree>
    <p:extLst>
      <p:ext uri="{BB962C8B-B14F-4D97-AF65-F5344CB8AC3E}">
        <p14:creationId xmlns:p14="http://schemas.microsoft.com/office/powerpoint/2010/main" val="17768934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Microsoft Teams admins will now have the capability to make sign in faster for iOS and Android device users by prefilling domain names using app configuration policies. This change will especially benefit frontline workers who frequently sign in and out of a shared device. </a:t>
            </a:r>
          </a:p>
          <a:p>
            <a:endParaRPr lang="en-US" dirty="0"/>
          </a:p>
          <a:p>
            <a:endParaRPr lang="en-US" dirty="0"/>
          </a:p>
        </p:txBody>
      </p:sp>
      <p:sp>
        <p:nvSpPr>
          <p:cNvPr id="4" name="Foliennummernplatzhalter 3"/>
          <p:cNvSpPr>
            <a:spLocks noGrp="1"/>
          </p:cNvSpPr>
          <p:nvPr>
            <p:ph type="sldNum" sz="quarter" idx="5"/>
          </p:nvPr>
        </p:nvSpPr>
        <p:spPr/>
        <p:txBody>
          <a:bodyPr/>
          <a:lstStyle/>
          <a:p>
            <a:fld id="{3493B9C7-8C41-44EF-A755-70B1D5727268}" type="slidenum">
              <a:rPr lang="de-DE" smtClean="0"/>
              <a:pPr/>
              <a:t>43</a:t>
            </a:fld>
            <a:endParaRPr lang="de-DE" dirty="0"/>
          </a:p>
        </p:txBody>
      </p:sp>
    </p:spTree>
    <p:extLst>
      <p:ext uri="{BB962C8B-B14F-4D97-AF65-F5344CB8AC3E}">
        <p14:creationId xmlns:p14="http://schemas.microsoft.com/office/powerpoint/2010/main" val="14611216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44</a:t>
            </a:fld>
            <a:endParaRPr lang="de-DE"/>
          </a:p>
        </p:txBody>
      </p:sp>
    </p:spTree>
    <p:extLst>
      <p:ext uri="{BB962C8B-B14F-4D97-AF65-F5344CB8AC3E}">
        <p14:creationId xmlns:p14="http://schemas.microsoft.com/office/powerpoint/2010/main" val="12947178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0" i="0" dirty="0">
                <a:solidFill>
                  <a:srgbClr val="EDEDED"/>
                </a:solidFill>
                <a:effectLst/>
                <a:latin typeface="Segoe UI" panose="020B0502040204020203" pitchFamily="34" charset="0"/>
              </a:rPr>
              <a:t>Microsoft Teams Rooms on Windows with Pro license will have Cloud </a:t>
            </a:r>
            <a:r>
              <a:rPr lang="en-US" b="0" i="0" dirty="0" err="1">
                <a:solidFill>
                  <a:srgbClr val="EDEDED"/>
                </a:solidFill>
                <a:effectLst/>
                <a:latin typeface="Segoe UI" panose="020B0502040204020203" pitchFamily="34" charset="0"/>
              </a:rPr>
              <a:t>IntelliFrame</a:t>
            </a:r>
            <a:r>
              <a:rPr lang="en-US" b="0" i="0" dirty="0">
                <a:solidFill>
                  <a:srgbClr val="EDEDED"/>
                </a:solidFill>
                <a:effectLst/>
                <a:latin typeface="Segoe UI" panose="020B0502040204020203" pitchFamily="34" charset="0"/>
              </a:rPr>
              <a:t>, which creates smart video feeds of in-room participants by zooming into their faces and eliminating distractions. It will roll out to commercial tenants in mid-August and complete by late April 2024. Users can disable </a:t>
            </a:r>
            <a:r>
              <a:rPr lang="en-US" b="0" i="0" dirty="0" err="1">
                <a:solidFill>
                  <a:srgbClr val="EDEDED"/>
                </a:solidFill>
                <a:effectLst/>
                <a:latin typeface="Segoe UI" panose="020B0502040204020203" pitchFamily="34" charset="0"/>
              </a:rPr>
              <a:t>IntelliFrame</a:t>
            </a:r>
            <a:r>
              <a:rPr lang="en-US" b="0" i="0" dirty="0">
                <a:solidFill>
                  <a:srgbClr val="EDEDED"/>
                </a:solidFill>
                <a:effectLst/>
                <a:latin typeface="Segoe UI" panose="020B0502040204020203" pitchFamily="34" charset="0"/>
              </a:rPr>
              <a:t>, and certain camera models will automatically use it. Large spaces may not be ideal, and users can switch it off in rooms with glass walls without privacy filters.</a:t>
            </a:r>
            <a:endParaRPr lang="en-US" dirty="0"/>
          </a:p>
        </p:txBody>
      </p:sp>
      <p:sp>
        <p:nvSpPr>
          <p:cNvPr id="4" name="Foliennummernplatzhalter 3"/>
          <p:cNvSpPr>
            <a:spLocks noGrp="1"/>
          </p:cNvSpPr>
          <p:nvPr>
            <p:ph type="sldNum" sz="quarter" idx="5"/>
          </p:nvPr>
        </p:nvSpPr>
        <p:spPr/>
        <p:txBody>
          <a:bodyPr/>
          <a:lstStyle/>
          <a:p>
            <a:fld id="{3493B9C7-8C41-44EF-A755-70B1D5727268}" type="slidenum">
              <a:rPr lang="de-DE" smtClean="0"/>
              <a:pPr/>
              <a:t>45</a:t>
            </a:fld>
            <a:endParaRPr lang="de-DE" dirty="0"/>
          </a:p>
        </p:txBody>
      </p:sp>
    </p:spTree>
    <p:extLst>
      <p:ext uri="{BB962C8B-B14F-4D97-AF65-F5344CB8AC3E}">
        <p14:creationId xmlns:p14="http://schemas.microsoft.com/office/powerpoint/2010/main" val="15958721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47</a:t>
            </a:fld>
            <a:endParaRPr lang="de-DE"/>
          </a:p>
        </p:txBody>
      </p:sp>
    </p:spTree>
    <p:extLst>
      <p:ext uri="{BB962C8B-B14F-4D97-AF65-F5344CB8AC3E}">
        <p14:creationId xmlns:p14="http://schemas.microsoft.com/office/powerpoint/2010/main" val="35627138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49</a:t>
            </a:fld>
            <a:endParaRPr lang="de-DE"/>
          </a:p>
        </p:txBody>
      </p:sp>
    </p:spTree>
    <p:extLst>
      <p:ext uri="{BB962C8B-B14F-4D97-AF65-F5344CB8AC3E}">
        <p14:creationId xmlns:p14="http://schemas.microsoft.com/office/powerpoint/2010/main" val="10944546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50</a:t>
            </a:fld>
            <a:endParaRPr lang="de-DE"/>
          </a:p>
        </p:txBody>
      </p:sp>
    </p:spTree>
    <p:extLst>
      <p:ext uri="{BB962C8B-B14F-4D97-AF65-F5344CB8AC3E}">
        <p14:creationId xmlns:p14="http://schemas.microsoft.com/office/powerpoint/2010/main" val="41930297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51</a:t>
            </a:fld>
            <a:endParaRPr lang="de-DE"/>
          </a:p>
        </p:txBody>
      </p:sp>
    </p:spTree>
    <p:extLst>
      <p:ext uri="{BB962C8B-B14F-4D97-AF65-F5344CB8AC3E}">
        <p14:creationId xmlns:p14="http://schemas.microsoft.com/office/powerpoint/2010/main" val="27461434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53</a:t>
            </a:fld>
            <a:endParaRPr lang="de-DE"/>
          </a:p>
        </p:txBody>
      </p:sp>
    </p:spTree>
    <p:extLst>
      <p:ext uri="{BB962C8B-B14F-4D97-AF65-F5344CB8AC3E}">
        <p14:creationId xmlns:p14="http://schemas.microsoft.com/office/powerpoint/2010/main" val="1238466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5</a:t>
            </a:fld>
            <a:endParaRPr lang="de-DE"/>
          </a:p>
        </p:txBody>
      </p:sp>
    </p:spTree>
    <p:extLst>
      <p:ext uri="{BB962C8B-B14F-4D97-AF65-F5344CB8AC3E}">
        <p14:creationId xmlns:p14="http://schemas.microsoft.com/office/powerpoint/2010/main" val="41930297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7</a:t>
            </a:fld>
            <a:endParaRPr lang="de-DE"/>
          </a:p>
        </p:txBody>
      </p:sp>
    </p:spTree>
    <p:extLst>
      <p:ext uri="{BB962C8B-B14F-4D97-AF65-F5344CB8AC3E}">
        <p14:creationId xmlns:p14="http://schemas.microsoft.com/office/powerpoint/2010/main" val="33621385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493B9C7-8C41-44EF-A755-70B1D5727268}" type="slidenum">
              <a:rPr lang="de-DE" smtClean="0"/>
              <a:t>8</a:t>
            </a:fld>
            <a:endParaRPr lang="de-DE"/>
          </a:p>
        </p:txBody>
      </p:sp>
    </p:spTree>
    <p:extLst>
      <p:ext uri="{BB962C8B-B14F-4D97-AF65-F5344CB8AC3E}">
        <p14:creationId xmlns:p14="http://schemas.microsoft.com/office/powerpoint/2010/main" val="26827575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9</a:t>
            </a:fld>
            <a:endParaRPr lang="de-DE"/>
          </a:p>
        </p:txBody>
      </p:sp>
    </p:spTree>
    <p:extLst>
      <p:ext uri="{BB962C8B-B14F-4D97-AF65-F5344CB8AC3E}">
        <p14:creationId xmlns:p14="http://schemas.microsoft.com/office/powerpoint/2010/main" val="1094454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12</a:t>
            </a:fld>
            <a:endParaRPr lang="de-DE"/>
          </a:p>
        </p:txBody>
      </p:sp>
    </p:spTree>
    <p:extLst>
      <p:ext uri="{BB962C8B-B14F-4D97-AF65-F5344CB8AC3E}">
        <p14:creationId xmlns:p14="http://schemas.microsoft.com/office/powerpoint/2010/main" val="27618027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493B9C7-8C41-44EF-A755-70B1D5727268}" type="slidenum">
              <a:rPr lang="de-DE" smtClean="0"/>
              <a:t>14</a:t>
            </a:fld>
            <a:endParaRPr lang="de-DE"/>
          </a:p>
        </p:txBody>
      </p:sp>
    </p:spTree>
    <p:extLst>
      <p:ext uri="{BB962C8B-B14F-4D97-AF65-F5344CB8AC3E}">
        <p14:creationId xmlns:p14="http://schemas.microsoft.com/office/powerpoint/2010/main" val="28993006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B18089-C25B-431F-A9A1-5E1264C83FC1}"/>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780D1149-82DA-4401-B6A3-EB9521C7D7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pic>
        <p:nvPicPr>
          <p:cNvPr id="8" name="Grafik 7">
            <a:extLst>
              <a:ext uri="{FF2B5EF4-FFF2-40B4-BE49-F238E27FC236}">
                <a16:creationId xmlns:a16="http://schemas.microsoft.com/office/drawing/2014/main" id="{8D540479-1C51-46F3-86B7-3832D2A57F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736" y="1782696"/>
            <a:ext cx="12277804" cy="6138902"/>
          </a:xfrm>
          <a:prstGeom prst="rect">
            <a:avLst/>
          </a:prstGeom>
        </p:spPr>
      </p:pic>
      <p:sp>
        <p:nvSpPr>
          <p:cNvPr id="4" name="Fußzeilenplatzhalter 4">
            <a:extLst>
              <a:ext uri="{FF2B5EF4-FFF2-40B4-BE49-F238E27FC236}">
                <a16:creationId xmlns:a16="http://schemas.microsoft.com/office/drawing/2014/main" id="{DC492C04-9595-4D88-A6FA-ABEAC2147667}"/>
              </a:ext>
            </a:extLst>
          </p:cNvPr>
          <p:cNvSpPr txBox="1">
            <a:spLocks/>
          </p:cNvSpPr>
          <p:nvPr userDrawn="1"/>
        </p:nvSpPr>
        <p:spPr>
          <a:xfrm>
            <a:off x="838199" y="6492875"/>
            <a:ext cx="5440399"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solidFill>
                  <a:schemeClr val="bg1"/>
                </a:solidFill>
                <a:latin typeface="Aptos" panose="020B0004020202020204" pitchFamily="34" charset="0"/>
              </a:rPr>
              <a:t>@teamsugberlin.bsky.social #MicrosoftTeams #TeamsUGBerlin</a:t>
            </a:r>
          </a:p>
        </p:txBody>
      </p:sp>
    </p:spTree>
    <p:extLst>
      <p:ext uri="{BB962C8B-B14F-4D97-AF65-F5344CB8AC3E}">
        <p14:creationId xmlns:p14="http://schemas.microsoft.com/office/powerpoint/2010/main" val="3364905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FC2810-4A92-47BB-AE91-E37649FE043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06669CE4-8003-4D90-9941-7C4E515652B2}"/>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732824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5EA668-729F-4A91-9A40-DC117350EFDF}"/>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14ED502-77BB-4B3D-ACCE-8C1D48B76BB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Tree>
    <p:extLst>
      <p:ext uri="{BB962C8B-B14F-4D97-AF65-F5344CB8AC3E}">
        <p14:creationId xmlns:p14="http://schemas.microsoft.com/office/powerpoint/2010/main" val="3369166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6E33DA-856B-48F9-AB8D-77FA8F2F1C4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6836A7A7-A1EA-4336-A778-67D515CDDB9F}"/>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3ECF341B-D75D-4CD2-94D7-36003A4DC30F}"/>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0455743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40EE4C-BF58-4CBC-BB45-2578DAE7ADD8}"/>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F227C1BA-6849-4489-BDB5-DBFCEA0DF5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BAC864D3-14A4-4957-8AB3-52BB33FE2CE7}"/>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B9AB4D8F-8143-4B20-B53C-4F9A91A356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9EA8F5A9-B426-4832-8F2B-505EBB6C806B}"/>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0034180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1E6CB6-23AB-4B4B-B06E-D9C442F02523}"/>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3952959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836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E717003C-B53F-47AE-B026-2F6974852C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dirty="0"/>
              <a:t>Mastertitelformat bearbeiten</a:t>
            </a:r>
          </a:p>
        </p:txBody>
      </p:sp>
      <p:sp>
        <p:nvSpPr>
          <p:cNvPr id="3" name="Textplatzhalter 2">
            <a:extLst>
              <a:ext uri="{FF2B5EF4-FFF2-40B4-BE49-F238E27FC236}">
                <a16:creationId xmlns:a16="http://schemas.microsoft.com/office/drawing/2014/main" id="{3B749CC0-CA66-4536-B60E-8E397EF41F2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8" name="Grafik 7">
            <a:extLst>
              <a:ext uri="{FF2B5EF4-FFF2-40B4-BE49-F238E27FC236}">
                <a16:creationId xmlns:a16="http://schemas.microsoft.com/office/drawing/2014/main" id="{0726139A-52EE-490A-831F-ABBD06DC71B9}"/>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058194" y="5572898"/>
            <a:ext cx="3133806" cy="1566903"/>
          </a:xfrm>
          <a:prstGeom prst="rect">
            <a:avLst/>
          </a:prstGeom>
        </p:spPr>
      </p:pic>
      <p:sp>
        <p:nvSpPr>
          <p:cNvPr id="9" name="Fußzeilenplatzhalter 4">
            <a:extLst>
              <a:ext uri="{FF2B5EF4-FFF2-40B4-BE49-F238E27FC236}">
                <a16:creationId xmlns:a16="http://schemas.microsoft.com/office/drawing/2014/main" id="{2406A12C-E783-4BE5-BEFC-AA493EA54917}"/>
              </a:ext>
            </a:extLst>
          </p:cNvPr>
          <p:cNvSpPr txBox="1">
            <a:spLocks/>
          </p:cNvSpPr>
          <p:nvPr userDrawn="1"/>
        </p:nvSpPr>
        <p:spPr>
          <a:xfrm>
            <a:off x="838199" y="6492875"/>
            <a:ext cx="5385619"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latin typeface="Aptos" panose="020B0004020202020204" pitchFamily="34" charset="0"/>
              </a:rPr>
              <a:t>@teamsugberlin.bsky.social #MicrosoftTeams #TeamsUGBerlin</a:t>
            </a:r>
          </a:p>
        </p:txBody>
      </p:sp>
    </p:spTree>
    <p:extLst>
      <p:ext uri="{BB962C8B-B14F-4D97-AF65-F5344CB8AC3E}">
        <p14:creationId xmlns:p14="http://schemas.microsoft.com/office/powerpoint/2010/main" val="2779112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txStyles>
    <p:titleStyle>
      <a:lvl1pPr algn="l" defTabSz="914400" rtl="0" eaLnBrk="1" latinLnBrk="0" hangingPunct="1">
        <a:lnSpc>
          <a:spcPct val="90000"/>
        </a:lnSpc>
        <a:spcBef>
          <a:spcPct val="0"/>
        </a:spcBef>
        <a:buNone/>
        <a:defRPr sz="4400" kern="1200">
          <a:solidFill>
            <a:schemeClr val="tx1"/>
          </a:solidFill>
          <a:latin typeface="Aptos Light"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Clr>
          <a:schemeClr val="accent1">
            <a:lumMod val="75000"/>
          </a:schemeClr>
        </a:buClr>
        <a:buFont typeface="Wingdings" panose="05000000000000000000" pitchFamily="2" charset="2"/>
        <a:buChar char="§"/>
        <a:defRPr sz="2800" kern="1200">
          <a:solidFill>
            <a:schemeClr val="tx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Clr>
          <a:schemeClr val="accent1">
            <a:lumMod val="75000"/>
          </a:schemeClr>
        </a:buClr>
        <a:buFont typeface="Wingdings" panose="05000000000000000000" pitchFamily="2" charset="2"/>
        <a:buChar char="§"/>
        <a:defRPr sz="2400" kern="1200">
          <a:solidFill>
            <a:schemeClr val="tx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Clr>
          <a:schemeClr val="accent1">
            <a:lumMod val="75000"/>
          </a:schemeClr>
        </a:buClr>
        <a:buFont typeface="Wingdings" panose="05000000000000000000" pitchFamily="2" charset="2"/>
        <a:buChar char="§"/>
        <a:defRPr sz="2000" kern="1200">
          <a:solidFill>
            <a:schemeClr val="tx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Clr>
          <a:schemeClr val="accent1">
            <a:lumMod val="75000"/>
          </a:schemeClr>
        </a:buClr>
        <a:buFont typeface="Wingdings" panose="05000000000000000000" pitchFamily="2" charset="2"/>
        <a:buChar char="§"/>
        <a:defRPr sz="1800" kern="1200">
          <a:solidFill>
            <a:schemeClr val="tx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Clr>
          <a:schemeClr val="accent1">
            <a:lumMod val="75000"/>
          </a:schemeClr>
        </a:buClr>
        <a:buFont typeface="Wingdings" panose="05000000000000000000" pitchFamily="2" charset="2"/>
        <a:buChar char="§"/>
        <a:defRPr sz="1800" kern="1200">
          <a:solidFill>
            <a:schemeClr val="tx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hyperlink" Target="https://learn.microsoft.com/microsoftteams/new-teams-web?WT.mc_id=M365-MVP-5003086"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spirit21.co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xml"/><Relationship Id="rId5" Type="http://schemas.openxmlformats.org/officeDocument/2006/relationships/image" Target="../media/image16.png"/><Relationship Id="rId4" Type="http://schemas.openxmlformats.org/officeDocument/2006/relationships/image" Target="../media/image15.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hyperlink" Target="https://learn.microsoft.com/microsoftteams/manage-meeting-templates?WT.mc_id=TM-MVP-5003086"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link.heropost.io/ENowCQD" TargetMode="External"/><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hyperlink" Target="https://www.enowsoftware.com/" TargetMode="External"/><Relationship Id="rId5" Type="http://schemas.openxmlformats.org/officeDocument/2006/relationships/image" Target="../media/image6.png"/><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https://learn.microsoft.com/microsoft-365/enterprise/urls-and-ip-address-ranges?view=o365-worldwide&amp;WT.mc_id=TM-MVP-5003086"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hyperlink" Target="https://learn.microsoft.com/microsoftteams/sign-in-teams?WT.mc_id=TM-MVP-5003086" TargetMode="Externa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hyperlink" Target="https://learn.microsoft.com/microsoftteams/rooms/xml-config-file?WT.mc_id=TM-MVP-5003086" TargetMode="External"/><Relationship Id="rId5" Type="http://schemas.openxmlformats.org/officeDocument/2006/relationships/image" Target="../media/image24.png"/><Relationship Id="rId4" Type="http://schemas.openxmlformats.org/officeDocument/2006/relationships/image" Target="../media/image23.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s://techcommunity.microsoft.com/t5/microsoft-teams-blog/what-s-new-in-microsoft-teams-enterprise-connect-2024-edition/ba-p/4090711?WT.mc_id=TM-MVP-5003086" TargetMode="External"/><Relationship Id="rId7" Type="http://schemas.openxmlformats.org/officeDocument/2006/relationships/hyperlink" Target="https://feedbackportal.microsoft.com/feedback/forum/ad198462-1c1c-ec11-b6e7-0022481f8472"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hyperlink" Target="https://techcommunity.microsoft.com/t5/microsoft-teams-community-blog/bg-p/MicrosoftTeamsCommunityBlog?WT.mc_id=TM-MVP-5003086" TargetMode="External"/><Relationship Id="rId5" Type="http://schemas.openxmlformats.org/officeDocument/2006/relationships/hyperlink" Target="https://techcommunity.microsoft.com/t5/microsoft-teams-blog/bg-p/MicrosoftTeamsBlog?WT.mc_id=TM-MVP-5003086" TargetMode="External"/><Relationship Id="rId4" Type="http://schemas.openxmlformats.org/officeDocument/2006/relationships/hyperlink" Target="https://techcommunity.microsoft.com/t5/microsoft-teams-blog/what-s-new-in-microsoft-teams-february-2024/ba-p/4067761?WT.mc_id=TM-MVP-5003086"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hyperlink" Target="https://teamsusergroup.berlin/meetup" TargetMode="External"/><Relationship Id="rId2" Type="http://schemas.openxmlformats.org/officeDocument/2006/relationships/hyperlink" Target="https://go.granikos.eu/TeamsUGForm" TargetMode="Externa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25.png"/><Relationship Id="rId4" Type="http://schemas.openxmlformats.org/officeDocument/2006/relationships/hyperlink" Target="https://teamsusergroup.berlin/video"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s://go.granikos.eu/TeamsMeetupBerlin"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hyperlink" Target="https://teamsusergroup.berlin/register"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A4A9C3-88F1-47B1-832C-DF14CF7A00CF}"/>
              </a:ext>
            </a:extLst>
          </p:cNvPr>
          <p:cNvSpPr>
            <a:spLocks noGrp="1"/>
          </p:cNvSpPr>
          <p:nvPr>
            <p:ph type="ctrTitle"/>
          </p:nvPr>
        </p:nvSpPr>
        <p:spPr/>
        <p:txBody>
          <a:bodyPr/>
          <a:lstStyle/>
          <a:p>
            <a:r>
              <a:rPr lang="de-DE" b="1" dirty="0"/>
              <a:t>Microsoft Teams</a:t>
            </a:r>
            <a:br>
              <a:rPr lang="de-DE" b="1" dirty="0"/>
            </a:br>
            <a:r>
              <a:rPr lang="de-DE" b="1" dirty="0"/>
              <a:t>User Group Berlin</a:t>
            </a:r>
          </a:p>
        </p:txBody>
      </p:sp>
      <p:sp>
        <p:nvSpPr>
          <p:cNvPr id="3" name="Untertitel 2">
            <a:extLst>
              <a:ext uri="{FF2B5EF4-FFF2-40B4-BE49-F238E27FC236}">
                <a16:creationId xmlns:a16="http://schemas.microsoft.com/office/drawing/2014/main" id="{CBA95633-B02D-4A15-A8B1-A38E0A70FD27}"/>
              </a:ext>
            </a:extLst>
          </p:cNvPr>
          <p:cNvSpPr>
            <a:spLocks noGrp="1"/>
          </p:cNvSpPr>
          <p:nvPr>
            <p:ph type="subTitle" idx="1"/>
          </p:nvPr>
        </p:nvSpPr>
        <p:spPr/>
        <p:txBody>
          <a:bodyPr/>
          <a:lstStyle/>
          <a:p>
            <a:r>
              <a:rPr lang="de-DE" b="1" dirty="0"/>
              <a:t>25. April 2024</a:t>
            </a:r>
          </a:p>
          <a:p>
            <a:endParaRPr lang="de-DE" b="1" dirty="0"/>
          </a:p>
          <a:p>
            <a:endParaRPr lang="de-DE" b="1" dirty="0"/>
          </a:p>
          <a:p>
            <a:r>
              <a:rPr lang="de-DE" b="1" dirty="0"/>
              <a:t>Meetup #29</a:t>
            </a:r>
          </a:p>
        </p:txBody>
      </p:sp>
      <p:pic>
        <p:nvPicPr>
          <p:cNvPr id="5" name="Grafik 4" descr="Ein Bild, das Symbol, Logo, Grafiken, Screenshot enthält.&#10;&#10;Automatisch generierte Beschreibung">
            <a:extLst>
              <a:ext uri="{FF2B5EF4-FFF2-40B4-BE49-F238E27FC236}">
                <a16:creationId xmlns:a16="http://schemas.microsoft.com/office/drawing/2014/main" id="{C13428CA-74A7-C843-3D12-E6FB7CD644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6800" y="-126999"/>
            <a:ext cx="2438400" cy="2438400"/>
          </a:xfrm>
          <a:prstGeom prst="rect">
            <a:avLst/>
          </a:prstGeom>
        </p:spPr>
      </p:pic>
    </p:spTree>
    <p:extLst>
      <p:ext uri="{BB962C8B-B14F-4D97-AF65-F5344CB8AC3E}">
        <p14:creationId xmlns:p14="http://schemas.microsoft.com/office/powerpoint/2010/main" val="67148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478771-6B09-7F0E-7594-388DF536E995}"/>
              </a:ext>
            </a:extLst>
          </p:cNvPr>
          <p:cNvSpPr>
            <a:spLocks noGrp="1"/>
          </p:cNvSpPr>
          <p:nvPr>
            <p:ph type="title"/>
          </p:nvPr>
        </p:nvSpPr>
        <p:spPr/>
        <p:txBody>
          <a:bodyPr/>
          <a:lstStyle/>
          <a:p>
            <a:r>
              <a:rPr lang="en-US" dirty="0"/>
              <a:t>Disable attendee emails for town halls and webinars</a:t>
            </a:r>
          </a:p>
        </p:txBody>
      </p:sp>
      <p:sp>
        <p:nvSpPr>
          <p:cNvPr id="7" name="Inhaltsplatzhalter 6">
            <a:extLst>
              <a:ext uri="{FF2B5EF4-FFF2-40B4-BE49-F238E27FC236}">
                <a16:creationId xmlns:a16="http://schemas.microsoft.com/office/drawing/2014/main" id="{BB1E2ADF-0647-665C-94CC-741DF1DBBC70}"/>
              </a:ext>
            </a:extLst>
          </p:cNvPr>
          <p:cNvSpPr>
            <a:spLocks noGrp="1"/>
          </p:cNvSpPr>
          <p:nvPr>
            <p:ph idx="1"/>
          </p:nvPr>
        </p:nvSpPr>
        <p:spPr>
          <a:xfrm>
            <a:off x="838200" y="5273457"/>
            <a:ext cx="10515600" cy="903505"/>
          </a:xfrm>
        </p:spPr>
        <p:txBody>
          <a:bodyPr/>
          <a:lstStyle/>
          <a:p>
            <a:r>
              <a:rPr lang="de-DE" dirty="0"/>
              <a:t>Rollout-Verhalten </a:t>
            </a:r>
            <a:r>
              <a:rPr lang="de-DE" dirty="0">
                <a:sym typeface="Wingdings" panose="05000000000000000000" pitchFamily="2" charset="2"/>
              </a:rPr>
              <a:t> Aktivierter Versand von Nachrichten</a:t>
            </a:r>
            <a:endParaRPr lang="de-DE" dirty="0"/>
          </a:p>
        </p:txBody>
      </p:sp>
      <p:pic>
        <p:nvPicPr>
          <p:cNvPr id="6" name="Grafik 5">
            <a:extLst>
              <a:ext uri="{FF2B5EF4-FFF2-40B4-BE49-F238E27FC236}">
                <a16:creationId xmlns:a16="http://schemas.microsoft.com/office/drawing/2014/main" id="{257DED24-A600-D4C6-88C0-3E90854F2D77}"/>
              </a:ext>
            </a:extLst>
          </p:cNvPr>
          <p:cNvPicPr>
            <a:picLocks noChangeAspect="1"/>
          </p:cNvPicPr>
          <p:nvPr/>
        </p:nvPicPr>
        <p:blipFill>
          <a:blip r:embed="rId2"/>
          <a:stretch>
            <a:fillRect/>
          </a:stretch>
        </p:blipFill>
        <p:spPr>
          <a:xfrm>
            <a:off x="0" y="1755797"/>
            <a:ext cx="12192000" cy="334640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24595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478771-6B09-7F0E-7594-388DF536E995}"/>
              </a:ext>
            </a:extLst>
          </p:cNvPr>
          <p:cNvSpPr>
            <a:spLocks noGrp="1"/>
          </p:cNvSpPr>
          <p:nvPr>
            <p:ph type="title"/>
          </p:nvPr>
        </p:nvSpPr>
        <p:spPr/>
        <p:txBody>
          <a:bodyPr/>
          <a:lstStyle/>
          <a:p>
            <a:r>
              <a:rPr lang="en-US" dirty="0"/>
              <a:t>Disable attendee emails for town halls and webinars</a:t>
            </a:r>
          </a:p>
        </p:txBody>
      </p:sp>
      <p:pic>
        <p:nvPicPr>
          <p:cNvPr id="6" name="Grafik 5">
            <a:extLst>
              <a:ext uri="{FF2B5EF4-FFF2-40B4-BE49-F238E27FC236}">
                <a16:creationId xmlns:a16="http://schemas.microsoft.com/office/drawing/2014/main" id="{257DED24-A600-D4C6-88C0-3E90854F2D7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052" y="1755797"/>
            <a:ext cx="12121896" cy="334640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467610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Disable attendee emails for town halls and webinars</a:t>
            </a:r>
          </a:p>
          <a:p>
            <a:r>
              <a:rPr lang="en-US" dirty="0"/>
              <a:t>New Microsoft Teams for Web – GA for Firefox, Safari, and Linux</a:t>
            </a:r>
          </a:p>
          <a:p>
            <a:r>
              <a:rPr lang="en-US" dirty="0"/>
              <a:t>Pre-pin meeting apps for users</a:t>
            </a:r>
          </a:p>
          <a:p>
            <a:r>
              <a:rPr lang="en-US" dirty="0"/>
              <a:t>Latest meeting experiences with performance improvements on web for Safari and Firefox (for guests)</a:t>
            </a:r>
          </a:p>
          <a:p>
            <a:r>
              <a:rPr lang="en-US" dirty="0"/>
              <a:t>In form meeting option updates for webinars and townhalls</a:t>
            </a:r>
          </a:p>
          <a:p>
            <a:r>
              <a:rPr lang="en-US" dirty="0"/>
              <a:t>Hide General Channels</a:t>
            </a:r>
          </a:p>
          <a:p>
            <a:r>
              <a:rPr lang="en-US" dirty="0"/>
              <a:t>Meeting invite improvement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2337047"/>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120361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390A9FDD-F70F-8A44-00AE-7C71206B5C85}"/>
              </a:ext>
            </a:extLst>
          </p:cNvPr>
          <p:cNvSpPr>
            <a:spLocks noGrp="1"/>
          </p:cNvSpPr>
          <p:nvPr>
            <p:ph type="title"/>
          </p:nvPr>
        </p:nvSpPr>
        <p:spPr>
          <a:xfrm>
            <a:off x="838200" y="365125"/>
            <a:ext cx="11353800" cy="1325563"/>
          </a:xfrm>
        </p:spPr>
        <p:txBody>
          <a:bodyPr/>
          <a:lstStyle/>
          <a:p>
            <a:r>
              <a:rPr lang="en-US" dirty="0"/>
              <a:t>New Microsoft Teams for Web</a:t>
            </a:r>
            <a:br>
              <a:rPr lang="en-US" dirty="0"/>
            </a:br>
            <a:r>
              <a:rPr lang="en-US" dirty="0"/>
              <a:t>GA for Firefox, Safari, and Linux</a:t>
            </a:r>
          </a:p>
        </p:txBody>
      </p:sp>
      <p:sp>
        <p:nvSpPr>
          <p:cNvPr id="4" name="Inhaltsplatzhalter 3">
            <a:extLst>
              <a:ext uri="{FF2B5EF4-FFF2-40B4-BE49-F238E27FC236}">
                <a16:creationId xmlns:a16="http://schemas.microsoft.com/office/drawing/2014/main" id="{A01B4CCC-7DDF-CA8C-2C47-D7FEF23F5A4E}"/>
              </a:ext>
            </a:extLst>
          </p:cNvPr>
          <p:cNvSpPr>
            <a:spLocks noGrp="1"/>
          </p:cNvSpPr>
          <p:nvPr>
            <p:ph idx="1"/>
          </p:nvPr>
        </p:nvSpPr>
        <p:spPr/>
        <p:txBody>
          <a:bodyPr/>
          <a:lstStyle/>
          <a:p>
            <a:r>
              <a:rPr lang="de-DE" dirty="0"/>
              <a:t>Unterstützung für letzten drei Firefox-Versionen und die letzten zwei Safari-Versionen</a:t>
            </a:r>
          </a:p>
          <a:p>
            <a:r>
              <a:rPr lang="de-DE" dirty="0"/>
              <a:t>Firefox und Safari folgt der gleichen Timeline für den neuen Teams-Client</a:t>
            </a:r>
          </a:p>
          <a:p>
            <a:r>
              <a:rPr lang="de-DE" dirty="0"/>
              <a:t>Teams für Web-Nutzenden steht bis Mitte Mai die Schaltfläche für einen Wechsel zum alten Teams-Client zur Verfügung, auch wenn die Teams Update-Richtlinie auf "New Teams Only" </a:t>
            </a:r>
            <a:r>
              <a:rPr lang="de-DE"/>
              <a:t>konfiguriert ist</a:t>
            </a:r>
            <a:endParaRPr lang="de-DE" dirty="0"/>
          </a:p>
        </p:txBody>
      </p:sp>
      <p:sp>
        <p:nvSpPr>
          <p:cNvPr id="5" name="Textfeld 4">
            <a:extLst>
              <a:ext uri="{FF2B5EF4-FFF2-40B4-BE49-F238E27FC236}">
                <a16:creationId xmlns:a16="http://schemas.microsoft.com/office/drawing/2014/main" id="{2B0E1930-84D6-E6F7-BDAA-78E581BAF312}"/>
              </a:ext>
            </a:extLst>
          </p:cNvPr>
          <p:cNvSpPr txBox="1"/>
          <p:nvPr/>
        </p:nvSpPr>
        <p:spPr>
          <a:xfrm>
            <a:off x="1164921" y="6176963"/>
            <a:ext cx="2530257" cy="369332"/>
          </a:xfrm>
          <a:prstGeom prst="rect">
            <a:avLst/>
          </a:prstGeom>
          <a:noFill/>
        </p:spPr>
        <p:txBody>
          <a:bodyPr wrap="square" rtlCol="0">
            <a:spAutoFit/>
          </a:bodyPr>
          <a:lstStyle/>
          <a:p>
            <a:r>
              <a:rPr lang="de-DE">
                <a:hlinkClick r:id="rId2"/>
              </a:rPr>
              <a:t>Weitere Informationen</a:t>
            </a:r>
            <a:endParaRPr lang="de-DE" dirty="0"/>
          </a:p>
        </p:txBody>
      </p:sp>
    </p:spTree>
    <p:extLst>
      <p:ext uri="{BB962C8B-B14F-4D97-AF65-F5344CB8AC3E}">
        <p14:creationId xmlns:p14="http://schemas.microsoft.com/office/powerpoint/2010/main" val="318321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Disable attendee emails for town halls and webinars</a:t>
            </a:r>
          </a:p>
          <a:p>
            <a:r>
              <a:rPr lang="en-US" dirty="0"/>
              <a:t>New Microsoft Teams for Web – GA for Firefox, Safari, and Linux</a:t>
            </a:r>
          </a:p>
          <a:p>
            <a:r>
              <a:rPr lang="en-US" dirty="0"/>
              <a:t>Pre-pin meeting apps for users</a:t>
            </a:r>
          </a:p>
          <a:p>
            <a:r>
              <a:rPr lang="en-US" dirty="0"/>
              <a:t>Latest meeting experiences with performance improvements on web for Safari and Firefox (for guests)</a:t>
            </a:r>
          </a:p>
          <a:p>
            <a:r>
              <a:rPr lang="en-US" dirty="0"/>
              <a:t>In form meeting option updates for webinars and townhalls</a:t>
            </a:r>
          </a:p>
          <a:p>
            <a:r>
              <a:rPr lang="en-US" dirty="0"/>
              <a:t>Hide General Channels</a:t>
            </a:r>
          </a:p>
          <a:p>
            <a:r>
              <a:rPr lang="en-US" dirty="0"/>
              <a:t>Meeting invite improvement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2842656"/>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1823114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4AD31B-A676-6717-D5EF-96BC2AC68770}"/>
              </a:ext>
            </a:extLst>
          </p:cNvPr>
          <p:cNvSpPr>
            <a:spLocks noGrp="1"/>
          </p:cNvSpPr>
          <p:nvPr>
            <p:ph type="title"/>
          </p:nvPr>
        </p:nvSpPr>
        <p:spPr/>
        <p:txBody>
          <a:bodyPr/>
          <a:lstStyle/>
          <a:p>
            <a:r>
              <a:rPr lang="en-US" dirty="0"/>
              <a:t>Pre-pin meeting apps for users</a:t>
            </a:r>
          </a:p>
        </p:txBody>
      </p:sp>
      <p:pic>
        <p:nvPicPr>
          <p:cNvPr id="4" name="Grafik 3">
            <a:extLst>
              <a:ext uri="{FF2B5EF4-FFF2-40B4-BE49-F238E27FC236}">
                <a16:creationId xmlns:a16="http://schemas.microsoft.com/office/drawing/2014/main" id="{6029647E-25C6-6E20-7B96-6669B42FD67F}"/>
              </a:ext>
            </a:extLst>
          </p:cNvPr>
          <p:cNvPicPr>
            <a:picLocks noChangeAspect="1"/>
          </p:cNvPicPr>
          <p:nvPr/>
        </p:nvPicPr>
        <p:blipFill rotWithShape="1">
          <a:blip r:embed="rId3"/>
          <a:srcRect l="12170" t="12151" r="12345" b="11800"/>
          <a:stretch/>
        </p:blipFill>
        <p:spPr>
          <a:xfrm>
            <a:off x="2501029" y="1853852"/>
            <a:ext cx="7189941" cy="4070959"/>
          </a:xfrm>
          <a:prstGeom prst="rect">
            <a:avLst/>
          </a:prstGeom>
          <a:ln>
            <a:noFill/>
          </a:ln>
          <a:effectLst>
            <a:outerShdw blurRad="190500" algn="tl" rotWithShape="0">
              <a:srgbClr val="000000">
                <a:alpha val="70000"/>
              </a:srgbClr>
            </a:outerShdw>
          </a:effectLst>
        </p:spPr>
      </p:pic>
      <p:sp>
        <p:nvSpPr>
          <p:cNvPr id="5" name="Rechteck: abgerundete Ecken 4">
            <a:extLst>
              <a:ext uri="{FF2B5EF4-FFF2-40B4-BE49-F238E27FC236}">
                <a16:creationId xmlns:a16="http://schemas.microsoft.com/office/drawing/2014/main" id="{68CD22DD-49EE-0A81-5FCE-C5563EDD6B69}"/>
              </a:ext>
            </a:extLst>
          </p:cNvPr>
          <p:cNvSpPr/>
          <p:nvPr/>
        </p:nvSpPr>
        <p:spPr>
          <a:xfrm>
            <a:off x="8066762" y="2279737"/>
            <a:ext cx="1640909" cy="3720230"/>
          </a:xfrm>
          <a:prstGeom prst="roundRect">
            <a:avLst/>
          </a:prstGeom>
          <a:no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spTree>
    <p:extLst>
      <p:ext uri="{BB962C8B-B14F-4D97-AF65-F5344CB8AC3E}">
        <p14:creationId xmlns:p14="http://schemas.microsoft.com/office/powerpoint/2010/main" val="1336987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Disable attendee emails for town halls and webinars</a:t>
            </a:r>
          </a:p>
          <a:p>
            <a:r>
              <a:rPr lang="en-US" dirty="0"/>
              <a:t>New Microsoft Teams for Web – GA for Firefox, Safari, and Linux</a:t>
            </a:r>
          </a:p>
          <a:p>
            <a:r>
              <a:rPr lang="en-US" dirty="0"/>
              <a:t>Pre-pin meeting apps for users</a:t>
            </a:r>
          </a:p>
          <a:p>
            <a:r>
              <a:rPr lang="en-US" dirty="0"/>
              <a:t>Latest meeting experiences with performance improvements on web for Safari and Firefox (for guests)</a:t>
            </a:r>
          </a:p>
          <a:p>
            <a:r>
              <a:rPr lang="en-US" dirty="0"/>
              <a:t>In form meeting option updates for webinars and townhalls</a:t>
            </a:r>
          </a:p>
          <a:p>
            <a:r>
              <a:rPr lang="en-US" dirty="0"/>
              <a:t>Hide General Channels</a:t>
            </a:r>
          </a:p>
          <a:p>
            <a:r>
              <a:rPr lang="en-US" dirty="0"/>
              <a:t>Meeting invite improvement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3326750"/>
            <a:ext cx="10610088" cy="901005"/>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135323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61F653-FA7E-3277-A46B-7C988F0922B0}"/>
              </a:ext>
            </a:extLst>
          </p:cNvPr>
          <p:cNvSpPr>
            <a:spLocks noGrp="1"/>
          </p:cNvSpPr>
          <p:nvPr>
            <p:ph type="title"/>
          </p:nvPr>
        </p:nvSpPr>
        <p:spPr/>
        <p:txBody>
          <a:bodyPr/>
          <a:lstStyle/>
          <a:p>
            <a:r>
              <a:rPr lang="en-US" dirty="0"/>
              <a:t>Latest meeting experiences with performance improvements on web for Safari and Firefox (for guests)</a:t>
            </a:r>
          </a:p>
        </p:txBody>
      </p:sp>
      <p:sp>
        <p:nvSpPr>
          <p:cNvPr id="3" name="Inhaltsplatzhalter 2">
            <a:extLst>
              <a:ext uri="{FF2B5EF4-FFF2-40B4-BE49-F238E27FC236}">
                <a16:creationId xmlns:a16="http://schemas.microsoft.com/office/drawing/2014/main" id="{3A9A13CE-C4A2-755A-4E4A-4B23D1BFCB32}"/>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21016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Disable attendee emails for town halls and webinars</a:t>
            </a:r>
          </a:p>
          <a:p>
            <a:r>
              <a:rPr lang="en-US" dirty="0"/>
              <a:t>New Microsoft Teams for Web – GA for Firefox, Safari, and Linux</a:t>
            </a:r>
          </a:p>
          <a:p>
            <a:r>
              <a:rPr lang="en-US" dirty="0"/>
              <a:t>Pre-pin meeting apps for users</a:t>
            </a:r>
          </a:p>
          <a:p>
            <a:r>
              <a:rPr lang="en-US" dirty="0"/>
              <a:t>Latest meeting experiences with performance improvements on web for Safari and Firefox (for guests)</a:t>
            </a:r>
          </a:p>
          <a:p>
            <a:r>
              <a:rPr lang="en-US" dirty="0"/>
              <a:t>In form meeting option updates for webinars and townhalls</a:t>
            </a:r>
          </a:p>
          <a:p>
            <a:r>
              <a:rPr lang="en-US" dirty="0"/>
              <a:t>Hide General Channels</a:t>
            </a:r>
          </a:p>
          <a:p>
            <a:r>
              <a:rPr lang="en-US" dirty="0"/>
              <a:t>Meeting invite improvement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4241150"/>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17627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AB6EC2-1863-0463-4E05-656DFD6DD1CA}"/>
              </a:ext>
            </a:extLst>
          </p:cNvPr>
          <p:cNvSpPr>
            <a:spLocks noGrp="1"/>
          </p:cNvSpPr>
          <p:nvPr>
            <p:ph type="title"/>
          </p:nvPr>
        </p:nvSpPr>
        <p:spPr/>
        <p:txBody>
          <a:bodyPr/>
          <a:lstStyle/>
          <a:p>
            <a:r>
              <a:rPr lang="en-US" dirty="0"/>
              <a:t>In form meeting option updates for webinars and townhalls</a:t>
            </a:r>
          </a:p>
        </p:txBody>
      </p:sp>
      <p:pic>
        <p:nvPicPr>
          <p:cNvPr id="4" name="Grafik 3">
            <a:extLst>
              <a:ext uri="{FF2B5EF4-FFF2-40B4-BE49-F238E27FC236}">
                <a16:creationId xmlns:a16="http://schemas.microsoft.com/office/drawing/2014/main" id="{365A4A02-4FF1-C904-8D97-56723721C580}"/>
              </a:ext>
            </a:extLst>
          </p:cNvPr>
          <p:cNvPicPr>
            <a:picLocks noChangeAspect="1"/>
          </p:cNvPicPr>
          <p:nvPr/>
        </p:nvPicPr>
        <p:blipFill>
          <a:blip r:embed="rId3"/>
          <a:stretch>
            <a:fillRect/>
          </a:stretch>
        </p:blipFill>
        <p:spPr>
          <a:xfrm>
            <a:off x="2981292" y="1690688"/>
            <a:ext cx="6229415" cy="475527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6417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Grafik 4">
            <a:extLst>
              <a:ext uri="{FF2B5EF4-FFF2-40B4-BE49-F238E27FC236}">
                <a16:creationId xmlns:a16="http://schemas.microsoft.com/office/drawing/2014/main" id="{975DA8F4-571A-B180-DCD8-5F4B02C2D3D3}"/>
              </a:ext>
            </a:extLst>
          </p:cNvPr>
          <p:cNvPicPr>
            <a:picLocks noChangeAspect="1"/>
          </p:cNvPicPr>
          <p:nvPr/>
        </p:nvPicPr>
        <p:blipFill>
          <a:blip r:embed="rId3"/>
          <a:stretch>
            <a:fillRect/>
          </a:stretch>
        </p:blipFill>
        <p:spPr>
          <a:xfrm>
            <a:off x="908353" y="2436742"/>
            <a:ext cx="10369248" cy="1736563"/>
          </a:xfrm>
          <a:prstGeom prst="rect">
            <a:avLst/>
          </a:prstGeom>
        </p:spPr>
      </p:pic>
      <p:sp>
        <p:nvSpPr>
          <p:cNvPr id="2" name="Textfeld 1">
            <a:extLst>
              <a:ext uri="{FF2B5EF4-FFF2-40B4-BE49-F238E27FC236}">
                <a16:creationId xmlns:a16="http://schemas.microsoft.com/office/drawing/2014/main" id="{E32F3E57-A399-C2A7-167C-43A640D9E55D}"/>
              </a:ext>
            </a:extLst>
          </p:cNvPr>
          <p:cNvSpPr txBox="1"/>
          <p:nvPr/>
        </p:nvSpPr>
        <p:spPr>
          <a:xfrm>
            <a:off x="3048762" y="5768407"/>
            <a:ext cx="6094476" cy="523220"/>
          </a:xfrm>
          <a:prstGeom prst="rect">
            <a:avLst/>
          </a:prstGeom>
          <a:noFill/>
        </p:spPr>
        <p:txBody>
          <a:bodyPr wrap="square">
            <a:spAutoFit/>
          </a:bodyPr>
          <a:lstStyle/>
          <a:p>
            <a:pPr algn="ctr"/>
            <a:r>
              <a:rPr lang="de-DE" sz="2800" dirty="0">
                <a:latin typeface="Aptos" panose="020B0004020202020204" pitchFamily="34" charset="0"/>
                <a:hlinkClick r:id="rId4"/>
              </a:rPr>
              <a:t>https://spirit21.com</a:t>
            </a:r>
            <a:r>
              <a:rPr lang="de-DE" sz="2800" dirty="0">
                <a:latin typeface="Aptos" panose="020B0004020202020204" pitchFamily="34" charset="0"/>
              </a:rPr>
              <a:t> </a:t>
            </a:r>
          </a:p>
        </p:txBody>
      </p:sp>
    </p:spTree>
    <p:extLst>
      <p:ext uri="{BB962C8B-B14F-4D97-AF65-F5344CB8AC3E}">
        <p14:creationId xmlns:p14="http://schemas.microsoft.com/office/powerpoint/2010/main" val="1545829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Disable attendee emails for town halls and webinars</a:t>
            </a:r>
          </a:p>
          <a:p>
            <a:r>
              <a:rPr lang="en-US" dirty="0"/>
              <a:t>New Microsoft Teams for Web – GA for Firefox, Safari, and Linux</a:t>
            </a:r>
          </a:p>
          <a:p>
            <a:r>
              <a:rPr lang="en-US" dirty="0"/>
              <a:t>Pre-pin meeting apps for users</a:t>
            </a:r>
          </a:p>
          <a:p>
            <a:r>
              <a:rPr lang="en-US" dirty="0"/>
              <a:t>Latest meeting experiences with performance improvements on web for Safari and Firefox (for guests)</a:t>
            </a:r>
          </a:p>
          <a:p>
            <a:r>
              <a:rPr lang="en-US" dirty="0"/>
              <a:t>In form meeting option updates for webinars and townhalls</a:t>
            </a:r>
          </a:p>
          <a:p>
            <a:r>
              <a:rPr lang="en-US" dirty="0"/>
              <a:t>Hide General Channels</a:t>
            </a:r>
          </a:p>
          <a:p>
            <a:r>
              <a:rPr lang="en-US" dirty="0"/>
              <a:t>Meeting invite improvement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4725244"/>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84020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Disable attendee emails for town halls and webinars</a:t>
            </a:r>
          </a:p>
          <a:p>
            <a:r>
              <a:rPr lang="en-US" dirty="0"/>
              <a:t>New Microsoft Teams for Web – GA for Firefox, Safari, and Linux</a:t>
            </a:r>
          </a:p>
          <a:p>
            <a:r>
              <a:rPr lang="en-US" dirty="0"/>
              <a:t>Pre-pin meeting apps for users</a:t>
            </a:r>
          </a:p>
          <a:p>
            <a:r>
              <a:rPr lang="en-US" dirty="0"/>
              <a:t>Latest meeting experiences with performance improvements on web for Safari and Firefox (for guests)</a:t>
            </a:r>
          </a:p>
          <a:p>
            <a:r>
              <a:rPr lang="en-US" dirty="0"/>
              <a:t>In form meeting option updates for webinars and townhalls</a:t>
            </a:r>
          </a:p>
          <a:p>
            <a:r>
              <a:rPr lang="en-US" dirty="0"/>
              <a:t>Hide General Channels</a:t>
            </a:r>
          </a:p>
          <a:p>
            <a:r>
              <a:rPr lang="en-US" dirty="0"/>
              <a:t>Meeting invite improvement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5252369"/>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82779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DFAF65-E700-923C-E920-00568DC60878}"/>
              </a:ext>
            </a:extLst>
          </p:cNvPr>
          <p:cNvSpPr>
            <a:spLocks noGrp="1"/>
          </p:cNvSpPr>
          <p:nvPr>
            <p:ph type="title"/>
          </p:nvPr>
        </p:nvSpPr>
        <p:spPr/>
        <p:txBody>
          <a:bodyPr/>
          <a:lstStyle/>
          <a:p>
            <a:r>
              <a:rPr lang="en-US" dirty="0"/>
              <a:t>Meeting invite improvements</a:t>
            </a:r>
          </a:p>
        </p:txBody>
      </p:sp>
      <p:pic>
        <p:nvPicPr>
          <p:cNvPr id="1026" name="Picture 2">
            <a:extLst>
              <a:ext uri="{FF2B5EF4-FFF2-40B4-BE49-F238E27FC236}">
                <a16:creationId xmlns:a16="http://schemas.microsoft.com/office/drawing/2014/main" id="{282F2D7A-0E9B-9F0C-00E1-00E91F993A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89891" y="1282048"/>
            <a:ext cx="4143332" cy="521082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3" name="Rechteck: abgerundete Ecken 2">
            <a:extLst>
              <a:ext uri="{FF2B5EF4-FFF2-40B4-BE49-F238E27FC236}">
                <a16:creationId xmlns:a16="http://schemas.microsoft.com/office/drawing/2014/main" id="{5AFE2DF4-E6A8-FF01-97AD-03D9AEA31314}"/>
              </a:ext>
            </a:extLst>
          </p:cNvPr>
          <p:cNvSpPr/>
          <p:nvPr/>
        </p:nvSpPr>
        <p:spPr>
          <a:xfrm>
            <a:off x="4189891" y="1855722"/>
            <a:ext cx="2173331" cy="286229"/>
          </a:xfrm>
          <a:prstGeom prst="roundRect">
            <a:avLst/>
          </a:prstGeom>
          <a:no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spTree>
    <p:extLst>
      <p:ext uri="{BB962C8B-B14F-4D97-AF65-F5344CB8AC3E}">
        <p14:creationId xmlns:p14="http://schemas.microsoft.com/office/powerpoint/2010/main" val="4171092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Share contact information of people in Microsoft Teams chat</a:t>
            </a:r>
          </a:p>
          <a:p>
            <a:r>
              <a:rPr lang="en-US" dirty="0"/>
              <a:t>Sensitivity Labels enabled in Teams Mobile Meetings</a:t>
            </a:r>
          </a:p>
          <a:p>
            <a:r>
              <a:rPr lang="en-US" dirty="0"/>
              <a:t>Apps now supported in group chats with external users</a:t>
            </a:r>
          </a:p>
          <a:p>
            <a:r>
              <a:rPr lang="en-US" dirty="0"/>
              <a:t>Additional Teams Meeting Templates Added to Outlook Teams Add-In</a:t>
            </a:r>
          </a:p>
          <a:p>
            <a:r>
              <a:rPr lang="en-US" dirty="0"/>
              <a:t>Discover Feed in Channel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911352" y="1809922"/>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104404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D5818AC7-3FD7-901D-3C1F-AB875A599F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2942" y="1690688"/>
            <a:ext cx="6501009" cy="307105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6" name="Rechteck: abgerundete Ecken 5">
            <a:extLst>
              <a:ext uri="{FF2B5EF4-FFF2-40B4-BE49-F238E27FC236}">
                <a16:creationId xmlns:a16="http://schemas.microsoft.com/office/drawing/2014/main" id="{07F5596A-E492-D134-BD55-6693C6181F8C}"/>
              </a:ext>
            </a:extLst>
          </p:cNvPr>
          <p:cNvSpPr/>
          <p:nvPr/>
        </p:nvSpPr>
        <p:spPr>
          <a:xfrm>
            <a:off x="695130" y="3645074"/>
            <a:ext cx="2536585" cy="359531"/>
          </a:xfrm>
          <a:prstGeom prst="roundRect">
            <a:avLst/>
          </a:prstGeom>
          <a:no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sp>
        <p:nvSpPr>
          <p:cNvPr id="2" name="Titel 1">
            <a:extLst>
              <a:ext uri="{FF2B5EF4-FFF2-40B4-BE49-F238E27FC236}">
                <a16:creationId xmlns:a16="http://schemas.microsoft.com/office/drawing/2014/main" id="{46F4E6CD-3036-E36A-4251-6B3D713A3200}"/>
              </a:ext>
            </a:extLst>
          </p:cNvPr>
          <p:cNvSpPr>
            <a:spLocks noGrp="1"/>
          </p:cNvSpPr>
          <p:nvPr>
            <p:ph type="title"/>
          </p:nvPr>
        </p:nvSpPr>
        <p:spPr/>
        <p:txBody>
          <a:bodyPr/>
          <a:lstStyle/>
          <a:p>
            <a:r>
              <a:rPr lang="en-US" dirty="0"/>
              <a:t>Share contact information of people in Microsoft Teams chat</a:t>
            </a:r>
          </a:p>
        </p:txBody>
      </p:sp>
      <p:pic>
        <p:nvPicPr>
          <p:cNvPr id="3" name="Picture 2">
            <a:extLst>
              <a:ext uri="{FF2B5EF4-FFF2-40B4-BE49-F238E27FC236}">
                <a16:creationId xmlns:a16="http://schemas.microsoft.com/office/drawing/2014/main" id="{E76CFD9D-95CD-19C4-71FF-FB2B3A88FF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417528" y="2269441"/>
            <a:ext cx="6501009" cy="289787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181F685A-449F-1FEC-48D5-0EA05440A2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2633606" y="2848194"/>
            <a:ext cx="6478025" cy="289787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0CD4BD48-6591-7FA1-9101-B3DFFD7F08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5766166" y="4726007"/>
            <a:ext cx="4918535" cy="146136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4943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50"/>
                                        </p:tgtEl>
                                        <p:attrNameLst>
                                          <p:attrName>style.visibility</p:attrName>
                                        </p:attrNameLst>
                                      </p:cBhvr>
                                      <p:to>
                                        <p:strVal val="visible"/>
                                      </p:to>
                                    </p:set>
                                    <p:animEffect transition="in" filter="fade">
                                      <p:cBhvr>
                                        <p:cTn id="7" dur="500"/>
                                        <p:tgtEl>
                                          <p:spTgt spid="205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Share contact information of people in Microsoft Teams chat</a:t>
            </a:r>
          </a:p>
          <a:p>
            <a:r>
              <a:rPr lang="en-US" dirty="0"/>
              <a:t>Sensitivity Labels enabled in Teams Mobile Meetings</a:t>
            </a:r>
          </a:p>
          <a:p>
            <a:r>
              <a:rPr lang="en-US" dirty="0"/>
              <a:t>Apps now supported in group chats with external users</a:t>
            </a:r>
          </a:p>
          <a:p>
            <a:r>
              <a:rPr lang="en-US" dirty="0"/>
              <a:t>Additional Teams Meeting Templates Added to Outlook Teams Add-In</a:t>
            </a:r>
          </a:p>
          <a:p>
            <a:r>
              <a:rPr lang="en-US" dirty="0"/>
              <a:t>Discover Feed in Channel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2326289"/>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818200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Share contact information of people in Microsoft Teams chat</a:t>
            </a:r>
          </a:p>
          <a:p>
            <a:r>
              <a:rPr lang="en-US" dirty="0"/>
              <a:t>Sensitivity Labels enabled in Teams Mobile Meetings</a:t>
            </a:r>
          </a:p>
          <a:p>
            <a:r>
              <a:rPr lang="en-US" dirty="0"/>
              <a:t>Apps now supported in group chats with external users</a:t>
            </a:r>
          </a:p>
          <a:p>
            <a:r>
              <a:rPr lang="en-US" dirty="0"/>
              <a:t>Additional Teams Meeting Templates Added to Outlook Teams Add-In</a:t>
            </a:r>
          </a:p>
          <a:p>
            <a:r>
              <a:rPr lang="en-US" dirty="0"/>
              <a:t>Discover Feed in Channel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2842656"/>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4625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9891EA-A665-5B2F-1917-8D1C034413F2}"/>
              </a:ext>
            </a:extLst>
          </p:cNvPr>
          <p:cNvSpPr>
            <a:spLocks noGrp="1"/>
          </p:cNvSpPr>
          <p:nvPr>
            <p:ph type="title"/>
          </p:nvPr>
        </p:nvSpPr>
        <p:spPr/>
        <p:txBody>
          <a:bodyPr/>
          <a:lstStyle/>
          <a:p>
            <a:r>
              <a:rPr lang="en-US" dirty="0"/>
              <a:t>Apps now supported in group chats with external users</a:t>
            </a:r>
          </a:p>
        </p:txBody>
      </p:sp>
      <p:sp>
        <p:nvSpPr>
          <p:cNvPr id="3" name="Inhaltsplatzhalter 2">
            <a:extLst>
              <a:ext uri="{FF2B5EF4-FFF2-40B4-BE49-F238E27FC236}">
                <a16:creationId xmlns:a16="http://schemas.microsoft.com/office/drawing/2014/main" id="{F4D4EDB3-DE7C-7DF8-95F2-307477F145E9}"/>
              </a:ext>
            </a:extLst>
          </p:cNvPr>
          <p:cNvSpPr>
            <a:spLocks noGrp="1"/>
          </p:cNvSpPr>
          <p:nvPr>
            <p:ph idx="1"/>
          </p:nvPr>
        </p:nvSpPr>
        <p:spPr/>
        <p:txBody>
          <a:bodyPr/>
          <a:lstStyle/>
          <a:p>
            <a:r>
              <a:rPr lang="de-DE" dirty="0"/>
              <a:t>Nur der Gastgeber des Gruppenchats kann Apps bereitstellen, die von allen Teilnehmenden genutzt werden können</a:t>
            </a:r>
          </a:p>
          <a:p>
            <a:r>
              <a:rPr lang="de-DE" dirty="0"/>
              <a:t>Die Zugriffsrichtlinien für Apps werden beachtet</a:t>
            </a:r>
          </a:p>
          <a:p>
            <a:r>
              <a:rPr lang="de-DE" dirty="0"/>
              <a:t>Dies gilt nur für Gruppenchats, nicht für 1:1-Chats oder Kanalchats mit externen Teilnehmenden</a:t>
            </a:r>
          </a:p>
          <a:p>
            <a:r>
              <a:rPr lang="de-DE" dirty="0"/>
              <a:t>Externer Zugriff und Datenverarbeitung erfolgen zu den Bedingungen des App-Anbieters</a:t>
            </a:r>
          </a:p>
        </p:txBody>
      </p:sp>
    </p:spTree>
    <p:extLst>
      <p:ext uri="{BB962C8B-B14F-4D97-AF65-F5344CB8AC3E}">
        <p14:creationId xmlns:p14="http://schemas.microsoft.com/office/powerpoint/2010/main" val="1185517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Share contact information of people in Microsoft Teams chat</a:t>
            </a:r>
          </a:p>
          <a:p>
            <a:r>
              <a:rPr lang="en-US" dirty="0"/>
              <a:t>Sensitivity Labels enabled in Teams Mobile Meetings</a:t>
            </a:r>
          </a:p>
          <a:p>
            <a:r>
              <a:rPr lang="en-US" dirty="0"/>
              <a:t>Apps now supported in group chats with external users</a:t>
            </a:r>
          </a:p>
          <a:p>
            <a:r>
              <a:rPr lang="en-US" dirty="0"/>
              <a:t>Additional Teams Meeting Templates Added to Outlook Teams Add-In</a:t>
            </a:r>
          </a:p>
          <a:p>
            <a:r>
              <a:rPr lang="en-US" dirty="0"/>
              <a:t>Discover Feed in Channel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3315992"/>
            <a:ext cx="10610088" cy="890248"/>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458454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98DC51-FCC1-E245-755A-EC278E6AFCA5}"/>
              </a:ext>
            </a:extLst>
          </p:cNvPr>
          <p:cNvSpPr>
            <a:spLocks noGrp="1"/>
          </p:cNvSpPr>
          <p:nvPr>
            <p:ph type="title"/>
          </p:nvPr>
        </p:nvSpPr>
        <p:spPr/>
        <p:txBody>
          <a:bodyPr/>
          <a:lstStyle/>
          <a:p>
            <a:r>
              <a:rPr lang="en-US" dirty="0"/>
              <a:t>Additional Teams Meeting Templates Added to Outlook Teams Add-In</a:t>
            </a:r>
          </a:p>
        </p:txBody>
      </p:sp>
      <p:sp>
        <p:nvSpPr>
          <p:cNvPr id="3" name="Inhaltsplatzhalter 2">
            <a:extLst>
              <a:ext uri="{FF2B5EF4-FFF2-40B4-BE49-F238E27FC236}">
                <a16:creationId xmlns:a16="http://schemas.microsoft.com/office/drawing/2014/main" id="{2FF3467A-BC2D-BA04-461E-68DF6B85711F}"/>
              </a:ext>
            </a:extLst>
          </p:cNvPr>
          <p:cNvSpPr>
            <a:spLocks noGrp="1"/>
          </p:cNvSpPr>
          <p:nvPr>
            <p:ph idx="1"/>
          </p:nvPr>
        </p:nvSpPr>
        <p:spPr/>
        <p:txBody>
          <a:bodyPr/>
          <a:lstStyle/>
          <a:p>
            <a:r>
              <a:rPr lang="de-DE" dirty="0"/>
              <a:t>Outlook Teams Add-In Vorlagen für</a:t>
            </a:r>
          </a:p>
          <a:p>
            <a:pPr lvl="1"/>
            <a:r>
              <a:rPr lang="de-DE" dirty="0"/>
              <a:t>Virtueller Termin</a:t>
            </a:r>
          </a:p>
          <a:p>
            <a:pPr lvl="1"/>
            <a:r>
              <a:rPr lang="de-DE" dirty="0"/>
              <a:t>Webinar</a:t>
            </a:r>
          </a:p>
          <a:p>
            <a:pPr lvl="1"/>
            <a:r>
              <a:rPr lang="de-DE" dirty="0"/>
              <a:t>Versammlung</a:t>
            </a:r>
          </a:p>
          <a:p>
            <a:endParaRPr lang="de-DE" dirty="0"/>
          </a:p>
        </p:txBody>
      </p:sp>
      <p:pic>
        <p:nvPicPr>
          <p:cNvPr id="5" name="Grafik 4">
            <a:extLst>
              <a:ext uri="{FF2B5EF4-FFF2-40B4-BE49-F238E27FC236}">
                <a16:creationId xmlns:a16="http://schemas.microsoft.com/office/drawing/2014/main" id="{23638845-E81B-E5AB-F307-95656BD97B70}"/>
              </a:ext>
            </a:extLst>
          </p:cNvPr>
          <p:cNvPicPr>
            <a:picLocks noChangeAspect="1"/>
          </p:cNvPicPr>
          <p:nvPr/>
        </p:nvPicPr>
        <p:blipFill>
          <a:blip r:embed="rId2"/>
          <a:stretch>
            <a:fillRect/>
          </a:stretch>
        </p:blipFill>
        <p:spPr>
          <a:xfrm>
            <a:off x="7440865" y="1285921"/>
            <a:ext cx="4400000" cy="1780952"/>
          </a:xfrm>
          <a:prstGeom prst="rect">
            <a:avLst/>
          </a:prstGeom>
          <a:ln>
            <a:noFill/>
          </a:ln>
          <a:effectLst>
            <a:outerShdw blurRad="190500" algn="tl" rotWithShape="0">
              <a:srgbClr val="000000">
                <a:alpha val="70000"/>
              </a:srgbClr>
            </a:outerShdw>
          </a:effectLst>
        </p:spPr>
      </p:pic>
      <p:pic>
        <p:nvPicPr>
          <p:cNvPr id="7" name="Grafik 6">
            <a:extLst>
              <a:ext uri="{FF2B5EF4-FFF2-40B4-BE49-F238E27FC236}">
                <a16:creationId xmlns:a16="http://schemas.microsoft.com/office/drawing/2014/main" id="{50BE4445-4FE5-4C40-C918-6233E4EAB51A}"/>
              </a:ext>
            </a:extLst>
          </p:cNvPr>
          <p:cNvPicPr>
            <a:picLocks noChangeAspect="1"/>
          </p:cNvPicPr>
          <p:nvPr/>
        </p:nvPicPr>
        <p:blipFill>
          <a:blip r:embed="rId3"/>
          <a:stretch>
            <a:fillRect/>
          </a:stretch>
        </p:blipFill>
        <p:spPr>
          <a:xfrm>
            <a:off x="8231341" y="3245233"/>
            <a:ext cx="2819048" cy="3066667"/>
          </a:xfrm>
          <a:prstGeom prst="rect">
            <a:avLst/>
          </a:prstGeom>
          <a:ln>
            <a:noFill/>
          </a:ln>
          <a:effectLst>
            <a:outerShdw blurRad="190500" algn="tl" rotWithShape="0">
              <a:srgbClr val="000000">
                <a:alpha val="70000"/>
              </a:srgbClr>
            </a:outerShdw>
          </a:effectLst>
        </p:spPr>
      </p:pic>
      <p:sp>
        <p:nvSpPr>
          <p:cNvPr id="8" name="Textfeld 7">
            <a:extLst>
              <a:ext uri="{FF2B5EF4-FFF2-40B4-BE49-F238E27FC236}">
                <a16:creationId xmlns:a16="http://schemas.microsoft.com/office/drawing/2014/main" id="{5DE417E8-55D9-4E04-69FB-86CE9398FC94}"/>
              </a:ext>
            </a:extLst>
          </p:cNvPr>
          <p:cNvSpPr txBox="1"/>
          <p:nvPr/>
        </p:nvSpPr>
        <p:spPr>
          <a:xfrm>
            <a:off x="1164921" y="6176963"/>
            <a:ext cx="2530257" cy="369332"/>
          </a:xfrm>
          <a:prstGeom prst="rect">
            <a:avLst/>
          </a:prstGeom>
          <a:noFill/>
        </p:spPr>
        <p:txBody>
          <a:bodyPr wrap="square" rtlCol="0">
            <a:spAutoFit/>
          </a:bodyPr>
          <a:lstStyle/>
          <a:p>
            <a:r>
              <a:rPr lang="de-DE" dirty="0">
                <a:hlinkClick r:id="rId4"/>
              </a:rPr>
              <a:t>Weitere Informationen</a:t>
            </a:r>
            <a:endParaRPr lang="de-DE" dirty="0"/>
          </a:p>
        </p:txBody>
      </p:sp>
      <p:sp>
        <p:nvSpPr>
          <p:cNvPr id="9" name="Rechteck: abgerundete Ecken 8">
            <a:extLst>
              <a:ext uri="{FF2B5EF4-FFF2-40B4-BE49-F238E27FC236}">
                <a16:creationId xmlns:a16="http://schemas.microsoft.com/office/drawing/2014/main" id="{692D53E8-A966-6D0D-91AA-30917AF874E7}"/>
              </a:ext>
            </a:extLst>
          </p:cNvPr>
          <p:cNvSpPr/>
          <p:nvPr/>
        </p:nvSpPr>
        <p:spPr>
          <a:xfrm>
            <a:off x="8231341" y="3559261"/>
            <a:ext cx="2819048" cy="1350942"/>
          </a:xfrm>
          <a:prstGeom prst="roundRect">
            <a:avLst/>
          </a:prstGeom>
          <a:no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spTree>
    <p:extLst>
      <p:ext uri="{BB962C8B-B14F-4D97-AF65-F5344CB8AC3E}">
        <p14:creationId xmlns:p14="http://schemas.microsoft.com/office/powerpoint/2010/main" val="3846293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Grafiken, Schrift, Grafikdesign, Logo enthält.&#10;&#10;Automatisch generierte Beschreibung">
            <a:extLst>
              <a:ext uri="{FF2B5EF4-FFF2-40B4-BE49-F238E27FC236}">
                <a16:creationId xmlns:a16="http://schemas.microsoft.com/office/drawing/2014/main" id="{401BDEF3-90E0-DBBA-9FF5-31659B075E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3614" y="1714136"/>
            <a:ext cx="9104772" cy="2018442"/>
          </a:xfrm>
          <a:prstGeom prst="rect">
            <a:avLst/>
          </a:prstGeom>
        </p:spPr>
      </p:pic>
      <p:pic>
        <p:nvPicPr>
          <p:cNvPr id="1026" name="Picture 2" descr="Werbegrafik für das Microsoft Teams Call Quality Dashboard der Firma ENow.">
            <a:hlinkClick r:id="rId3"/>
            <a:extLst>
              <a:ext uri="{FF2B5EF4-FFF2-40B4-BE49-F238E27FC236}">
                <a16:creationId xmlns:a16="http://schemas.microsoft.com/office/drawing/2014/main" id="{A56E732E-05A6-05FC-08CC-655BB58534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6803" y="4653327"/>
            <a:ext cx="1965961" cy="163830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8" name="Grafik 7" descr="Ein Bild, das Muster, Quadrat, Symmetrie, Kunst enthält.&#10;&#10;Automatisch generierte Beschreibung">
            <a:extLst>
              <a:ext uri="{FF2B5EF4-FFF2-40B4-BE49-F238E27FC236}">
                <a16:creationId xmlns:a16="http://schemas.microsoft.com/office/drawing/2014/main" id="{2EB55981-0768-CE03-F2D9-17DC21F5CE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29236" y="4653327"/>
            <a:ext cx="1638300" cy="1638300"/>
          </a:xfrm>
          <a:prstGeom prst="rect">
            <a:avLst/>
          </a:prstGeom>
        </p:spPr>
      </p:pic>
      <p:sp>
        <p:nvSpPr>
          <p:cNvPr id="2" name="Textfeld 1">
            <a:extLst>
              <a:ext uri="{FF2B5EF4-FFF2-40B4-BE49-F238E27FC236}">
                <a16:creationId xmlns:a16="http://schemas.microsoft.com/office/drawing/2014/main" id="{EC6809E7-B0BE-CA65-ACDC-5D372BBD27CD}"/>
              </a:ext>
            </a:extLst>
          </p:cNvPr>
          <p:cNvSpPr txBox="1"/>
          <p:nvPr/>
        </p:nvSpPr>
        <p:spPr>
          <a:xfrm>
            <a:off x="3048762" y="5768407"/>
            <a:ext cx="6094476" cy="523220"/>
          </a:xfrm>
          <a:prstGeom prst="rect">
            <a:avLst/>
          </a:prstGeom>
          <a:noFill/>
        </p:spPr>
        <p:txBody>
          <a:bodyPr wrap="square">
            <a:spAutoFit/>
          </a:bodyPr>
          <a:lstStyle/>
          <a:p>
            <a:pPr algn="ctr"/>
            <a:r>
              <a:rPr lang="de-DE" sz="2800" dirty="0">
                <a:latin typeface="Aptos" panose="020B0004020202020204" pitchFamily="34" charset="0"/>
                <a:hlinkClick r:id="rId6"/>
              </a:rPr>
              <a:t>https://www.enowsoftware.com</a:t>
            </a:r>
            <a:r>
              <a:rPr lang="de-DE" sz="2800" dirty="0">
                <a:latin typeface="Aptos" panose="020B0004020202020204" pitchFamily="34" charset="0"/>
              </a:rPr>
              <a:t> </a:t>
            </a:r>
          </a:p>
        </p:txBody>
      </p:sp>
    </p:spTree>
    <p:extLst>
      <p:ext uri="{BB962C8B-B14F-4D97-AF65-F5344CB8AC3E}">
        <p14:creationId xmlns:p14="http://schemas.microsoft.com/office/powerpoint/2010/main" val="980172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Share contact information of people in Microsoft Teams chat</a:t>
            </a:r>
          </a:p>
          <a:p>
            <a:r>
              <a:rPr lang="en-US" dirty="0"/>
              <a:t>Sensitivity Labels enabled in Teams Mobile Meetings</a:t>
            </a:r>
          </a:p>
          <a:p>
            <a:r>
              <a:rPr lang="en-US" dirty="0"/>
              <a:t>Apps now supported in group chats with external users</a:t>
            </a:r>
          </a:p>
          <a:p>
            <a:r>
              <a:rPr lang="en-US" dirty="0"/>
              <a:t>Additional Teams Meeting Templates Added to Outlook Teams Add-In</a:t>
            </a:r>
          </a:p>
          <a:p>
            <a:r>
              <a:rPr lang="en-US" dirty="0"/>
              <a:t>Discover Feed in Channel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4219635"/>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389661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99EA8C-BD46-ADCC-D874-57F80E2A0D90}"/>
              </a:ext>
            </a:extLst>
          </p:cNvPr>
          <p:cNvSpPr>
            <a:spLocks noGrp="1"/>
          </p:cNvSpPr>
          <p:nvPr>
            <p:ph type="title"/>
          </p:nvPr>
        </p:nvSpPr>
        <p:spPr/>
        <p:txBody>
          <a:bodyPr/>
          <a:lstStyle/>
          <a:p>
            <a:r>
              <a:rPr lang="en-US" dirty="0"/>
              <a:t>Discover Feed in Channels</a:t>
            </a:r>
          </a:p>
        </p:txBody>
      </p:sp>
      <p:pic>
        <p:nvPicPr>
          <p:cNvPr id="7170" name="Picture 2">
            <a:extLst>
              <a:ext uri="{FF2B5EF4-FFF2-40B4-BE49-F238E27FC236}">
                <a16:creationId xmlns:a16="http://schemas.microsoft.com/office/drawing/2014/main" id="{D5F7116B-FA24-983F-F83B-DE75A49075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90635" y="1472693"/>
            <a:ext cx="7210729" cy="492184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45AA00A0-2299-4D61-D941-081C34943E57}"/>
              </a:ext>
            </a:extLst>
          </p:cNvPr>
          <p:cNvPicPr>
            <a:picLocks noChangeAspect="1"/>
          </p:cNvPicPr>
          <p:nvPr/>
        </p:nvPicPr>
        <p:blipFill>
          <a:blip r:embed="rId3"/>
          <a:stretch>
            <a:fillRect/>
          </a:stretch>
        </p:blipFill>
        <p:spPr>
          <a:xfrm>
            <a:off x="5506823" y="2408839"/>
            <a:ext cx="5846976" cy="322408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23181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1DF91F20-B96F-4F77-AC3E-2CDD3BAA10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200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3D487F7-9050-4871-B351-34A72ADB29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84" y="-1"/>
            <a:ext cx="8111296" cy="6858000"/>
          </a:xfrm>
          <a:prstGeom prst="rect">
            <a:avLst/>
          </a:prstGeom>
          <a:gradFill>
            <a:gsLst>
              <a:gs pos="8000">
                <a:srgbClr val="000000">
                  <a:alpha val="94000"/>
                </a:srgbClr>
              </a:gs>
              <a:gs pos="100000">
                <a:schemeClr val="accent1"/>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43C27DD-EF6A-4C48-9669-C2970E71A81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858281" y="-401562"/>
            <a:ext cx="6858004" cy="7661129"/>
          </a:xfrm>
          <a:prstGeom prst="rect">
            <a:avLst/>
          </a:prstGeom>
          <a:gradFill>
            <a:gsLst>
              <a:gs pos="0">
                <a:schemeClr val="accent1">
                  <a:alpha val="23000"/>
                </a:schemeClr>
              </a:gs>
              <a:gs pos="71000">
                <a:schemeClr val="accent1">
                  <a:lumMod val="50000"/>
                  <a:alpha val="0"/>
                </a:schemeClr>
              </a:gs>
              <a:gs pos="100000">
                <a:srgbClr val="000000">
                  <a:alpha val="0"/>
                </a:srgb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C84384FE-1C88-4CAA-8FB8-2313A3AE73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519" y="-1"/>
            <a:ext cx="8118331" cy="6858000"/>
          </a:xfrm>
          <a:prstGeom prst="rect">
            <a:avLst/>
          </a:prstGeom>
          <a:gradFill>
            <a:gsLst>
              <a:gs pos="14000">
                <a:schemeClr val="accent1">
                  <a:alpha val="0"/>
                </a:schemeClr>
              </a:gs>
              <a:gs pos="100000">
                <a:srgbClr val="000000">
                  <a:alpha val="82000"/>
                </a:srgb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87B6A113-58CD-406C-BCE4-6E1F1F2BE6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449520">
            <a:off x="2569700" y="983306"/>
            <a:ext cx="5005754" cy="5005754"/>
          </a:xfrm>
          <a:prstGeom prst="ellipse">
            <a:avLst/>
          </a:prstGeom>
          <a:gradFill>
            <a:gsLst>
              <a:gs pos="17000">
                <a:schemeClr val="accent1">
                  <a:lumMod val="75000"/>
                  <a:alpha val="0"/>
                </a:schemeClr>
              </a:gs>
              <a:gs pos="82000">
                <a:srgbClr val="000000">
                  <a:alpha val="24000"/>
                </a:srgb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a:xfrm>
            <a:off x="1011948" y="857251"/>
            <a:ext cx="7105898" cy="3160113"/>
          </a:xfrm>
        </p:spPr>
        <p:txBody>
          <a:bodyPr vert="horz" lIns="91440" tIns="45720" rIns="91440" bIns="45720" rtlCol="0" anchor="b">
            <a:normAutofit/>
          </a:bodyPr>
          <a:lstStyle/>
          <a:p>
            <a:r>
              <a:rPr lang="de-DE" sz="4800" b="1" kern="1200" dirty="0">
                <a:solidFill>
                  <a:srgbClr val="FFFFFF"/>
                </a:solidFill>
                <a:latin typeface="Aptos Display" panose="020B0004020202020204" pitchFamily="34" charset="0"/>
              </a:rPr>
              <a:t>Neues in Microsoft Teams</a:t>
            </a:r>
            <a:br>
              <a:rPr lang="de-DE" sz="4800" b="1" kern="1200" dirty="0">
                <a:solidFill>
                  <a:srgbClr val="FFFFFF"/>
                </a:solidFill>
                <a:latin typeface="Aptos Display" panose="020B0004020202020204" pitchFamily="34" charset="0"/>
              </a:rPr>
            </a:br>
            <a:r>
              <a:rPr lang="de-DE" sz="4800" b="1" kern="1200" dirty="0">
                <a:solidFill>
                  <a:srgbClr val="FFFFFF"/>
                </a:solidFill>
                <a:latin typeface="Aptos Display" panose="020B0004020202020204" pitchFamily="34" charset="0"/>
              </a:rPr>
              <a:t>Ankündigungen &amp; Rollouts </a:t>
            </a:r>
            <a:br>
              <a:rPr lang="de-DE" sz="4800" b="1" kern="1200" dirty="0">
                <a:solidFill>
                  <a:srgbClr val="FFFFFF"/>
                </a:solidFill>
                <a:latin typeface="Aptos Display" panose="020B0004020202020204" pitchFamily="34" charset="0"/>
              </a:rPr>
            </a:br>
            <a:r>
              <a:rPr lang="de-DE" sz="4800" b="1" kern="1200" dirty="0">
                <a:solidFill>
                  <a:srgbClr val="FFFFFF"/>
                </a:solidFill>
                <a:latin typeface="Aptos Display" panose="020B0004020202020204" pitchFamily="34" charset="0"/>
              </a:rPr>
              <a:t>für Admins</a:t>
            </a:r>
            <a:endParaRPr lang="en-US" sz="4800" kern="1200" dirty="0">
              <a:solidFill>
                <a:srgbClr val="FFFFFF"/>
              </a:solidFill>
              <a:latin typeface="Aptos Display" panose="020B0004020202020204" pitchFamily="34" charset="0"/>
            </a:endParaRPr>
          </a:p>
        </p:txBody>
      </p:sp>
      <p:sp>
        <p:nvSpPr>
          <p:cNvPr id="20" name="Rectangle 19">
            <a:extLst>
              <a:ext uri="{FF2B5EF4-FFF2-40B4-BE49-F238E27FC236}">
                <a16:creationId xmlns:a16="http://schemas.microsoft.com/office/drawing/2014/main" id="{05A1AA86-B7E6-4C02-AA34-F1A25CD4CC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518" y="4354178"/>
            <a:ext cx="8118330" cy="2503817"/>
          </a:xfrm>
          <a:prstGeom prst="rect">
            <a:avLst/>
          </a:prstGeom>
          <a:gradFill>
            <a:gsLst>
              <a:gs pos="0">
                <a:schemeClr val="accent1">
                  <a:lumMod val="75000"/>
                  <a:alpha val="33000"/>
                </a:schemeClr>
              </a:gs>
              <a:gs pos="83000">
                <a:srgbClr val="000000">
                  <a:alpha val="21000"/>
                </a:srgb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a:xfrm>
            <a:off x="1105661" y="4800600"/>
            <a:ext cx="5179879" cy="1200149"/>
          </a:xfrm>
        </p:spPr>
        <p:txBody>
          <a:bodyPr vert="horz" lIns="91440" tIns="45720" rIns="91440" bIns="45720" rtlCol="0" anchor="t">
            <a:normAutofit/>
          </a:bodyPr>
          <a:lstStyle/>
          <a:p>
            <a:r>
              <a:rPr lang="en-US" i="1" kern="1200" dirty="0">
                <a:solidFill>
                  <a:srgbClr val="FFFFFF"/>
                </a:solidFill>
                <a:latin typeface="Aptos Display" panose="020B0004020202020204" pitchFamily="34" charset="0"/>
              </a:rPr>
              <a:t>Meetup #29</a:t>
            </a:r>
          </a:p>
          <a:p>
            <a:br>
              <a:rPr lang="en-US" i="1" dirty="0">
                <a:solidFill>
                  <a:srgbClr val="FFFFFF"/>
                </a:solidFill>
                <a:latin typeface="Aptos Display" panose="020B0004020202020204" pitchFamily="34" charset="0"/>
              </a:rPr>
            </a:br>
            <a:r>
              <a:rPr lang="en-US" i="1" dirty="0">
                <a:solidFill>
                  <a:srgbClr val="FFFFFF"/>
                </a:solidFill>
                <a:latin typeface="Aptos Display" panose="020B0004020202020204" pitchFamily="34" charset="0"/>
              </a:rPr>
              <a:t>Thomas Stensitzki</a:t>
            </a:r>
          </a:p>
        </p:txBody>
      </p:sp>
      <p:pic>
        <p:nvPicPr>
          <p:cNvPr id="2" name="Grafik 1" descr="Ein Bild, das Symbol, Logo, Grafiken, Screenshot enthält.&#10;&#10;Automatisch generierte Beschreibung">
            <a:extLst>
              <a:ext uri="{FF2B5EF4-FFF2-40B4-BE49-F238E27FC236}">
                <a16:creationId xmlns:a16="http://schemas.microsoft.com/office/drawing/2014/main" id="{2D4F20BA-957A-E4A8-5973-4395A78430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60981" y="1842090"/>
            <a:ext cx="3173819" cy="3173819"/>
          </a:xfrm>
          <a:prstGeom prst="rect">
            <a:avLst/>
          </a:prstGeom>
        </p:spPr>
      </p:pic>
      <p:pic>
        <p:nvPicPr>
          <p:cNvPr id="3" name="Grafik 2">
            <a:extLst>
              <a:ext uri="{FF2B5EF4-FFF2-40B4-BE49-F238E27FC236}">
                <a16:creationId xmlns:a16="http://schemas.microsoft.com/office/drawing/2014/main" id="{C238D38B-E0A5-0149-AE47-F37690A7AA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05320" y="5167229"/>
            <a:ext cx="4086680" cy="2043340"/>
          </a:xfrm>
          <a:prstGeom prst="rect">
            <a:avLst/>
          </a:prstGeom>
        </p:spPr>
      </p:pic>
      <p:sp>
        <p:nvSpPr>
          <p:cNvPr id="6" name="Textfeld 5">
            <a:extLst>
              <a:ext uri="{FF2B5EF4-FFF2-40B4-BE49-F238E27FC236}">
                <a16:creationId xmlns:a16="http://schemas.microsoft.com/office/drawing/2014/main" id="{600961AA-14F1-DE21-25E2-ADA3197DB246}"/>
              </a:ext>
            </a:extLst>
          </p:cNvPr>
          <p:cNvSpPr txBox="1"/>
          <p:nvPr/>
        </p:nvSpPr>
        <p:spPr>
          <a:xfrm rot="20570296">
            <a:off x="7579340" y="4374821"/>
            <a:ext cx="5135671" cy="1323439"/>
          </a:xfrm>
          <a:prstGeom prst="rect">
            <a:avLst/>
          </a:prstGeom>
          <a:noFill/>
        </p:spPr>
        <p:txBody>
          <a:bodyPr wrap="square" rtlCol="0">
            <a:spAutoFit/>
          </a:bodyPr>
          <a:lstStyle/>
          <a:p>
            <a:pPr algn="ctr"/>
            <a:r>
              <a:rPr lang="en-US" sz="80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Aptos" panose="020B0004020202020204" pitchFamily="34" charset="0"/>
              </a:rPr>
              <a:t>Updates</a:t>
            </a:r>
          </a:p>
        </p:txBody>
      </p:sp>
      <p:sp>
        <p:nvSpPr>
          <p:cNvPr id="7" name="Fußzeilenplatzhalter 4">
            <a:extLst>
              <a:ext uri="{FF2B5EF4-FFF2-40B4-BE49-F238E27FC236}">
                <a16:creationId xmlns:a16="http://schemas.microsoft.com/office/drawing/2014/main" id="{8DF7C088-00D2-48E3-52D4-5E1AA09C31AC}"/>
              </a:ext>
            </a:extLst>
          </p:cNvPr>
          <p:cNvSpPr txBox="1">
            <a:spLocks/>
          </p:cNvSpPr>
          <p:nvPr/>
        </p:nvSpPr>
        <p:spPr>
          <a:xfrm>
            <a:off x="838199" y="6492875"/>
            <a:ext cx="5385619"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latin typeface="Aptos" panose="020B0004020202020204" pitchFamily="34" charset="0"/>
              </a:rPr>
              <a:t>@teamsugberlin.bsky.social #MicrosoftTeams #TeamsUGBerlin</a:t>
            </a:r>
          </a:p>
        </p:txBody>
      </p:sp>
    </p:spTree>
    <p:extLst>
      <p:ext uri="{BB962C8B-B14F-4D97-AF65-F5344CB8AC3E}">
        <p14:creationId xmlns:p14="http://schemas.microsoft.com/office/powerpoint/2010/main" val="894278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p:txBody>
          <a:bodyPr>
            <a:normAutofit/>
          </a:bodyPr>
          <a:lstStyle/>
          <a:p>
            <a:r>
              <a:rPr lang="de-DE" dirty="0"/>
              <a:t>Neues in Microsoft Teams</a:t>
            </a:r>
            <a:br>
              <a:rPr lang="de-DE" dirty="0"/>
            </a:br>
            <a:r>
              <a:rPr lang="de-DE" dirty="0"/>
              <a:t>Ankündigungen &amp; Rollouts </a:t>
            </a:r>
            <a:br>
              <a:rPr lang="de-DE" dirty="0"/>
            </a:br>
            <a:r>
              <a:rPr lang="de-DE" dirty="0"/>
              <a:t>für Admins</a:t>
            </a:r>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p:txBody>
          <a:bodyPr/>
          <a:lstStyle/>
          <a:p>
            <a:r>
              <a:rPr lang="de-DE" dirty="0"/>
              <a:t>Meetup #28 </a:t>
            </a:r>
            <a:br>
              <a:rPr lang="de-DE" dirty="0"/>
            </a:br>
            <a:br>
              <a:rPr lang="de-DE" dirty="0"/>
            </a:br>
            <a:r>
              <a:rPr lang="de-DE" dirty="0"/>
              <a:t>Thomas Stensitzki</a:t>
            </a:r>
          </a:p>
        </p:txBody>
      </p:sp>
      <p:sp>
        <p:nvSpPr>
          <p:cNvPr id="2" name="Textfeld 1">
            <a:extLst>
              <a:ext uri="{FF2B5EF4-FFF2-40B4-BE49-F238E27FC236}">
                <a16:creationId xmlns:a16="http://schemas.microsoft.com/office/drawing/2014/main" id="{A0204B4B-AC00-4A91-B83C-FDA5915CC9E5}"/>
              </a:ext>
            </a:extLst>
          </p:cNvPr>
          <p:cNvSpPr txBox="1"/>
          <p:nvPr/>
        </p:nvSpPr>
        <p:spPr>
          <a:xfrm rot="20570296">
            <a:off x="6143557" y="3927744"/>
            <a:ext cx="5135671" cy="1323439"/>
          </a:xfrm>
          <a:prstGeom prst="rect">
            <a:avLst/>
          </a:prstGeom>
          <a:noFill/>
        </p:spPr>
        <p:txBody>
          <a:bodyPr wrap="square" rtlCol="0">
            <a:spAutoFit/>
          </a:bodyPr>
          <a:lstStyle/>
          <a:p>
            <a:pPr algn="ctr"/>
            <a:r>
              <a:rPr lang="en-US" sz="80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Aptos" panose="020B0004020202020204" pitchFamily="34" charset="0"/>
              </a:rPr>
              <a:t>Updates</a:t>
            </a:r>
          </a:p>
        </p:txBody>
      </p:sp>
      <p:pic>
        <p:nvPicPr>
          <p:cNvPr id="3" name="Grafik 2" descr="Ein Bild, das Symbol, Logo, Grafiken, Screenshot enthält.&#10;&#10;Automatisch generierte Beschreibung">
            <a:extLst>
              <a:ext uri="{FF2B5EF4-FFF2-40B4-BE49-F238E27FC236}">
                <a16:creationId xmlns:a16="http://schemas.microsoft.com/office/drawing/2014/main" id="{C61DC060-45E2-C7DD-1E04-4E20BAFB2F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089" y="0"/>
            <a:ext cx="2438400" cy="2438400"/>
          </a:xfrm>
          <a:prstGeom prst="rect">
            <a:avLst/>
          </a:prstGeom>
        </p:spPr>
      </p:pic>
    </p:spTree>
    <p:extLst>
      <p:ext uri="{BB962C8B-B14F-4D97-AF65-F5344CB8AC3E}">
        <p14:creationId xmlns:p14="http://schemas.microsoft.com/office/powerpoint/2010/main" val="196247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Tenant-wide policy for permission to download meeting transcription</a:t>
            </a:r>
          </a:p>
          <a:p>
            <a:r>
              <a:rPr lang="en-US" dirty="0"/>
              <a:t>Tags in Shared Channels for Microsoft Teams</a:t>
            </a:r>
          </a:p>
          <a:p>
            <a:r>
              <a:rPr lang="en-US" dirty="0"/>
              <a:t>In-meeting Error Messaging</a:t>
            </a:r>
          </a:p>
          <a:p>
            <a:r>
              <a:rPr lang="en-US" dirty="0"/>
              <a:t>Ensuring Enhanced Noise Suppression and other advanced features work as expected</a:t>
            </a:r>
          </a:p>
          <a:p>
            <a:r>
              <a:rPr lang="en-US" dirty="0"/>
              <a:t>Changes to Administrator Permissions Required to Create and Manage Teams Resource Accounts</a:t>
            </a:r>
          </a:p>
          <a:p>
            <a:r>
              <a:rPr lang="en-US" dirty="0"/>
              <a:t>Simplified sign in for iOS and Android device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1825624"/>
            <a:ext cx="10515600" cy="881000"/>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63761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0E1287-4214-3C20-F539-22E7A47A61DD}"/>
              </a:ext>
            </a:extLst>
          </p:cNvPr>
          <p:cNvSpPr>
            <a:spLocks noGrp="1"/>
          </p:cNvSpPr>
          <p:nvPr>
            <p:ph type="title"/>
          </p:nvPr>
        </p:nvSpPr>
        <p:spPr/>
        <p:txBody>
          <a:bodyPr/>
          <a:lstStyle/>
          <a:p>
            <a:r>
              <a:rPr lang="en-US" dirty="0"/>
              <a:t>Tenant-wide policy for permission to download meeting transcription</a:t>
            </a:r>
          </a:p>
        </p:txBody>
      </p:sp>
      <p:sp>
        <p:nvSpPr>
          <p:cNvPr id="3" name="Inhaltsplatzhalter 2">
            <a:extLst>
              <a:ext uri="{FF2B5EF4-FFF2-40B4-BE49-F238E27FC236}">
                <a16:creationId xmlns:a16="http://schemas.microsoft.com/office/drawing/2014/main" id="{38DA84FD-5E8C-5F4D-D385-FE9D2942E0B2}"/>
              </a:ext>
            </a:extLst>
          </p:cNvPr>
          <p:cNvSpPr>
            <a:spLocks noGrp="1"/>
          </p:cNvSpPr>
          <p:nvPr>
            <p:ph idx="1"/>
          </p:nvPr>
        </p:nvSpPr>
        <p:spPr/>
        <p:txBody>
          <a:bodyPr/>
          <a:lstStyle/>
          <a:p>
            <a:r>
              <a:rPr lang="de-DE" dirty="0"/>
              <a:t>Richtlinie zur Kontrolle des Downloads von Transkripten</a:t>
            </a:r>
          </a:p>
          <a:p>
            <a:r>
              <a:rPr lang="de-DE" dirty="0"/>
              <a:t>Admin-kontrollierte Ausnahmen per Sicherheitsgruppe</a:t>
            </a:r>
          </a:p>
          <a:p>
            <a:r>
              <a:rPr lang="de-DE" dirty="0"/>
              <a:t>Standardberechtigung für Transskripte wird nach Rollout angepasst</a:t>
            </a:r>
          </a:p>
          <a:p>
            <a:r>
              <a:rPr lang="de-DE" dirty="0" err="1"/>
              <a:t>Targeted</a:t>
            </a:r>
            <a:r>
              <a:rPr lang="de-DE" dirty="0"/>
              <a:t> Release: Mai 2024</a:t>
            </a:r>
          </a:p>
          <a:p>
            <a:r>
              <a:rPr lang="de-DE" dirty="0"/>
              <a:t>GA: August 2024</a:t>
            </a:r>
          </a:p>
        </p:txBody>
      </p:sp>
    </p:spTree>
    <p:extLst>
      <p:ext uri="{BB962C8B-B14F-4D97-AF65-F5344CB8AC3E}">
        <p14:creationId xmlns:p14="http://schemas.microsoft.com/office/powerpoint/2010/main" val="201523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Tenant-wide policy for permission to download meeting transcription</a:t>
            </a:r>
          </a:p>
          <a:p>
            <a:r>
              <a:rPr lang="en-US" dirty="0"/>
              <a:t>Tags in Shared Channels for Microsoft Teams</a:t>
            </a:r>
          </a:p>
          <a:p>
            <a:r>
              <a:rPr lang="en-US" dirty="0"/>
              <a:t>In-meeting Error Messaging</a:t>
            </a:r>
          </a:p>
          <a:p>
            <a:r>
              <a:rPr lang="en-US" dirty="0"/>
              <a:t>Ensuring Enhanced Noise Suppression and other advanced features work as expected</a:t>
            </a:r>
          </a:p>
          <a:p>
            <a:r>
              <a:rPr lang="en-US" dirty="0"/>
              <a:t>Changes to Administrator Permissions Required to Create and Manage Teams Resource Accounts</a:t>
            </a:r>
          </a:p>
          <a:p>
            <a:r>
              <a:rPr lang="en-US" dirty="0"/>
              <a:t>Simplified sign in for iOS and Android device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2657139"/>
            <a:ext cx="10515600" cy="565852"/>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272736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Tenant-wide policy for permission to download meeting transcription</a:t>
            </a:r>
          </a:p>
          <a:p>
            <a:r>
              <a:rPr lang="en-US" dirty="0"/>
              <a:t>Tags in Shared Channels for Microsoft Teams</a:t>
            </a:r>
          </a:p>
          <a:p>
            <a:r>
              <a:rPr lang="en-US" dirty="0"/>
              <a:t>In-meeting Error Messaging</a:t>
            </a:r>
          </a:p>
          <a:p>
            <a:r>
              <a:rPr lang="en-US" dirty="0"/>
              <a:t>Ensuring Enhanced Noise Suppression and other advanced features work as expected</a:t>
            </a:r>
          </a:p>
          <a:p>
            <a:r>
              <a:rPr lang="en-US" dirty="0"/>
              <a:t>Changes to Administrator Permissions Required to Create and Manage Teams Resource Accounts</a:t>
            </a:r>
          </a:p>
          <a:p>
            <a:r>
              <a:rPr lang="en-US" dirty="0"/>
              <a:t>Simplified sign in for iOS and Android device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3146074"/>
            <a:ext cx="10515600" cy="565852"/>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98313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Tenant-wide policy for permission to download meeting transcription</a:t>
            </a:r>
          </a:p>
          <a:p>
            <a:r>
              <a:rPr lang="en-US" dirty="0"/>
              <a:t>Tags in Shared Channels for Microsoft Teams</a:t>
            </a:r>
          </a:p>
          <a:p>
            <a:r>
              <a:rPr lang="en-US" dirty="0"/>
              <a:t>In-meeting Error Messaging</a:t>
            </a:r>
          </a:p>
          <a:p>
            <a:r>
              <a:rPr lang="en-US" dirty="0"/>
              <a:t>Ensuring Enhanced Noise Suppression and other advanced features work as expected</a:t>
            </a:r>
          </a:p>
          <a:p>
            <a:r>
              <a:rPr lang="en-US" dirty="0"/>
              <a:t>Changes to Administrator Permissions Required to Create and Manage Teams Resource Accounts</a:t>
            </a:r>
          </a:p>
          <a:p>
            <a:r>
              <a:rPr lang="en-US" dirty="0"/>
              <a:t>Simplified sign in for iOS and Android device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3694713"/>
            <a:ext cx="10515600" cy="920317"/>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67935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F5F249-20AE-084E-0937-4EF481735628}"/>
              </a:ext>
            </a:extLst>
          </p:cNvPr>
          <p:cNvSpPr>
            <a:spLocks noGrp="1"/>
          </p:cNvSpPr>
          <p:nvPr>
            <p:ph type="title"/>
          </p:nvPr>
        </p:nvSpPr>
        <p:spPr/>
        <p:txBody>
          <a:bodyPr/>
          <a:lstStyle/>
          <a:p>
            <a:r>
              <a:rPr lang="en-US" dirty="0"/>
              <a:t>Ensuring Enhanced Noise Suppression and other advanced features work as expected</a:t>
            </a:r>
          </a:p>
        </p:txBody>
      </p:sp>
      <p:sp>
        <p:nvSpPr>
          <p:cNvPr id="3" name="Inhaltsplatzhalter 2">
            <a:extLst>
              <a:ext uri="{FF2B5EF4-FFF2-40B4-BE49-F238E27FC236}">
                <a16:creationId xmlns:a16="http://schemas.microsoft.com/office/drawing/2014/main" id="{AA6D3400-340E-0494-3C24-5E2C179AA150}"/>
              </a:ext>
            </a:extLst>
          </p:cNvPr>
          <p:cNvSpPr>
            <a:spLocks noGrp="1"/>
          </p:cNvSpPr>
          <p:nvPr>
            <p:ph idx="1"/>
          </p:nvPr>
        </p:nvSpPr>
        <p:spPr/>
        <p:txBody>
          <a:bodyPr/>
          <a:lstStyle/>
          <a:p>
            <a:r>
              <a:rPr lang="de-DE" dirty="0"/>
              <a:t>Erreichbarkeit von für alle User</a:t>
            </a:r>
          </a:p>
          <a:p>
            <a:r>
              <a:rPr lang="de-DE" dirty="0">
                <a:sym typeface="Wingdings" panose="05000000000000000000" pitchFamily="2" charset="2"/>
              </a:rPr>
              <a:t> https://aiinfrastructure.static.microsoft </a:t>
            </a:r>
          </a:p>
          <a:p>
            <a:endParaRPr lang="de-DE" dirty="0">
              <a:sym typeface="Wingdings" panose="05000000000000000000" pitchFamily="2" charset="2"/>
            </a:endParaRPr>
          </a:p>
          <a:p>
            <a:endParaRPr lang="de-DE" dirty="0"/>
          </a:p>
          <a:p>
            <a:endParaRPr lang="de-DE" dirty="0"/>
          </a:p>
        </p:txBody>
      </p:sp>
      <p:graphicFrame>
        <p:nvGraphicFramePr>
          <p:cNvPr id="4" name="Tabelle 3">
            <a:extLst>
              <a:ext uri="{FF2B5EF4-FFF2-40B4-BE49-F238E27FC236}">
                <a16:creationId xmlns:a16="http://schemas.microsoft.com/office/drawing/2014/main" id="{64409703-5763-0BF8-253C-6B7154AD953B}"/>
              </a:ext>
            </a:extLst>
          </p:cNvPr>
          <p:cNvGraphicFramePr>
            <a:graphicFrameLocks noGrp="1"/>
          </p:cNvGraphicFramePr>
          <p:nvPr>
            <p:extLst>
              <p:ext uri="{D42A27DB-BD31-4B8C-83A1-F6EECF244321}">
                <p14:modId xmlns:p14="http://schemas.microsoft.com/office/powerpoint/2010/main" val="71346649"/>
              </p:ext>
            </p:extLst>
          </p:nvPr>
        </p:nvGraphicFramePr>
        <p:xfrm>
          <a:off x="838200" y="3633655"/>
          <a:ext cx="10823530" cy="1554480"/>
        </p:xfrm>
        <a:graphic>
          <a:graphicData uri="http://schemas.openxmlformats.org/drawingml/2006/table">
            <a:tbl>
              <a:tblPr firstRow="1">
                <a:tableStyleId>{793D81CF-94F2-401A-BA57-92F5A7B2D0C5}</a:tableStyleId>
              </a:tblPr>
              <a:tblGrid>
                <a:gridCol w="2164706">
                  <a:extLst>
                    <a:ext uri="{9D8B030D-6E8A-4147-A177-3AD203B41FA5}">
                      <a16:colId xmlns:a16="http://schemas.microsoft.com/office/drawing/2014/main" val="1015427479"/>
                    </a:ext>
                  </a:extLst>
                </a:gridCol>
                <a:gridCol w="2164706">
                  <a:extLst>
                    <a:ext uri="{9D8B030D-6E8A-4147-A177-3AD203B41FA5}">
                      <a16:colId xmlns:a16="http://schemas.microsoft.com/office/drawing/2014/main" val="2059149131"/>
                    </a:ext>
                  </a:extLst>
                </a:gridCol>
                <a:gridCol w="2164706">
                  <a:extLst>
                    <a:ext uri="{9D8B030D-6E8A-4147-A177-3AD203B41FA5}">
                      <a16:colId xmlns:a16="http://schemas.microsoft.com/office/drawing/2014/main" val="4169068167"/>
                    </a:ext>
                  </a:extLst>
                </a:gridCol>
                <a:gridCol w="2164706">
                  <a:extLst>
                    <a:ext uri="{9D8B030D-6E8A-4147-A177-3AD203B41FA5}">
                      <a16:colId xmlns:a16="http://schemas.microsoft.com/office/drawing/2014/main" val="1846897831"/>
                    </a:ext>
                  </a:extLst>
                </a:gridCol>
                <a:gridCol w="2164706">
                  <a:extLst>
                    <a:ext uri="{9D8B030D-6E8A-4147-A177-3AD203B41FA5}">
                      <a16:colId xmlns:a16="http://schemas.microsoft.com/office/drawing/2014/main" val="1974360373"/>
                    </a:ext>
                  </a:extLst>
                </a:gridCol>
              </a:tblGrid>
              <a:tr h="0">
                <a:tc>
                  <a:txBody>
                    <a:bodyPr/>
                    <a:lstStyle/>
                    <a:p>
                      <a:pPr algn="l" fontAlgn="t"/>
                      <a:r>
                        <a:rPr lang="de-DE" dirty="0">
                          <a:effectLst/>
                        </a:rPr>
                        <a:t>ID</a:t>
                      </a:r>
                    </a:p>
                  </a:txBody>
                  <a:tcPr/>
                </a:tc>
                <a:tc>
                  <a:txBody>
                    <a:bodyPr/>
                    <a:lstStyle/>
                    <a:p>
                      <a:pPr algn="l" fontAlgn="t"/>
                      <a:r>
                        <a:rPr lang="de-DE" dirty="0">
                          <a:effectLst/>
                        </a:rPr>
                        <a:t>Kategorie</a:t>
                      </a:r>
                    </a:p>
                  </a:txBody>
                  <a:tcPr/>
                </a:tc>
                <a:tc>
                  <a:txBody>
                    <a:bodyPr/>
                    <a:lstStyle/>
                    <a:p>
                      <a:pPr algn="l" fontAlgn="t"/>
                      <a:r>
                        <a:rPr lang="de-DE" dirty="0">
                          <a:effectLst/>
                        </a:rPr>
                        <a:t>ER </a:t>
                      </a:r>
                      <a:r>
                        <a:rPr lang="de-DE" b="0" dirty="0">
                          <a:effectLst/>
                        </a:rPr>
                        <a:t>(ExpressRoute)</a:t>
                      </a:r>
                    </a:p>
                  </a:txBody>
                  <a:tcPr/>
                </a:tc>
                <a:tc>
                  <a:txBody>
                    <a:bodyPr/>
                    <a:lstStyle/>
                    <a:p>
                      <a:pPr algn="l" fontAlgn="t"/>
                      <a:r>
                        <a:rPr lang="de-DE" dirty="0" err="1">
                          <a:effectLst/>
                        </a:rPr>
                        <a:t>Addressen</a:t>
                      </a:r>
                      <a:endParaRPr lang="de-DE" dirty="0">
                        <a:effectLst/>
                      </a:endParaRPr>
                    </a:p>
                  </a:txBody>
                  <a:tcPr/>
                </a:tc>
                <a:tc>
                  <a:txBody>
                    <a:bodyPr/>
                    <a:lstStyle/>
                    <a:p>
                      <a:pPr algn="l" fontAlgn="t"/>
                      <a:r>
                        <a:rPr lang="de-DE" dirty="0">
                          <a:effectLst/>
                        </a:rPr>
                        <a:t>Ports</a:t>
                      </a:r>
                    </a:p>
                  </a:txBody>
                  <a:tcPr/>
                </a:tc>
                <a:extLst>
                  <a:ext uri="{0D108BD9-81ED-4DB2-BD59-A6C34878D82A}">
                    <a16:rowId xmlns:a16="http://schemas.microsoft.com/office/drawing/2014/main" val="3474978640"/>
                  </a:ext>
                </a:extLst>
              </a:tr>
              <a:tr h="0">
                <a:tc>
                  <a:txBody>
                    <a:bodyPr/>
                    <a:lstStyle/>
                    <a:p>
                      <a:pPr algn="l" fontAlgn="t"/>
                      <a:r>
                        <a:rPr lang="de-DE" dirty="0">
                          <a:effectLst/>
                        </a:rPr>
                        <a:t>184</a:t>
                      </a:r>
                    </a:p>
                  </a:txBody>
                  <a:tcPr/>
                </a:tc>
                <a:tc>
                  <a:txBody>
                    <a:bodyPr/>
                    <a:lstStyle/>
                    <a:p>
                      <a:pPr algn="l" fontAlgn="t"/>
                      <a:r>
                        <a:rPr lang="de-DE">
                          <a:effectLst/>
                        </a:rPr>
                        <a:t>Standard</a:t>
                      </a:r>
                      <a:br>
                        <a:rPr lang="de-DE">
                          <a:effectLst/>
                        </a:rPr>
                      </a:br>
                      <a:r>
                        <a:rPr lang="de-DE">
                          <a:effectLst/>
                        </a:rPr>
                        <a:t>Erforderlich</a:t>
                      </a:r>
                    </a:p>
                  </a:txBody>
                  <a:tcPr/>
                </a:tc>
                <a:tc>
                  <a:txBody>
                    <a:bodyPr/>
                    <a:lstStyle/>
                    <a:p>
                      <a:pPr algn="l" fontAlgn="t"/>
                      <a:r>
                        <a:rPr lang="de-DE" dirty="0">
                          <a:effectLst/>
                        </a:rPr>
                        <a:t>Nein</a:t>
                      </a:r>
                    </a:p>
                  </a:txBody>
                  <a:tcPr/>
                </a:tc>
                <a:tc>
                  <a:txBody>
                    <a:bodyPr/>
                    <a:lstStyle/>
                    <a:p>
                      <a:pPr algn="l" fontAlgn="t"/>
                      <a:r>
                        <a:rPr lang="de-DE">
                          <a:effectLst/>
                        </a:rPr>
                        <a:t>*.cloud.microsoft, *.static.microsoft, *.usercontent.microsoft</a:t>
                      </a:r>
                    </a:p>
                  </a:txBody>
                  <a:tcPr/>
                </a:tc>
                <a:tc>
                  <a:txBody>
                    <a:bodyPr/>
                    <a:lstStyle/>
                    <a:p>
                      <a:pPr algn="l" fontAlgn="t"/>
                      <a:r>
                        <a:rPr lang="de-DE" b="1" dirty="0">
                          <a:effectLst/>
                        </a:rPr>
                        <a:t>TCP:</a:t>
                      </a:r>
                      <a:r>
                        <a:rPr lang="de-DE" dirty="0">
                          <a:effectLst/>
                        </a:rPr>
                        <a:t> 443, 80</a:t>
                      </a:r>
                    </a:p>
                  </a:txBody>
                  <a:tcPr/>
                </a:tc>
                <a:extLst>
                  <a:ext uri="{0D108BD9-81ED-4DB2-BD59-A6C34878D82A}">
                    <a16:rowId xmlns:a16="http://schemas.microsoft.com/office/drawing/2014/main" val="1769637179"/>
                  </a:ext>
                </a:extLst>
              </a:tr>
            </a:tbl>
          </a:graphicData>
        </a:graphic>
      </p:graphicFrame>
      <p:sp>
        <p:nvSpPr>
          <p:cNvPr id="5" name="Textfeld 4">
            <a:extLst>
              <a:ext uri="{FF2B5EF4-FFF2-40B4-BE49-F238E27FC236}">
                <a16:creationId xmlns:a16="http://schemas.microsoft.com/office/drawing/2014/main" id="{76A5AED0-1CCA-759E-B253-8F9837733449}"/>
              </a:ext>
            </a:extLst>
          </p:cNvPr>
          <p:cNvSpPr txBox="1"/>
          <p:nvPr/>
        </p:nvSpPr>
        <p:spPr>
          <a:xfrm>
            <a:off x="838200" y="6098404"/>
            <a:ext cx="5260931" cy="369332"/>
          </a:xfrm>
          <a:prstGeom prst="rect">
            <a:avLst/>
          </a:prstGeom>
          <a:noFill/>
        </p:spPr>
        <p:txBody>
          <a:bodyPr wrap="square" rtlCol="0">
            <a:spAutoFit/>
          </a:bodyPr>
          <a:lstStyle/>
          <a:p>
            <a:r>
              <a:rPr lang="en-US" dirty="0">
                <a:hlinkClick r:id="rId3"/>
              </a:rPr>
              <a:t>Microsoft 365-URLs und IP-</a:t>
            </a:r>
            <a:r>
              <a:rPr lang="en-US" dirty="0" err="1">
                <a:hlinkClick r:id="rId3"/>
              </a:rPr>
              <a:t>Adressbereiche</a:t>
            </a:r>
            <a:endParaRPr lang="en-US" dirty="0"/>
          </a:p>
        </p:txBody>
      </p:sp>
    </p:spTree>
    <p:extLst>
      <p:ext uri="{BB962C8B-B14F-4D97-AF65-F5344CB8AC3E}">
        <p14:creationId xmlns:p14="http://schemas.microsoft.com/office/powerpoint/2010/main" val="1847631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A307F5-9AEA-40BD-A880-754C7400F523}"/>
              </a:ext>
            </a:extLst>
          </p:cNvPr>
          <p:cNvSpPr>
            <a:spLocks noGrp="1"/>
          </p:cNvSpPr>
          <p:nvPr>
            <p:ph type="title"/>
          </p:nvPr>
        </p:nvSpPr>
        <p:spPr/>
        <p:txBody>
          <a:bodyPr/>
          <a:lstStyle/>
          <a:p>
            <a:r>
              <a:rPr lang="de-DE"/>
              <a:t>Agenda</a:t>
            </a:r>
          </a:p>
        </p:txBody>
      </p:sp>
      <p:graphicFrame>
        <p:nvGraphicFramePr>
          <p:cNvPr id="6" name="Tabelle 6">
            <a:extLst>
              <a:ext uri="{FF2B5EF4-FFF2-40B4-BE49-F238E27FC236}">
                <a16:creationId xmlns:a16="http://schemas.microsoft.com/office/drawing/2014/main" id="{0F955DCC-462D-431D-BBDE-26F10687D590}"/>
              </a:ext>
            </a:extLst>
          </p:cNvPr>
          <p:cNvGraphicFramePr>
            <a:graphicFrameLocks noGrp="1"/>
          </p:cNvGraphicFramePr>
          <p:nvPr>
            <p:extLst>
              <p:ext uri="{D42A27DB-BD31-4B8C-83A1-F6EECF244321}">
                <p14:modId xmlns:p14="http://schemas.microsoft.com/office/powerpoint/2010/main" val="3699047720"/>
              </p:ext>
            </p:extLst>
          </p:nvPr>
        </p:nvGraphicFramePr>
        <p:xfrm>
          <a:off x="838199" y="1586441"/>
          <a:ext cx="10515600" cy="2926080"/>
        </p:xfrm>
        <a:graphic>
          <a:graphicData uri="http://schemas.openxmlformats.org/drawingml/2006/table">
            <a:tbl>
              <a:tblPr firstRow="1" bandRow="1">
                <a:tableStyleId>{22838BEF-8BB2-4498-84A7-C5851F593DF1}</a:tableStyleId>
              </a:tblPr>
              <a:tblGrid>
                <a:gridCol w="1876426">
                  <a:extLst>
                    <a:ext uri="{9D8B030D-6E8A-4147-A177-3AD203B41FA5}">
                      <a16:colId xmlns:a16="http://schemas.microsoft.com/office/drawing/2014/main" val="990303985"/>
                    </a:ext>
                  </a:extLst>
                </a:gridCol>
                <a:gridCol w="8639174">
                  <a:extLst>
                    <a:ext uri="{9D8B030D-6E8A-4147-A177-3AD203B41FA5}">
                      <a16:colId xmlns:a16="http://schemas.microsoft.com/office/drawing/2014/main" val="1337404191"/>
                    </a:ext>
                  </a:extLst>
                </a:gridCol>
              </a:tblGrid>
              <a:tr h="370840">
                <a:tc>
                  <a:txBody>
                    <a:bodyPr/>
                    <a:lstStyle/>
                    <a:p>
                      <a:r>
                        <a:rPr lang="de-DE" sz="2400" dirty="0">
                          <a:latin typeface="Aptos" panose="020B0004020202020204" pitchFamily="34" charset="0"/>
                        </a:rPr>
                        <a:t>18:00 - 18:15</a:t>
                      </a:r>
                    </a:p>
                  </a:txBody>
                  <a:tcPr/>
                </a:tc>
                <a:tc>
                  <a:txBody>
                    <a:bodyPr/>
                    <a:lstStyle/>
                    <a:p>
                      <a:r>
                        <a:rPr lang="de-DE" sz="2400" dirty="0">
                          <a:latin typeface="Aptos" panose="020B0004020202020204" pitchFamily="34" charset="0"/>
                        </a:rPr>
                        <a:t>Landing Zone</a:t>
                      </a:r>
                    </a:p>
                  </a:txBody>
                  <a:tcPr/>
                </a:tc>
                <a:extLst>
                  <a:ext uri="{0D108BD9-81ED-4DB2-BD59-A6C34878D82A}">
                    <a16:rowId xmlns:a16="http://schemas.microsoft.com/office/drawing/2014/main" val="3172437946"/>
                  </a:ext>
                </a:extLst>
              </a:tr>
              <a:tr h="370840">
                <a:tc>
                  <a:txBody>
                    <a:bodyPr/>
                    <a:lstStyle/>
                    <a:p>
                      <a:r>
                        <a:rPr lang="de-DE" sz="2400" dirty="0">
                          <a:latin typeface="Aptos" panose="020B0004020202020204" pitchFamily="34" charset="0"/>
                        </a:rPr>
                        <a:t>18:15 - 19: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t>Virtuelle Termine </a:t>
                      </a:r>
                      <a:br>
                        <a:rPr lang="de-DE" sz="2400" b="1" dirty="0"/>
                      </a:br>
                      <a:r>
                        <a:rPr lang="de-DE" sz="2400" b="0" dirty="0"/>
                        <a:t>Thomas Stensitzki</a:t>
                      </a:r>
                    </a:p>
                  </a:txBody>
                  <a:tcPr/>
                </a:tc>
                <a:extLst>
                  <a:ext uri="{0D108BD9-81ED-4DB2-BD59-A6C34878D82A}">
                    <a16:rowId xmlns:a16="http://schemas.microsoft.com/office/drawing/2014/main" val="4055201544"/>
                  </a:ext>
                </a:extLst>
              </a:tr>
              <a:tr h="370840">
                <a:tc>
                  <a:txBody>
                    <a:bodyPr/>
                    <a:lstStyle/>
                    <a:p>
                      <a:r>
                        <a:rPr lang="de-DE" sz="2400" dirty="0">
                          <a:latin typeface="Aptos" panose="020B0004020202020204" pitchFamily="34" charset="0"/>
                        </a:rPr>
                        <a:t>19:15 - 19:45</a:t>
                      </a:r>
                    </a:p>
                  </a:txBody>
                  <a:tcPr/>
                </a:tc>
                <a:tc>
                  <a:txBody>
                    <a:bodyPr/>
                    <a:lstStyle/>
                    <a:p>
                      <a:r>
                        <a:rPr lang="de-DE" sz="2400" b="1" i="1" strike="noStrike" dirty="0">
                          <a:latin typeface="Aptos" panose="020B0004020202020204" pitchFamily="34" charset="0"/>
                        </a:rPr>
                        <a:t>Microsoft Teams Neuigkeiten</a:t>
                      </a:r>
                      <a:br>
                        <a:rPr lang="de-DE" sz="2400" b="1" i="1" dirty="0"/>
                      </a:br>
                      <a:r>
                        <a:rPr lang="de-DE" sz="2400" dirty="0"/>
                        <a:t>Thomas Stensitzki (@stensitzki, @stensitzki.bsky.social)</a:t>
                      </a:r>
                    </a:p>
                  </a:txBody>
                  <a:tcPr/>
                </a:tc>
                <a:extLst>
                  <a:ext uri="{0D108BD9-81ED-4DB2-BD59-A6C34878D82A}">
                    <a16:rowId xmlns:a16="http://schemas.microsoft.com/office/drawing/2014/main" val="3536441427"/>
                  </a:ext>
                </a:extLst>
              </a:tr>
              <a:tr h="370840">
                <a:tc>
                  <a:txBody>
                    <a:bodyPr/>
                    <a:lstStyle/>
                    <a:p>
                      <a:endParaRPr lang="de-DE" sz="2400" dirty="0">
                        <a:latin typeface="Aptos" panose="020B0004020202020204" pitchFamily="34" charset="0"/>
                      </a:endParaRPr>
                    </a:p>
                  </a:txBody>
                  <a:tcPr/>
                </a:tc>
                <a:tc>
                  <a:txBody>
                    <a:bodyPr/>
                    <a:lstStyle/>
                    <a:p>
                      <a:r>
                        <a:rPr lang="de-DE" sz="2400" dirty="0">
                          <a:latin typeface="Aptos" panose="020B0004020202020204" pitchFamily="34" charset="0"/>
                        </a:rPr>
                        <a:t>Organisatorisches</a:t>
                      </a:r>
                    </a:p>
                  </a:txBody>
                  <a:tcPr/>
                </a:tc>
                <a:extLst>
                  <a:ext uri="{0D108BD9-81ED-4DB2-BD59-A6C34878D82A}">
                    <a16:rowId xmlns:a16="http://schemas.microsoft.com/office/drawing/2014/main" val="529724932"/>
                  </a:ext>
                </a:extLst>
              </a:tr>
            </a:tbl>
          </a:graphicData>
        </a:graphic>
      </p:graphicFrame>
      <p:sp>
        <p:nvSpPr>
          <p:cNvPr id="5" name="Textfeld 4">
            <a:extLst>
              <a:ext uri="{FF2B5EF4-FFF2-40B4-BE49-F238E27FC236}">
                <a16:creationId xmlns:a16="http://schemas.microsoft.com/office/drawing/2014/main" id="{EE6719E1-4DB6-4D58-BA77-937CF975247C}"/>
              </a:ext>
            </a:extLst>
          </p:cNvPr>
          <p:cNvSpPr txBox="1"/>
          <p:nvPr/>
        </p:nvSpPr>
        <p:spPr>
          <a:xfrm>
            <a:off x="1714498" y="5921268"/>
            <a:ext cx="9639301" cy="584775"/>
          </a:xfrm>
          <a:prstGeom prst="rect">
            <a:avLst/>
          </a:prstGeom>
          <a:noFill/>
        </p:spPr>
        <p:txBody>
          <a:bodyPr wrap="square" rtlCol="0">
            <a:spAutoFit/>
          </a:bodyPr>
          <a:lstStyle/>
          <a:p>
            <a:r>
              <a:rPr lang="de-DE" sz="1600" i="1" dirty="0">
                <a:latin typeface="Aptos" panose="020B0004020202020204" pitchFamily="34" charset="0"/>
              </a:rPr>
              <a:t>Dieses Meeting wird aufgezeichnet und online auf YouTube bereitgestellt.</a:t>
            </a:r>
            <a:br>
              <a:rPr lang="de-DE" sz="1600" i="1" dirty="0">
                <a:latin typeface="Aptos" panose="020B0004020202020204" pitchFamily="34" charset="0"/>
              </a:rPr>
            </a:br>
            <a:r>
              <a:rPr lang="de-DE" sz="1600" i="1" dirty="0">
                <a:latin typeface="Aptos" panose="020B0004020202020204" pitchFamily="34" charset="0"/>
              </a:rPr>
              <a:t>This </a:t>
            </a:r>
            <a:r>
              <a:rPr lang="de-DE" sz="1600" i="1" dirty="0" err="1">
                <a:latin typeface="Aptos" panose="020B0004020202020204" pitchFamily="34" charset="0"/>
              </a:rPr>
              <a:t>meeting</a:t>
            </a:r>
            <a:r>
              <a:rPr lang="de-DE" sz="1600" i="1" dirty="0">
                <a:latin typeface="Aptos" panose="020B0004020202020204" pitchFamily="34" charset="0"/>
              </a:rPr>
              <a:t> will be </a:t>
            </a:r>
            <a:r>
              <a:rPr lang="de-DE" sz="1600" i="1" dirty="0" err="1">
                <a:latin typeface="Aptos" panose="020B0004020202020204" pitchFamily="34" charset="0"/>
              </a:rPr>
              <a:t>recorded</a:t>
            </a:r>
            <a:r>
              <a:rPr lang="de-DE" sz="1600" i="1" dirty="0">
                <a:latin typeface="Aptos" panose="020B0004020202020204" pitchFamily="34" charset="0"/>
              </a:rPr>
              <a:t> and </a:t>
            </a:r>
            <a:r>
              <a:rPr lang="de-DE" sz="1600" i="1" dirty="0" err="1">
                <a:latin typeface="Aptos" panose="020B0004020202020204" pitchFamily="34" charset="0"/>
              </a:rPr>
              <a:t>made</a:t>
            </a:r>
            <a:r>
              <a:rPr lang="de-DE" sz="1600" i="1" dirty="0">
                <a:latin typeface="Aptos" panose="020B0004020202020204" pitchFamily="34" charset="0"/>
              </a:rPr>
              <a:t> available online.</a:t>
            </a:r>
          </a:p>
        </p:txBody>
      </p:sp>
      <p:grpSp>
        <p:nvGrpSpPr>
          <p:cNvPr id="7" name="Grafik 3" descr="Webcam">
            <a:extLst>
              <a:ext uri="{FF2B5EF4-FFF2-40B4-BE49-F238E27FC236}">
                <a16:creationId xmlns:a16="http://schemas.microsoft.com/office/drawing/2014/main" id="{5208F678-5B34-4CB8-9EB9-59A6E4079C9F}"/>
              </a:ext>
            </a:extLst>
          </p:cNvPr>
          <p:cNvGrpSpPr/>
          <p:nvPr/>
        </p:nvGrpSpPr>
        <p:grpSpPr>
          <a:xfrm>
            <a:off x="838198" y="5792681"/>
            <a:ext cx="914400" cy="914400"/>
            <a:chOff x="838198" y="5792681"/>
            <a:chExt cx="914400" cy="914400"/>
          </a:xfrm>
        </p:grpSpPr>
        <p:sp>
          <p:nvSpPr>
            <p:cNvPr id="8" name="Freihandform: Form 7">
              <a:extLst>
                <a:ext uri="{FF2B5EF4-FFF2-40B4-BE49-F238E27FC236}">
                  <a16:creationId xmlns:a16="http://schemas.microsoft.com/office/drawing/2014/main" id="{D1326C8E-7355-49F1-8E55-C858E51F0032}"/>
                </a:ext>
              </a:extLst>
            </p:cNvPr>
            <p:cNvSpPr/>
            <p:nvPr/>
          </p:nvSpPr>
          <p:spPr>
            <a:xfrm>
              <a:off x="1028698" y="5926031"/>
              <a:ext cx="533400" cy="647700"/>
            </a:xfrm>
            <a:custGeom>
              <a:avLst/>
              <a:gdLst>
                <a:gd name="connsiteX0" fmla="*/ 114300 w 533400"/>
                <a:gd name="connsiteY0" fmla="*/ 266700 h 647700"/>
                <a:gd name="connsiteX1" fmla="*/ 266700 w 533400"/>
                <a:gd name="connsiteY1" fmla="*/ 114300 h 647700"/>
                <a:gd name="connsiteX2" fmla="*/ 419100 w 533400"/>
                <a:gd name="connsiteY2" fmla="*/ 266700 h 647700"/>
                <a:gd name="connsiteX3" fmla="*/ 266700 w 533400"/>
                <a:gd name="connsiteY3" fmla="*/ 419100 h 647700"/>
                <a:gd name="connsiteX4" fmla="*/ 114300 w 533400"/>
                <a:gd name="connsiteY4" fmla="*/ 266700 h 647700"/>
                <a:gd name="connsiteX5" fmla="*/ 266700 w 533400"/>
                <a:gd name="connsiteY5" fmla="*/ 38100 h 647700"/>
                <a:gd name="connsiteX6" fmla="*/ 285750 w 533400"/>
                <a:gd name="connsiteY6" fmla="*/ 57150 h 647700"/>
                <a:gd name="connsiteX7" fmla="*/ 266700 w 533400"/>
                <a:gd name="connsiteY7" fmla="*/ 76200 h 647700"/>
                <a:gd name="connsiteX8" fmla="*/ 247650 w 533400"/>
                <a:gd name="connsiteY8" fmla="*/ 57150 h 647700"/>
                <a:gd name="connsiteX9" fmla="*/ 266700 w 533400"/>
                <a:gd name="connsiteY9" fmla="*/ 38100 h 647700"/>
                <a:gd name="connsiteX10" fmla="*/ 461963 w 533400"/>
                <a:gd name="connsiteY10" fmla="*/ 586740 h 647700"/>
                <a:gd name="connsiteX11" fmla="*/ 342900 w 533400"/>
                <a:gd name="connsiteY11" fmla="*/ 571500 h 647700"/>
                <a:gd name="connsiteX12" fmla="*/ 342900 w 533400"/>
                <a:gd name="connsiteY12" fmla="*/ 521970 h 647700"/>
                <a:gd name="connsiteX13" fmla="*/ 533400 w 533400"/>
                <a:gd name="connsiteY13" fmla="*/ 266700 h 647700"/>
                <a:gd name="connsiteX14" fmla="*/ 266700 w 533400"/>
                <a:gd name="connsiteY14" fmla="*/ 0 h 647700"/>
                <a:gd name="connsiteX15" fmla="*/ 0 w 533400"/>
                <a:gd name="connsiteY15" fmla="*/ 266700 h 647700"/>
                <a:gd name="connsiteX16" fmla="*/ 190500 w 533400"/>
                <a:gd name="connsiteY16" fmla="*/ 521970 h 647700"/>
                <a:gd name="connsiteX17" fmla="*/ 190500 w 533400"/>
                <a:gd name="connsiteY17" fmla="*/ 571500 h 647700"/>
                <a:gd name="connsiteX18" fmla="*/ 71438 w 533400"/>
                <a:gd name="connsiteY18" fmla="*/ 586740 h 647700"/>
                <a:gd name="connsiteX19" fmla="*/ 38100 w 533400"/>
                <a:gd name="connsiteY19" fmla="*/ 624840 h 647700"/>
                <a:gd name="connsiteX20" fmla="*/ 38100 w 533400"/>
                <a:gd name="connsiteY20" fmla="*/ 647700 h 647700"/>
                <a:gd name="connsiteX21" fmla="*/ 495300 w 533400"/>
                <a:gd name="connsiteY21" fmla="*/ 647700 h 647700"/>
                <a:gd name="connsiteX22" fmla="*/ 495300 w 533400"/>
                <a:gd name="connsiteY22" fmla="*/ 623888 h 647700"/>
                <a:gd name="connsiteX23" fmla="*/ 461963 w 533400"/>
                <a:gd name="connsiteY23" fmla="*/ 58674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3400" h="647700">
                  <a:moveTo>
                    <a:pt x="114300" y="266700"/>
                  </a:moveTo>
                  <a:cubicBezTo>
                    <a:pt x="114300" y="182880"/>
                    <a:pt x="182880" y="114300"/>
                    <a:pt x="266700" y="114300"/>
                  </a:cubicBezTo>
                  <a:cubicBezTo>
                    <a:pt x="350520" y="114300"/>
                    <a:pt x="419100" y="182880"/>
                    <a:pt x="419100" y="266700"/>
                  </a:cubicBezTo>
                  <a:cubicBezTo>
                    <a:pt x="419100" y="350520"/>
                    <a:pt x="350520" y="419100"/>
                    <a:pt x="266700" y="419100"/>
                  </a:cubicBezTo>
                  <a:cubicBezTo>
                    <a:pt x="182880" y="419100"/>
                    <a:pt x="114300" y="350520"/>
                    <a:pt x="114300" y="266700"/>
                  </a:cubicBezTo>
                  <a:close/>
                  <a:moveTo>
                    <a:pt x="266700" y="38100"/>
                  </a:moveTo>
                  <a:cubicBezTo>
                    <a:pt x="277178" y="38100"/>
                    <a:pt x="285750" y="46672"/>
                    <a:pt x="285750" y="57150"/>
                  </a:cubicBezTo>
                  <a:cubicBezTo>
                    <a:pt x="285750" y="67628"/>
                    <a:pt x="277178" y="76200"/>
                    <a:pt x="266700" y="76200"/>
                  </a:cubicBezTo>
                  <a:cubicBezTo>
                    <a:pt x="256223" y="76200"/>
                    <a:pt x="247650" y="67628"/>
                    <a:pt x="247650" y="57150"/>
                  </a:cubicBezTo>
                  <a:cubicBezTo>
                    <a:pt x="247650" y="46672"/>
                    <a:pt x="256223" y="38100"/>
                    <a:pt x="266700" y="38100"/>
                  </a:cubicBezTo>
                  <a:close/>
                  <a:moveTo>
                    <a:pt x="461963" y="586740"/>
                  </a:moveTo>
                  <a:lnTo>
                    <a:pt x="342900" y="571500"/>
                  </a:lnTo>
                  <a:lnTo>
                    <a:pt x="342900" y="521970"/>
                  </a:lnTo>
                  <a:cubicBezTo>
                    <a:pt x="453390" y="489585"/>
                    <a:pt x="533400" y="387668"/>
                    <a:pt x="533400" y="266700"/>
                  </a:cubicBezTo>
                  <a:cubicBezTo>
                    <a:pt x="533400" y="119063"/>
                    <a:pt x="414338" y="0"/>
                    <a:pt x="266700" y="0"/>
                  </a:cubicBezTo>
                  <a:cubicBezTo>
                    <a:pt x="119063" y="0"/>
                    <a:pt x="0" y="119063"/>
                    <a:pt x="0" y="266700"/>
                  </a:cubicBezTo>
                  <a:cubicBezTo>
                    <a:pt x="0" y="387668"/>
                    <a:pt x="80010" y="489585"/>
                    <a:pt x="190500" y="521970"/>
                  </a:cubicBezTo>
                  <a:lnTo>
                    <a:pt x="190500" y="571500"/>
                  </a:lnTo>
                  <a:lnTo>
                    <a:pt x="71438" y="586740"/>
                  </a:lnTo>
                  <a:cubicBezTo>
                    <a:pt x="52388" y="589598"/>
                    <a:pt x="38100" y="605790"/>
                    <a:pt x="38100" y="624840"/>
                  </a:cubicBezTo>
                  <a:lnTo>
                    <a:pt x="38100" y="647700"/>
                  </a:lnTo>
                  <a:lnTo>
                    <a:pt x="495300" y="647700"/>
                  </a:lnTo>
                  <a:lnTo>
                    <a:pt x="495300" y="623888"/>
                  </a:lnTo>
                  <a:cubicBezTo>
                    <a:pt x="495300" y="604838"/>
                    <a:pt x="481013" y="588645"/>
                    <a:pt x="461963" y="586740"/>
                  </a:cubicBezTo>
                  <a:close/>
                </a:path>
              </a:pathLst>
            </a:custGeom>
            <a:solidFill>
              <a:srgbClr val="000000"/>
            </a:solidFill>
            <a:ln w="9525" cap="flat">
              <a:noFill/>
              <a:prstDash val="solid"/>
              <a:miter/>
            </a:ln>
          </p:spPr>
          <p:txBody>
            <a:bodyPr rtlCol="0" anchor="ctr"/>
            <a:lstStyle/>
            <a:p>
              <a:endParaRPr lang="de-DE" dirty="0">
                <a:latin typeface="Aptos" panose="020B0004020202020204" pitchFamily="34" charset="0"/>
              </a:endParaRPr>
            </a:p>
          </p:txBody>
        </p:sp>
        <p:sp>
          <p:nvSpPr>
            <p:cNvPr id="9" name="Freihandform: Form 8">
              <a:extLst>
                <a:ext uri="{FF2B5EF4-FFF2-40B4-BE49-F238E27FC236}">
                  <a16:creationId xmlns:a16="http://schemas.microsoft.com/office/drawing/2014/main" id="{31230280-6974-4185-8DD1-18BF02C3192B}"/>
                </a:ext>
              </a:extLst>
            </p:cNvPr>
            <p:cNvSpPr/>
            <p:nvPr/>
          </p:nvSpPr>
          <p:spPr>
            <a:xfrm>
              <a:off x="1181098" y="6078431"/>
              <a:ext cx="228600" cy="228600"/>
            </a:xfrm>
            <a:custGeom>
              <a:avLst/>
              <a:gdLst>
                <a:gd name="connsiteX0" fmla="*/ 114300 w 228600"/>
                <a:gd name="connsiteY0" fmla="*/ 171450 h 228600"/>
                <a:gd name="connsiteX1" fmla="*/ 57150 w 228600"/>
                <a:gd name="connsiteY1" fmla="*/ 114300 h 228600"/>
                <a:gd name="connsiteX2" fmla="*/ 114300 w 228600"/>
                <a:gd name="connsiteY2" fmla="*/ 57150 h 228600"/>
                <a:gd name="connsiteX3" fmla="*/ 171450 w 228600"/>
                <a:gd name="connsiteY3" fmla="*/ 114300 h 228600"/>
                <a:gd name="connsiteX4" fmla="*/ 114300 w 228600"/>
                <a:gd name="connsiteY4" fmla="*/ 171450 h 228600"/>
                <a:gd name="connsiteX5" fmla="*/ 114300 w 228600"/>
                <a:gd name="connsiteY5" fmla="*/ 0 h 228600"/>
                <a:gd name="connsiteX6" fmla="*/ 0 w 228600"/>
                <a:gd name="connsiteY6" fmla="*/ 114300 h 228600"/>
                <a:gd name="connsiteX7" fmla="*/ 114300 w 228600"/>
                <a:gd name="connsiteY7" fmla="*/ 228600 h 228600"/>
                <a:gd name="connsiteX8" fmla="*/ 228600 w 228600"/>
                <a:gd name="connsiteY8" fmla="*/ 114300 h 228600"/>
                <a:gd name="connsiteX9" fmla="*/ 114300 w 228600"/>
                <a:gd name="connsiteY9"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 h="228600">
                  <a:moveTo>
                    <a:pt x="114300" y="171450"/>
                  </a:moveTo>
                  <a:cubicBezTo>
                    <a:pt x="82868" y="171450"/>
                    <a:pt x="57150" y="145733"/>
                    <a:pt x="57150" y="114300"/>
                  </a:cubicBezTo>
                  <a:cubicBezTo>
                    <a:pt x="57150" y="82868"/>
                    <a:pt x="82868" y="57150"/>
                    <a:pt x="114300" y="57150"/>
                  </a:cubicBezTo>
                  <a:cubicBezTo>
                    <a:pt x="145733" y="57150"/>
                    <a:pt x="171450" y="82868"/>
                    <a:pt x="171450" y="114300"/>
                  </a:cubicBezTo>
                  <a:cubicBezTo>
                    <a:pt x="171450" y="145733"/>
                    <a:pt x="145733" y="171450"/>
                    <a:pt x="114300" y="171450"/>
                  </a:cubicBezTo>
                  <a:close/>
                  <a:moveTo>
                    <a:pt x="114300" y="0"/>
                  </a:moveTo>
                  <a:cubicBezTo>
                    <a:pt x="51435" y="0"/>
                    <a:pt x="0" y="51435"/>
                    <a:pt x="0" y="114300"/>
                  </a:cubicBezTo>
                  <a:cubicBezTo>
                    <a:pt x="0" y="177165"/>
                    <a:pt x="51435" y="228600"/>
                    <a:pt x="114300" y="228600"/>
                  </a:cubicBezTo>
                  <a:cubicBezTo>
                    <a:pt x="177165" y="228600"/>
                    <a:pt x="228600" y="177165"/>
                    <a:pt x="228600" y="114300"/>
                  </a:cubicBezTo>
                  <a:cubicBezTo>
                    <a:pt x="228600" y="51435"/>
                    <a:pt x="177165" y="0"/>
                    <a:pt x="114300" y="0"/>
                  </a:cubicBezTo>
                  <a:close/>
                </a:path>
              </a:pathLst>
            </a:custGeom>
            <a:solidFill>
              <a:srgbClr val="000000"/>
            </a:solidFill>
            <a:ln w="9525" cap="flat">
              <a:noFill/>
              <a:prstDash val="solid"/>
              <a:miter/>
            </a:ln>
          </p:spPr>
          <p:txBody>
            <a:bodyPr rtlCol="0" anchor="ctr"/>
            <a:lstStyle/>
            <a:p>
              <a:endParaRPr lang="de-DE" dirty="0">
                <a:latin typeface="Aptos" panose="020B0004020202020204" pitchFamily="34" charset="0"/>
              </a:endParaRPr>
            </a:p>
          </p:txBody>
        </p:sp>
      </p:grpSp>
    </p:spTree>
    <p:extLst>
      <p:ext uri="{BB962C8B-B14F-4D97-AF65-F5344CB8AC3E}">
        <p14:creationId xmlns:p14="http://schemas.microsoft.com/office/powerpoint/2010/main" val="2855324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Tenant-wide policy for permission to download meeting transcription</a:t>
            </a:r>
          </a:p>
          <a:p>
            <a:r>
              <a:rPr lang="en-US" dirty="0"/>
              <a:t>Tags in Shared Channels for Microsoft Teams</a:t>
            </a:r>
          </a:p>
          <a:p>
            <a:r>
              <a:rPr lang="en-US" dirty="0"/>
              <a:t>In-meeting Error Messaging</a:t>
            </a:r>
          </a:p>
          <a:p>
            <a:r>
              <a:rPr lang="en-US" dirty="0"/>
              <a:t>Ensuring Enhanced Noise Suppression and other advanced features work as expected</a:t>
            </a:r>
          </a:p>
          <a:p>
            <a:r>
              <a:rPr lang="en-US" dirty="0"/>
              <a:t>Changes to Administrator Permissions Required to Create and Manage Teams Resource Accounts</a:t>
            </a:r>
          </a:p>
          <a:p>
            <a:r>
              <a:rPr lang="en-US" dirty="0"/>
              <a:t>Simplified sign in for iOS and Android device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4566082"/>
            <a:ext cx="10515600" cy="920317"/>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413236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CD0A28-E565-09C0-763C-EFB9AC97FD9F}"/>
              </a:ext>
            </a:extLst>
          </p:cNvPr>
          <p:cNvSpPr>
            <a:spLocks noGrp="1"/>
          </p:cNvSpPr>
          <p:nvPr>
            <p:ph type="title"/>
          </p:nvPr>
        </p:nvSpPr>
        <p:spPr/>
        <p:txBody>
          <a:bodyPr>
            <a:noAutofit/>
          </a:bodyPr>
          <a:lstStyle/>
          <a:p>
            <a:r>
              <a:rPr lang="en-US" sz="4000" dirty="0"/>
              <a:t>Changes to Administrator Permissions Required to Create and Manage Teams Resource Accounts</a:t>
            </a:r>
          </a:p>
        </p:txBody>
      </p:sp>
      <p:sp>
        <p:nvSpPr>
          <p:cNvPr id="3" name="Inhaltsplatzhalter 2">
            <a:extLst>
              <a:ext uri="{FF2B5EF4-FFF2-40B4-BE49-F238E27FC236}">
                <a16:creationId xmlns:a16="http://schemas.microsoft.com/office/drawing/2014/main" id="{688A7E4F-8E58-964F-0C26-6F2F97025A93}"/>
              </a:ext>
            </a:extLst>
          </p:cNvPr>
          <p:cNvSpPr>
            <a:spLocks noGrp="1"/>
          </p:cNvSpPr>
          <p:nvPr>
            <p:ph idx="1"/>
          </p:nvPr>
        </p:nvSpPr>
        <p:spPr/>
        <p:txBody>
          <a:bodyPr/>
          <a:lstStyle/>
          <a:p>
            <a:r>
              <a:rPr lang="de-DE" dirty="0"/>
              <a:t>Auswirkung auf die Erstellung und Verwaltung von Teams Phone </a:t>
            </a:r>
            <a:r>
              <a:rPr lang="de-DE" dirty="0" err="1"/>
              <a:t>Resource</a:t>
            </a:r>
            <a:r>
              <a:rPr lang="de-DE" dirty="0"/>
              <a:t> Accounts </a:t>
            </a:r>
          </a:p>
          <a:p>
            <a:pPr lvl="1"/>
            <a:r>
              <a:rPr lang="de-DE" dirty="0"/>
              <a:t>Auto </a:t>
            </a:r>
            <a:r>
              <a:rPr lang="de-DE" dirty="0" err="1"/>
              <a:t>Attendants</a:t>
            </a:r>
            <a:r>
              <a:rPr lang="de-DE" dirty="0"/>
              <a:t>, Call Queues und Certified Teams Call Center Applikationen</a:t>
            </a:r>
          </a:p>
          <a:p>
            <a:r>
              <a:rPr lang="de-DE" dirty="0"/>
              <a:t>Folgende Rollen verlieren die Berechtigung</a:t>
            </a:r>
          </a:p>
          <a:p>
            <a:pPr lvl="1"/>
            <a:r>
              <a:rPr lang="de-DE" dirty="0"/>
              <a:t>Teams Administrator, Teams Communications Administrator, Teams </a:t>
            </a:r>
            <a:r>
              <a:rPr lang="de-DE" dirty="0" err="1"/>
              <a:t>Telephony</a:t>
            </a:r>
            <a:r>
              <a:rPr lang="de-DE" dirty="0"/>
              <a:t> Administrator</a:t>
            </a:r>
          </a:p>
          <a:p>
            <a:r>
              <a:rPr lang="de-DE" dirty="0"/>
              <a:t>In Zukunft nur noch berechtigt</a:t>
            </a:r>
          </a:p>
          <a:p>
            <a:pPr lvl="1"/>
            <a:r>
              <a:rPr lang="de-DE" b="1" dirty="0"/>
              <a:t>Microsoft 365 Global Admin </a:t>
            </a:r>
            <a:r>
              <a:rPr lang="de-DE" dirty="0"/>
              <a:t>oder </a:t>
            </a:r>
            <a:r>
              <a:rPr lang="de-DE" b="1" dirty="0"/>
              <a:t>User Admin</a:t>
            </a:r>
          </a:p>
        </p:txBody>
      </p:sp>
      <p:sp>
        <p:nvSpPr>
          <p:cNvPr id="5" name="Textfeld 4">
            <a:extLst>
              <a:ext uri="{FF2B5EF4-FFF2-40B4-BE49-F238E27FC236}">
                <a16:creationId xmlns:a16="http://schemas.microsoft.com/office/drawing/2014/main" id="{C77B81F7-E896-B7E7-7424-4C785CC2E4DA}"/>
              </a:ext>
            </a:extLst>
          </p:cNvPr>
          <p:cNvSpPr txBox="1"/>
          <p:nvPr/>
        </p:nvSpPr>
        <p:spPr>
          <a:xfrm>
            <a:off x="3960312" y="5667901"/>
            <a:ext cx="4271375" cy="523220"/>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n-US" sz="2800" b="1" dirty="0" err="1"/>
              <a:t>Stichtag</a:t>
            </a:r>
            <a:r>
              <a:rPr lang="en-US" sz="2800" b="1" dirty="0"/>
              <a:t>: 15. Juli 2024</a:t>
            </a:r>
          </a:p>
        </p:txBody>
      </p:sp>
    </p:spTree>
    <p:extLst>
      <p:ext uri="{BB962C8B-B14F-4D97-AF65-F5344CB8AC3E}">
        <p14:creationId xmlns:p14="http://schemas.microsoft.com/office/powerpoint/2010/main" val="3199360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Tenant-wide policy for permission to download meeting transcription</a:t>
            </a:r>
          </a:p>
          <a:p>
            <a:r>
              <a:rPr lang="en-US" dirty="0"/>
              <a:t>Tags in Shared Channels for Microsoft Teams</a:t>
            </a:r>
          </a:p>
          <a:p>
            <a:r>
              <a:rPr lang="en-US" dirty="0"/>
              <a:t>In-meeting Error Messaging</a:t>
            </a:r>
          </a:p>
          <a:p>
            <a:r>
              <a:rPr lang="en-US" dirty="0"/>
              <a:t>Ensuring Enhanced Noise Suppression and other advanced features work as expected</a:t>
            </a:r>
          </a:p>
          <a:p>
            <a:r>
              <a:rPr lang="en-US" dirty="0"/>
              <a:t>Changes to Administrator Permissions Required to Create and Manage Teams Resource Accounts</a:t>
            </a:r>
          </a:p>
          <a:p>
            <a:r>
              <a:rPr lang="en-US" dirty="0"/>
              <a:t>Simplified sign in for iOS and Android device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5469726"/>
            <a:ext cx="10515600" cy="565852"/>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549985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DC1775-6EB2-B7A0-2178-B23209C28563}"/>
              </a:ext>
            </a:extLst>
          </p:cNvPr>
          <p:cNvSpPr>
            <a:spLocks noGrp="1"/>
          </p:cNvSpPr>
          <p:nvPr>
            <p:ph type="title"/>
          </p:nvPr>
        </p:nvSpPr>
        <p:spPr/>
        <p:txBody>
          <a:bodyPr/>
          <a:lstStyle/>
          <a:p>
            <a:r>
              <a:rPr lang="en-US" dirty="0"/>
              <a:t>Simplified sign in for iOS and Android devices</a:t>
            </a:r>
          </a:p>
        </p:txBody>
      </p:sp>
      <p:pic>
        <p:nvPicPr>
          <p:cNvPr id="4098" name="Picture 2" descr="user controls">
            <a:extLst>
              <a:ext uri="{FF2B5EF4-FFF2-40B4-BE49-F238E27FC236}">
                <a16:creationId xmlns:a16="http://schemas.microsoft.com/office/drawing/2014/main" id="{3277C5A0-EB9F-3DD3-882B-75B10D0E67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7689" y="1690688"/>
            <a:ext cx="4896111" cy="443421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4" name="Textfeld 3">
            <a:extLst>
              <a:ext uri="{FF2B5EF4-FFF2-40B4-BE49-F238E27FC236}">
                <a16:creationId xmlns:a16="http://schemas.microsoft.com/office/drawing/2014/main" id="{3ED5BA20-214A-FE09-D163-FD91A20D0A9B}"/>
              </a:ext>
            </a:extLst>
          </p:cNvPr>
          <p:cNvSpPr txBox="1"/>
          <p:nvPr/>
        </p:nvSpPr>
        <p:spPr>
          <a:xfrm>
            <a:off x="1164921" y="6176963"/>
            <a:ext cx="2530257" cy="369332"/>
          </a:xfrm>
          <a:prstGeom prst="rect">
            <a:avLst/>
          </a:prstGeom>
          <a:noFill/>
        </p:spPr>
        <p:txBody>
          <a:bodyPr wrap="square" rtlCol="0">
            <a:spAutoFit/>
          </a:bodyPr>
          <a:lstStyle/>
          <a:p>
            <a:r>
              <a:rPr lang="de-DE" dirty="0">
                <a:hlinkClick r:id="rId4"/>
              </a:rPr>
              <a:t>Weitere Informationen</a:t>
            </a:r>
            <a:endParaRPr lang="de-DE" dirty="0"/>
          </a:p>
        </p:txBody>
      </p:sp>
    </p:spTree>
    <p:extLst>
      <p:ext uri="{BB962C8B-B14F-4D97-AF65-F5344CB8AC3E}">
        <p14:creationId xmlns:p14="http://schemas.microsoft.com/office/powerpoint/2010/main" val="3604949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Cloud </a:t>
            </a:r>
            <a:r>
              <a:rPr lang="en-US" dirty="0" err="1"/>
              <a:t>IntelliFrame</a:t>
            </a:r>
            <a:r>
              <a:rPr lang="en-US" dirty="0"/>
              <a:t>: A New Way to See People in Teams Rooms</a:t>
            </a:r>
          </a:p>
          <a:p>
            <a:r>
              <a:rPr lang="en-US" dirty="0"/>
              <a:t>Watermark support for recording playback (Premium)</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1825624"/>
            <a:ext cx="10515600" cy="479165"/>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368700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4856F2-7886-1B13-5749-F4A8C34CBB03}"/>
              </a:ext>
            </a:extLst>
          </p:cNvPr>
          <p:cNvSpPr>
            <a:spLocks noGrp="1"/>
          </p:cNvSpPr>
          <p:nvPr>
            <p:ph type="title"/>
          </p:nvPr>
        </p:nvSpPr>
        <p:spPr/>
        <p:txBody>
          <a:bodyPr/>
          <a:lstStyle/>
          <a:p>
            <a:r>
              <a:rPr lang="en-US" dirty="0"/>
              <a:t>Cloud </a:t>
            </a:r>
            <a:r>
              <a:rPr lang="en-US" dirty="0" err="1"/>
              <a:t>IntelliFrame</a:t>
            </a:r>
            <a:r>
              <a:rPr lang="en-US" dirty="0"/>
              <a:t>: A New Way to See People in Teams Rooms</a:t>
            </a:r>
          </a:p>
        </p:txBody>
      </p:sp>
      <p:sp>
        <p:nvSpPr>
          <p:cNvPr id="9" name="Inhaltsplatzhalter 8">
            <a:extLst>
              <a:ext uri="{FF2B5EF4-FFF2-40B4-BE49-F238E27FC236}">
                <a16:creationId xmlns:a16="http://schemas.microsoft.com/office/drawing/2014/main" id="{47A84E4E-E805-538C-EDDF-3B5F90A48090}"/>
              </a:ext>
            </a:extLst>
          </p:cNvPr>
          <p:cNvSpPr>
            <a:spLocks noGrp="1"/>
          </p:cNvSpPr>
          <p:nvPr>
            <p:ph idx="1"/>
          </p:nvPr>
        </p:nvSpPr>
        <p:spPr>
          <a:xfrm>
            <a:off x="838200" y="4938711"/>
            <a:ext cx="6068860" cy="1238251"/>
          </a:xfrm>
        </p:spPr>
        <p:txBody>
          <a:bodyPr/>
          <a:lstStyle/>
          <a:p>
            <a:pPr lvl="1"/>
            <a:r>
              <a:rPr lang="de-DE" dirty="0"/>
              <a:t>Automatische Nutzung mit Microsoft Teams Room on Windows mit einer Pro Lizenz</a:t>
            </a:r>
          </a:p>
        </p:txBody>
      </p:sp>
      <p:pic>
        <p:nvPicPr>
          <p:cNvPr id="6146" name="Picture 2">
            <a:extLst>
              <a:ext uri="{FF2B5EF4-FFF2-40B4-BE49-F238E27FC236}">
                <a16:creationId xmlns:a16="http://schemas.microsoft.com/office/drawing/2014/main" id="{6072D694-3E18-A60F-BE5C-E6074517FB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964" y="1919287"/>
            <a:ext cx="5372100" cy="301942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6148" name="Picture 4" descr="Intelliframe off">
            <a:extLst>
              <a:ext uri="{FF2B5EF4-FFF2-40B4-BE49-F238E27FC236}">
                <a16:creationId xmlns:a16="http://schemas.microsoft.com/office/drawing/2014/main" id="{AA2DC2A1-FE4E-2185-AE9B-2557F52985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07060" y="1202173"/>
            <a:ext cx="4572000" cy="257175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6150" name="Picture 6" descr="Switch off">
            <a:extLst>
              <a:ext uri="{FF2B5EF4-FFF2-40B4-BE49-F238E27FC236}">
                <a16:creationId xmlns:a16="http://schemas.microsoft.com/office/drawing/2014/main" id="{6FCD6FA5-CF12-61A3-7A38-A2699D72DB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07060" y="3921125"/>
            <a:ext cx="4572000" cy="257175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7" name="Rechteck: abgerundete Ecken 6">
            <a:extLst>
              <a:ext uri="{FF2B5EF4-FFF2-40B4-BE49-F238E27FC236}">
                <a16:creationId xmlns:a16="http://schemas.microsoft.com/office/drawing/2014/main" id="{B4C304FE-001A-9767-E4BB-F2DD005B50EF}"/>
              </a:ext>
            </a:extLst>
          </p:cNvPr>
          <p:cNvSpPr/>
          <p:nvPr/>
        </p:nvSpPr>
        <p:spPr>
          <a:xfrm>
            <a:off x="8455068" y="2527736"/>
            <a:ext cx="1478071" cy="290620"/>
          </a:xfrm>
          <a:prstGeom prst="roundRect">
            <a:avLst/>
          </a:prstGeom>
          <a:no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sp>
        <p:nvSpPr>
          <p:cNvPr id="10" name="Textfeld 9">
            <a:extLst>
              <a:ext uri="{FF2B5EF4-FFF2-40B4-BE49-F238E27FC236}">
                <a16:creationId xmlns:a16="http://schemas.microsoft.com/office/drawing/2014/main" id="{234942D6-99EF-14E0-B106-6D868C758AED}"/>
              </a:ext>
            </a:extLst>
          </p:cNvPr>
          <p:cNvSpPr txBox="1"/>
          <p:nvPr/>
        </p:nvSpPr>
        <p:spPr>
          <a:xfrm>
            <a:off x="1164921" y="6176963"/>
            <a:ext cx="2530257" cy="369332"/>
          </a:xfrm>
          <a:prstGeom prst="rect">
            <a:avLst/>
          </a:prstGeom>
          <a:noFill/>
        </p:spPr>
        <p:txBody>
          <a:bodyPr wrap="square" rtlCol="0">
            <a:spAutoFit/>
          </a:bodyPr>
          <a:lstStyle/>
          <a:p>
            <a:r>
              <a:rPr lang="de-DE" dirty="0">
                <a:hlinkClick r:id="rId6"/>
              </a:rPr>
              <a:t>Weitere Informationen</a:t>
            </a:r>
            <a:endParaRPr lang="de-DE" dirty="0"/>
          </a:p>
        </p:txBody>
      </p:sp>
    </p:spTree>
    <p:extLst>
      <p:ext uri="{BB962C8B-B14F-4D97-AF65-F5344CB8AC3E}">
        <p14:creationId xmlns:p14="http://schemas.microsoft.com/office/powerpoint/2010/main" val="268200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3C9AF9-28AF-9969-5B95-17A2F77C13F8}"/>
              </a:ext>
            </a:extLst>
          </p:cNvPr>
          <p:cNvSpPr>
            <a:spLocks noGrp="1"/>
          </p:cNvSpPr>
          <p:nvPr>
            <p:ph type="title"/>
          </p:nvPr>
        </p:nvSpPr>
        <p:spPr/>
        <p:txBody>
          <a:bodyPr/>
          <a:lstStyle/>
          <a:p>
            <a:r>
              <a:rPr lang="en-US" dirty="0"/>
              <a:t>Cloud </a:t>
            </a:r>
            <a:r>
              <a:rPr lang="en-US" dirty="0" err="1"/>
              <a:t>IntelliFrame</a:t>
            </a:r>
            <a:r>
              <a:rPr lang="en-US" dirty="0"/>
              <a:t>: A New Way to See People in Teams Rooms</a:t>
            </a:r>
          </a:p>
        </p:txBody>
      </p:sp>
      <p:sp>
        <p:nvSpPr>
          <p:cNvPr id="3" name="Inhaltsplatzhalter 2">
            <a:extLst>
              <a:ext uri="{FF2B5EF4-FFF2-40B4-BE49-F238E27FC236}">
                <a16:creationId xmlns:a16="http://schemas.microsoft.com/office/drawing/2014/main" id="{7D28E0FD-A206-F5C9-9492-319C6C1DF67D}"/>
              </a:ext>
            </a:extLst>
          </p:cNvPr>
          <p:cNvSpPr>
            <a:spLocks noGrp="1"/>
          </p:cNvSpPr>
          <p:nvPr>
            <p:ph sz="half" idx="1"/>
          </p:nvPr>
        </p:nvSpPr>
        <p:spPr/>
        <p:txBody>
          <a:bodyPr/>
          <a:lstStyle/>
          <a:p>
            <a:pPr lvl="1"/>
            <a:r>
              <a:rPr lang="en-US" sz="1800" dirty="0" err="1"/>
              <a:t>AVer</a:t>
            </a:r>
            <a:r>
              <a:rPr lang="en-US" sz="1800" dirty="0"/>
              <a:t> CAM520 Pro</a:t>
            </a:r>
          </a:p>
          <a:p>
            <a:pPr lvl="1"/>
            <a:r>
              <a:rPr lang="en-US" sz="1800" dirty="0" err="1"/>
              <a:t>AVer</a:t>
            </a:r>
            <a:r>
              <a:rPr lang="en-US" sz="1800" dirty="0"/>
              <a:t> CAM520 Pro2</a:t>
            </a:r>
          </a:p>
          <a:p>
            <a:pPr lvl="1"/>
            <a:r>
              <a:rPr lang="en-US" sz="1800" dirty="0"/>
              <a:t>BRIO 4K Stream Edition</a:t>
            </a:r>
          </a:p>
          <a:p>
            <a:pPr lvl="1"/>
            <a:r>
              <a:rPr lang="en-US" sz="1800" dirty="0" err="1"/>
              <a:t>EagleEye</a:t>
            </a:r>
            <a:r>
              <a:rPr lang="en-US" sz="1800" dirty="0"/>
              <a:t> Cube USB</a:t>
            </a:r>
          </a:p>
          <a:p>
            <a:pPr lvl="1"/>
            <a:r>
              <a:rPr lang="en-US" sz="1800" dirty="0"/>
              <a:t>HD Pro Webcam C920</a:t>
            </a:r>
          </a:p>
          <a:p>
            <a:pPr lvl="1"/>
            <a:r>
              <a:rPr lang="en-US" sz="1800" dirty="0"/>
              <a:t>Jabra </a:t>
            </a:r>
            <a:r>
              <a:rPr lang="en-US" sz="1800" dirty="0" err="1"/>
              <a:t>PanaCast</a:t>
            </a:r>
            <a:endParaRPr lang="en-US" sz="1800" dirty="0"/>
          </a:p>
          <a:p>
            <a:pPr lvl="1"/>
            <a:r>
              <a:rPr lang="en-US" sz="1800" dirty="0" err="1"/>
              <a:t>Logi</a:t>
            </a:r>
            <a:r>
              <a:rPr lang="en-US" sz="1800" dirty="0"/>
              <a:t> Rally Camera</a:t>
            </a:r>
          </a:p>
          <a:p>
            <a:pPr lvl="1"/>
            <a:r>
              <a:rPr lang="en-US" sz="1800" dirty="0"/>
              <a:t>Logitech BRIO</a:t>
            </a:r>
          </a:p>
          <a:p>
            <a:pPr lvl="1"/>
            <a:r>
              <a:rPr lang="en-US" sz="1800" dirty="0"/>
              <a:t>Logitech </a:t>
            </a:r>
            <a:r>
              <a:rPr lang="en-US" sz="1800" dirty="0" err="1"/>
              <a:t>ConferenceCam</a:t>
            </a:r>
            <a:r>
              <a:rPr lang="en-US" sz="1800" dirty="0"/>
              <a:t> CC3000e</a:t>
            </a:r>
          </a:p>
          <a:p>
            <a:pPr lvl="1"/>
            <a:r>
              <a:rPr lang="en-US" sz="1800" dirty="0"/>
              <a:t>Logitech </a:t>
            </a:r>
            <a:r>
              <a:rPr lang="en-US" sz="1800" dirty="0" err="1"/>
              <a:t>MeetUp</a:t>
            </a:r>
            <a:endParaRPr lang="en-US" sz="1800" dirty="0"/>
          </a:p>
          <a:p>
            <a:pPr lvl="1"/>
            <a:r>
              <a:rPr lang="en-US" sz="1800" dirty="0"/>
              <a:t>Logitech Webcam C925e</a:t>
            </a:r>
          </a:p>
          <a:p>
            <a:pPr lvl="1"/>
            <a:r>
              <a:rPr lang="en-US" sz="1800" dirty="0"/>
              <a:t>Logitech Webcam C930e</a:t>
            </a:r>
          </a:p>
        </p:txBody>
      </p:sp>
      <p:sp>
        <p:nvSpPr>
          <p:cNvPr id="7" name="Inhaltsplatzhalter 6">
            <a:extLst>
              <a:ext uri="{FF2B5EF4-FFF2-40B4-BE49-F238E27FC236}">
                <a16:creationId xmlns:a16="http://schemas.microsoft.com/office/drawing/2014/main" id="{0DE86F7B-80F3-0597-E1FC-7CBB12E7F216}"/>
              </a:ext>
            </a:extLst>
          </p:cNvPr>
          <p:cNvSpPr>
            <a:spLocks noGrp="1"/>
          </p:cNvSpPr>
          <p:nvPr>
            <p:ph sz="half" idx="2"/>
          </p:nvPr>
        </p:nvSpPr>
        <p:spPr/>
        <p:txBody>
          <a:bodyPr>
            <a:normAutofit/>
          </a:bodyPr>
          <a:lstStyle/>
          <a:p>
            <a:pPr lvl="1"/>
            <a:r>
              <a:rPr lang="en-US" sz="1800" dirty="0"/>
              <a:t>Microsoft® LifeCam Studio</a:t>
            </a:r>
          </a:p>
          <a:p>
            <a:pPr lvl="1"/>
            <a:r>
              <a:rPr lang="en-US" sz="1800" dirty="0"/>
              <a:t>Polycom </a:t>
            </a:r>
            <a:r>
              <a:rPr lang="en-US" sz="1800" dirty="0" err="1"/>
              <a:t>EagleEye</a:t>
            </a:r>
            <a:r>
              <a:rPr lang="en-US" sz="1800" dirty="0"/>
              <a:t> IV USB Camera</a:t>
            </a:r>
          </a:p>
          <a:p>
            <a:pPr lvl="1"/>
            <a:r>
              <a:rPr lang="en-US" sz="1800" dirty="0"/>
              <a:t>PTZ Pro 2</a:t>
            </a:r>
          </a:p>
          <a:p>
            <a:pPr lvl="1"/>
            <a:r>
              <a:rPr lang="en-US" sz="1800" dirty="0"/>
              <a:t>PTZ Pro Camera</a:t>
            </a:r>
          </a:p>
          <a:p>
            <a:pPr lvl="1"/>
            <a:r>
              <a:rPr lang="en-US" sz="1800" dirty="0" err="1"/>
              <a:t>ThinkSmart</a:t>
            </a:r>
            <a:r>
              <a:rPr lang="en-US" sz="1800" dirty="0"/>
              <a:t> Cam</a:t>
            </a:r>
          </a:p>
          <a:p>
            <a:pPr lvl="1"/>
            <a:r>
              <a:rPr lang="en-US" sz="1800" dirty="0"/>
              <a:t>Yealink UVC30</a:t>
            </a:r>
          </a:p>
          <a:p>
            <a:pPr lvl="1"/>
            <a:r>
              <a:rPr lang="en-US" sz="1800" dirty="0"/>
              <a:t>Yealink UVC34</a:t>
            </a:r>
          </a:p>
          <a:p>
            <a:pPr lvl="1"/>
            <a:r>
              <a:rPr lang="en-US" sz="1800" dirty="0"/>
              <a:t>Yealink UVC50</a:t>
            </a:r>
          </a:p>
          <a:p>
            <a:pPr lvl="1"/>
            <a:r>
              <a:rPr lang="en-US" sz="1800" dirty="0"/>
              <a:t>Yealink UVC80</a:t>
            </a:r>
          </a:p>
          <a:p>
            <a:pPr lvl="1"/>
            <a:r>
              <a:rPr lang="en-US" sz="1800" dirty="0"/>
              <a:t>Yealink UVC86</a:t>
            </a:r>
          </a:p>
        </p:txBody>
      </p:sp>
    </p:spTree>
    <p:extLst>
      <p:ext uri="{BB962C8B-B14F-4D97-AF65-F5344CB8AC3E}">
        <p14:creationId xmlns:p14="http://schemas.microsoft.com/office/powerpoint/2010/main" val="18806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 für Admin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17200" cy="5032375"/>
          </a:xfrm>
        </p:spPr>
        <p:txBody>
          <a:bodyPr>
            <a:normAutofit/>
          </a:bodyPr>
          <a:lstStyle/>
          <a:p>
            <a:r>
              <a:rPr lang="en-US" dirty="0"/>
              <a:t>Cloud </a:t>
            </a:r>
            <a:r>
              <a:rPr lang="en-US" dirty="0" err="1"/>
              <a:t>IntelliFrame</a:t>
            </a:r>
            <a:r>
              <a:rPr lang="en-US" dirty="0"/>
              <a:t>: A New Way to See People in Teams Rooms</a:t>
            </a:r>
          </a:p>
          <a:p>
            <a:r>
              <a:rPr lang="en-US" dirty="0"/>
              <a:t>Watermark support for recording playback (Premium)</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838200" y="2320476"/>
            <a:ext cx="10515600" cy="479165"/>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73832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937244-D3A3-83D8-E9B3-B12712EB4F4D}"/>
              </a:ext>
            </a:extLst>
          </p:cNvPr>
          <p:cNvSpPr>
            <a:spLocks noGrp="1"/>
          </p:cNvSpPr>
          <p:nvPr>
            <p:ph type="title"/>
          </p:nvPr>
        </p:nvSpPr>
        <p:spPr/>
        <p:txBody>
          <a:bodyPr/>
          <a:lstStyle/>
          <a:p>
            <a:r>
              <a:rPr lang="en-US" dirty="0"/>
              <a:t>Watermark support for recording playback (Premium)</a:t>
            </a:r>
          </a:p>
        </p:txBody>
      </p:sp>
      <p:sp>
        <p:nvSpPr>
          <p:cNvPr id="3" name="Inhaltsplatzhalter 2">
            <a:extLst>
              <a:ext uri="{FF2B5EF4-FFF2-40B4-BE49-F238E27FC236}">
                <a16:creationId xmlns:a16="http://schemas.microsoft.com/office/drawing/2014/main" id="{325CA7F3-3904-679E-0DEF-58A01B71B29C}"/>
              </a:ext>
            </a:extLst>
          </p:cNvPr>
          <p:cNvSpPr>
            <a:spLocks noGrp="1"/>
          </p:cNvSpPr>
          <p:nvPr>
            <p:ph idx="1"/>
          </p:nvPr>
        </p:nvSpPr>
        <p:spPr/>
        <p:txBody>
          <a:bodyPr/>
          <a:lstStyle/>
          <a:p>
            <a:r>
              <a:rPr lang="de-DE" dirty="0"/>
              <a:t>Organisator und Co-Organisator können in einer geschützten Besprechung die Aufnahme starten</a:t>
            </a:r>
          </a:p>
          <a:p>
            <a:r>
              <a:rPr lang="de-DE" dirty="0"/>
              <a:t>Nach Beendigung der Aufnahme können Teilnehmende den Aufzeichnungslink im Besprechungschat aufrufen</a:t>
            </a:r>
          </a:p>
          <a:p>
            <a:r>
              <a:rPr lang="de-DE" dirty="0"/>
              <a:t>Aufzeichnung wird im Browser geöffnet und mit der individuellen E-Mail-Adresse als Wasserzeichen versehen</a:t>
            </a:r>
          </a:p>
          <a:p>
            <a:r>
              <a:rPr lang="de-DE" dirty="0"/>
              <a:t>Download-Option ist nur für die Person verfügbar, die die Aufzeichnung gestartet hat (Dateieigentümer)</a:t>
            </a:r>
          </a:p>
        </p:txBody>
      </p:sp>
    </p:spTree>
    <p:extLst>
      <p:ext uri="{BB962C8B-B14F-4D97-AF65-F5344CB8AC3E}">
        <p14:creationId xmlns:p14="http://schemas.microsoft.com/office/powerpoint/2010/main" val="3338332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Microsoft Teams – Links </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515600" cy="5032375"/>
          </a:xfrm>
        </p:spPr>
        <p:txBody>
          <a:bodyPr>
            <a:normAutofit/>
          </a:bodyPr>
          <a:lstStyle/>
          <a:p>
            <a:r>
              <a:rPr lang="en-US" b="0" i="0">
                <a:solidFill>
                  <a:srgbClr val="333333"/>
                </a:solidFill>
                <a:effectLst/>
                <a:latin typeface="Aptos Display" panose="020B0004020202020204" pitchFamily="34" charset="0"/>
                <a:hlinkClick r:id="rId3"/>
              </a:rPr>
              <a:t>What's </a:t>
            </a:r>
            <a:r>
              <a:rPr lang="en-US" b="0" i="0" dirty="0">
                <a:solidFill>
                  <a:srgbClr val="333333"/>
                </a:solidFill>
                <a:effectLst/>
                <a:latin typeface="Aptos Display" panose="020B0004020202020204" pitchFamily="34" charset="0"/>
                <a:hlinkClick r:id="rId3"/>
              </a:rPr>
              <a:t>New in Microsoft Teams | Enterprise Connect 2024 Edition</a:t>
            </a:r>
            <a:endParaRPr lang="en-US" dirty="0">
              <a:latin typeface="Aptos Display" panose="020B0004020202020204" pitchFamily="34" charset="0"/>
            </a:endParaRPr>
          </a:p>
          <a:p>
            <a:r>
              <a:rPr lang="en-US" dirty="0">
                <a:latin typeface="Aptos Display" panose="020B0004020202020204" pitchFamily="34" charset="0"/>
                <a:hlinkClick r:id="rId4"/>
              </a:rPr>
              <a:t>What’s New in Microsoft Teams | February 2024</a:t>
            </a:r>
            <a:endParaRPr lang="en-US" dirty="0">
              <a:latin typeface="Aptos Display" panose="020B0004020202020204" pitchFamily="34" charset="0"/>
            </a:endParaRPr>
          </a:p>
          <a:p>
            <a:endParaRPr lang="de-DE" dirty="0">
              <a:latin typeface="Aptos Display" panose="020B0004020202020204" pitchFamily="34" charset="0"/>
              <a:hlinkClick r:id="rId5"/>
            </a:endParaRPr>
          </a:p>
          <a:p>
            <a:r>
              <a:rPr lang="de-DE" dirty="0">
                <a:latin typeface="Aptos Display" panose="020B0004020202020204" pitchFamily="34" charset="0"/>
                <a:hlinkClick r:id="rId5"/>
              </a:rPr>
              <a:t>Microsoft Teams Blog</a:t>
            </a:r>
            <a:r>
              <a:rPr lang="de-DE" dirty="0">
                <a:latin typeface="Aptos Display" panose="020B0004020202020204" pitchFamily="34" charset="0"/>
              </a:rPr>
              <a:t> </a:t>
            </a:r>
          </a:p>
          <a:p>
            <a:r>
              <a:rPr lang="de-DE" dirty="0">
                <a:latin typeface="Aptos Display" panose="020B0004020202020204" pitchFamily="34" charset="0"/>
                <a:hlinkClick r:id="rId6"/>
              </a:rPr>
              <a:t>Microsoft Teams Community Blog</a:t>
            </a:r>
            <a:r>
              <a:rPr lang="de-DE" dirty="0">
                <a:latin typeface="Aptos Display" panose="020B0004020202020204" pitchFamily="34" charset="0"/>
              </a:rPr>
              <a:t> </a:t>
            </a:r>
          </a:p>
          <a:p>
            <a:r>
              <a:rPr lang="de-DE" dirty="0">
                <a:latin typeface="Aptos Display" panose="020B0004020202020204" pitchFamily="34" charset="0"/>
                <a:hlinkClick r:id="rId7"/>
              </a:rPr>
              <a:t>Microsoft Teams Feedback Portal</a:t>
            </a:r>
            <a:endParaRPr lang="de-DE" dirty="0">
              <a:latin typeface="Aptos Display" panose="020B0004020202020204" pitchFamily="34" charset="0"/>
            </a:endParaRPr>
          </a:p>
          <a:p>
            <a:endParaRPr lang="de-DE" dirty="0">
              <a:latin typeface="Aptos Display" panose="020B0004020202020204" pitchFamily="34" charset="0"/>
            </a:endParaRPr>
          </a:p>
          <a:p>
            <a:endParaRPr lang="de-DE" dirty="0">
              <a:latin typeface="Aptos Display" panose="020B0004020202020204" pitchFamily="34" charset="0"/>
            </a:endParaRPr>
          </a:p>
        </p:txBody>
      </p:sp>
    </p:spTree>
    <p:extLst>
      <p:ext uri="{BB962C8B-B14F-4D97-AF65-F5344CB8AC3E}">
        <p14:creationId xmlns:p14="http://schemas.microsoft.com/office/powerpoint/2010/main" val="2721051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1DF91F20-B96F-4F77-AC3E-2CDD3BAA10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200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3D487F7-9050-4871-B351-34A72ADB29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84" y="-1"/>
            <a:ext cx="8111296" cy="6858000"/>
          </a:xfrm>
          <a:prstGeom prst="rect">
            <a:avLst/>
          </a:prstGeom>
          <a:gradFill>
            <a:gsLst>
              <a:gs pos="8000">
                <a:srgbClr val="000000">
                  <a:alpha val="94000"/>
                </a:srgbClr>
              </a:gs>
              <a:gs pos="100000">
                <a:schemeClr val="accent1"/>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43C27DD-EF6A-4C48-9669-C2970E71A81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858281" y="-401562"/>
            <a:ext cx="6858004" cy="7661129"/>
          </a:xfrm>
          <a:prstGeom prst="rect">
            <a:avLst/>
          </a:prstGeom>
          <a:gradFill>
            <a:gsLst>
              <a:gs pos="0">
                <a:schemeClr val="accent1">
                  <a:alpha val="23000"/>
                </a:schemeClr>
              </a:gs>
              <a:gs pos="71000">
                <a:schemeClr val="accent1">
                  <a:lumMod val="50000"/>
                  <a:alpha val="0"/>
                </a:schemeClr>
              </a:gs>
              <a:gs pos="100000">
                <a:srgbClr val="000000">
                  <a:alpha val="0"/>
                </a:srgb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C84384FE-1C88-4CAA-8FB8-2313A3AE73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519" y="-1"/>
            <a:ext cx="8118331" cy="6858000"/>
          </a:xfrm>
          <a:prstGeom prst="rect">
            <a:avLst/>
          </a:prstGeom>
          <a:gradFill>
            <a:gsLst>
              <a:gs pos="14000">
                <a:schemeClr val="accent1">
                  <a:alpha val="0"/>
                </a:schemeClr>
              </a:gs>
              <a:gs pos="100000">
                <a:srgbClr val="000000">
                  <a:alpha val="82000"/>
                </a:srgb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87B6A113-58CD-406C-BCE4-6E1F1F2BE6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449520">
            <a:off x="2569700" y="983306"/>
            <a:ext cx="5005754" cy="5005754"/>
          </a:xfrm>
          <a:prstGeom prst="ellipse">
            <a:avLst/>
          </a:prstGeom>
          <a:gradFill>
            <a:gsLst>
              <a:gs pos="17000">
                <a:schemeClr val="accent1">
                  <a:lumMod val="75000"/>
                  <a:alpha val="0"/>
                </a:schemeClr>
              </a:gs>
              <a:gs pos="82000">
                <a:srgbClr val="000000">
                  <a:alpha val="24000"/>
                </a:srgb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a:xfrm>
            <a:off x="1011948" y="857251"/>
            <a:ext cx="6219582" cy="3160113"/>
          </a:xfrm>
        </p:spPr>
        <p:txBody>
          <a:bodyPr vert="horz" lIns="91440" tIns="45720" rIns="91440" bIns="45720" rtlCol="0" anchor="b">
            <a:normAutofit/>
          </a:bodyPr>
          <a:lstStyle/>
          <a:p>
            <a:r>
              <a:rPr lang="en-US" sz="4800" b="1" kern="1200" dirty="0" err="1">
                <a:solidFill>
                  <a:srgbClr val="FFFFFF"/>
                </a:solidFill>
                <a:latin typeface="Aptos Display" panose="020B0004020202020204" pitchFamily="34" charset="0"/>
              </a:rPr>
              <a:t>Virtuelle</a:t>
            </a:r>
            <a:r>
              <a:rPr lang="en-US" sz="4800" b="1" kern="1200" dirty="0">
                <a:solidFill>
                  <a:srgbClr val="FFFFFF"/>
                </a:solidFill>
                <a:latin typeface="Aptos Display" panose="020B0004020202020204" pitchFamily="34" charset="0"/>
              </a:rPr>
              <a:t> </a:t>
            </a:r>
            <a:r>
              <a:rPr lang="en-US" sz="4800" b="1" kern="1200" dirty="0" err="1">
                <a:solidFill>
                  <a:srgbClr val="FFFFFF"/>
                </a:solidFill>
                <a:latin typeface="Aptos Display" panose="020B0004020202020204" pitchFamily="34" charset="0"/>
              </a:rPr>
              <a:t>Termine</a:t>
            </a:r>
            <a:r>
              <a:rPr lang="en-US" sz="4800" b="1" kern="1200">
                <a:solidFill>
                  <a:srgbClr val="FFFFFF"/>
                </a:solidFill>
                <a:latin typeface="Aptos Display" panose="020B0004020202020204" pitchFamily="34" charset="0"/>
              </a:rPr>
              <a:t> mit</a:t>
            </a:r>
            <a:r>
              <a:rPr lang="en-US" sz="4800" b="1" kern="1200" dirty="0">
                <a:solidFill>
                  <a:srgbClr val="FFFFFF"/>
                </a:solidFill>
                <a:latin typeface="Aptos Display" panose="020B0004020202020204" pitchFamily="34" charset="0"/>
              </a:rPr>
              <a:t> Microsoft Teams (Premium)</a:t>
            </a:r>
            <a:endParaRPr lang="en-US" sz="4800" kern="1200" dirty="0">
              <a:solidFill>
                <a:srgbClr val="FFFFFF"/>
              </a:solidFill>
              <a:latin typeface="Aptos Display" panose="020B0004020202020204" pitchFamily="34" charset="0"/>
            </a:endParaRPr>
          </a:p>
        </p:txBody>
      </p:sp>
      <p:sp>
        <p:nvSpPr>
          <p:cNvPr id="20" name="Rectangle 19">
            <a:extLst>
              <a:ext uri="{FF2B5EF4-FFF2-40B4-BE49-F238E27FC236}">
                <a16:creationId xmlns:a16="http://schemas.microsoft.com/office/drawing/2014/main" id="{05A1AA86-B7E6-4C02-AA34-F1A25CD4CC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518" y="4354178"/>
            <a:ext cx="8118330" cy="2503817"/>
          </a:xfrm>
          <a:prstGeom prst="rect">
            <a:avLst/>
          </a:prstGeom>
          <a:gradFill>
            <a:gsLst>
              <a:gs pos="0">
                <a:schemeClr val="accent1">
                  <a:lumMod val="75000"/>
                  <a:alpha val="33000"/>
                </a:schemeClr>
              </a:gs>
              <a:gs pos="83000">
                <a:srgbClr val="000000">
                  <a:alpha val="21000"/>
                </a:srgb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a:xfrm>
            <a:off x="1105661" y="4800600"/>
            <a:ext cx="5179879" cy="1200149"/>
          </a:xfrm>
        </p:spPr>
        <p:txBody>
          <a:bodyPr vert="horz" lIns="91440" tIns="45720" rIns="91440" bIns="45720" rtlCol="0" anchor="t">
            <a:normAutofit/>
          </a:bodyPr>
          <a:lstStyle/>
          <a:p>
            <a:r>
              <a:rPr lang="en-US" i="1" kern="1200" dirty="0">
                <a:solidFill>
                  <a:srgbClr val="FFFFFF"/>
                </a:solidFill>
                <a:latin typeface="Aptos Display" panose="020B0004020202020204" pitchFamily="34" charset="0"/>
              </a:rPr>
              <a:t>Thomas Stensitzki</a:t>
            </a:r>
          </a:p>
        </p:txBody>
      </p:sp>
      <p:pic>
        <p:nvPicPr>
          <p:cNvPr id="2" name="Grafik 1" descr="Ein Bild, das Symbol, Logo, Grafiken, Screenshot enthält.&#10;&#10;Automatisch generierte Beschreibung">
            <a:extLst>
              <a:ext uri="{FF2B5EF4-FFF2-40B4-BE49-F238E27FC236}">
                <a16:creationId xmlns:a16="http://schemas.microsoft.com/office/drawing/2014/main" id="{2D4F20BA-957A-E4A8-5973-4395A78430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60981" y="1842090"/>
            <a:ext cx="3173819" cy="3173819"/>
          </a:xfrm>
          <a:prstGeom prst="rect">
            <a:avLst/>
          </a:prstGeom>
        </p:spPr>
      </p:pic>
      <p:pic>
        <p:nvPicPr>
          <p:cNvPr id="3" name="Grafik 2">
            <a:extLst>
              <a:ext uri="{FF2B5EF4-FFF2-40B4-BE49-F238E27FC236}">
                <a16:creationId xmlns:a16="http://schemas.microsoft.com/office/drawing/2014/main" id="{C238D38B-E0A5-0149-AE47-F37690A7AA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05320" y="5167229"/>
            <a:ext cx="4086680" cy="2043340"/>
          </a:xfrm>
          <a:prstGeom prst="rect">
            <a:avLst/>
          </a:prstGeom>
        </p:spPr>
      </p:pic>
      <p:sp>
        <p:nvSpPr>
          <p:cNvPr id="6" name="Fußzeilenplatzhalter 4">
            <a:extLst>
              <a:ext uri="{FF2B5EF4-FFF2-40B4-BE49-F238E27FC236}">
                <a16:creationId xmlns:a16="http://schemas.microsoft.com/office/drawing/2014/main" id="{B4319870-BBF5-98CC-E89C-54B3AC5C5C75}"/>
              </a:ext>
            </a:extLst>
          </p:cNvPr>
          <p:cNvSpPr txBox="1">
            <a:spLocks/>
          </p:cNvSpPr>
          <p:nvPr/>
        </p:nvSpPr>
        <p:spPr>
          <a:xfrm>
            <a:off x="838199" y="6492875"/>
            <a:ext cx="5385619"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latin typeface="Aptos" panose="020B0004020202020204" pitchFamily="34" charset="0"/>
              </a:rPr>
              <a:t>@teamsugberlin.bsky.social #MicrosoftTeams #TeamsUGBerlin</a:t>
            </a:r>
          </a:p>
        </p:txBody>
      </p:sp>
    </p:spTree>
    <p:extLst>
      <p:ext uri="{BB962C8B-B14F-4D97-AF65-F5344CB8AC3E}">
        <p14:creationId xmlns:p14="http://schemas.microsoft.com/office/powerpoint/2010/main" val="269899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577D6B2E-37A3-429E-A37C-F30ED64872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1723" y="-1"/>
            <a:ext cx="12225953" cy="6868071"/>
          </a:xfrm>
          <a:prstGeom prst="rect">
            <a:avLst/>
          </a:prstGeom>
          <a:gradFill>
            <a:gsLst>
              <a:gs pos="0">
                <a:srgbClr val="000000"/>
              </a:gs>
              <a:gs pos="100000">
                <a:schemeClr val="accent1">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41959" y="-3"/>
            <a:ext cx="11772269" cy="6868074"/>
          </a:xfrm>
          <a:prstGeom prst="rect">
            <a:avLst/>
          </a:prstGeom>
          <a:gradFill>
            <a:gsLst>
              <a:gs pos="21000">
                <a:schemeClr val="accent1">
                  <a:lumMod val="50000"/>
                  <a:alpha val="83000"/>
                </a:schemeClr>
              </a:gs>
              <a:gs pos="100000">
                <a:schemeClr val="accent1">
                  <a:alpha val="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5200" y="0"/>
            <a:ext cx="3623374" cy="6868072"/>
          </a:xfrm>
          <a:prstGeom prst="rect">
            <a:avLst/>
          </a:prstGeom>
          <a:gradFill>
            <a:gsLst>
              <a:gs pos="0">
                <a:schemeClr val="accent1">
                  <a:lumMod val="75000"/>
                  <a:alpha val="0"/>
                </a:schemeClr>
              </a:gs>
              <a:gs pos="99000">
                <a:srgbClr val="000000">
                  <a:alpha val="41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1064D5D5-227B-4F66-9AEA-46F570E793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5875" y="-3"/>
            <a:ext cx="12233581" cy="6868076"/>
          </a:xfrm>
          <a:prstGeom prst="rect">
            <a:avLst/>
          </a:prstGeom>
          <a:gradFill>
            <a:gsLst>
              <a:gs pos="3000">
                <a:schemeClr val="accent1">
                  <a:lumMod val="75000"/>
                  <a:alpha val="0"/>
                </a:schemeClr>
              </a:gs>
              <a:gs pos="100000">
                <a:srgbClr val="000000">
                  <a:alpha val="73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646B67A4-D328-4747-A82B-65E84FA463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484334" y="-861824"/>
            <a:ext cx="6861931" cy="8597859"/>
          </a:xfrm>
          <a:prstGeom prst="rect">
            <a:avLst/>
          </a:prstGeom>
          <a:gradFill>
            <a:gsLst>
              <a:gs pos="3000">
                <a:schemeClr val="accent1">
                  <a:lumMod val="75000"/>
                  <a:alpha val="0"/>
                </a:schemeClr>
              </a:gs>
              <a:gs pos="100000">
                <a:srgbClr val="000000">
                  <a:alpha val="27000"/>
                </a:srgb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993193">
            <a:off x="1186972" y="1089049"/>
            <a:ext cx="4967533" cy="4988390"/>
          </a:xfrm>
          <a:prstGeom prst="ellipse">
            <a:avLst/>
          </a:prstGeom>
          <a:gradFill>
            <a:gsLst>
              <a:gs pos="0">
                <a:schemeClr val="accent1">
                  <a:alpha val="26000"/>
                </a:schemeClr>
              </a:gs>
              <a:gs pos="85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a:xfrm>
            <a:off x="4162567" y="818984"/>
            <a:ext cx="6714699" cy="3178689"/>
          </a:xfrm>
        </p:spPr>
        <p:txBody>
          <a:bodyPr vert="horz" lIns="91440" tIns="45720" rIns="91440" bIns="45720" rtlCol="0" anchor="b">
            <a:normAutofit/>
          </a:bodyPr>
          <a:lstStyle/>
          <a:p>
            <a:r>
              <a:rPr lang="en-US" sz="4800" kern="1200" dirty="0" err="1">
                <a:solidFill>
                  <a:srgbClr val="FFFFFF"/>
                </a:solidFill>
                <a:latin typeface="Aptos Display" panose="020B0004020202020204" pitchFamily="34" charset="0"/>
              </a:rPr>
              <a:t>Offene</a:t>
            </a:r>
            <a:r>
              <a:rPr lang="en-US" sz="4800" kern="1200" dirty="0">
                <a:solidFill>
                  <a:srgbClr val="FFFFFF"/>
                </a:solidFill>
                <a:latin typeface="Aptos Display" panose="020B0004020202020204" pitchFamily="34" charset="0"/>
              </a:rPr>
              <a:t> </a:t>
            </a:r>
            <a:r>
              <a:rPr lang="en-US" sz="4800" kern="1200" dirty="0" err="1">
                <a:solidFill>
                  <a:srgbClr val="FFFFFF"/>
                </a:solidFill>
                <a:latin typeface="Aptos Display" panose="020B0004020202020204" pitchFamily="34" charset="0"/>
              </a:rPr>
              <a:t>Diskussion</a:t>
            </a:r>
            <a:r>
              <a:rPr lang="en-US" sz="4800" kern="1200" dirty="0">
                <a:solidFill>
                  <a:srgbClr val="FFFFFF"/>
                </a:solidFill>
                <a:latin typeface="Aptos Display" panose="020B0004020202020204" pitchFamily="34" charset="0"/>
              </a:rPr>
              <a:t> </a:t>
            </a:r>
          </a:p>
        </p:txBody>
      </p:sp>
      <p:sp>
        <p:nvSpPr>
          <p:cNvPr id="24" name="Rectangle 23">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 y="4490110"/>
            <a:ext cx="12217710" cy="2377962"/>
          </a:xfrm>
          <a:prstGeom prst="rect">
            <a:avLst/>
          </a:prstGeom>
          <a:gradFill>
            <a:gsLst>
              <a:gs pos="0">
                <a:schemeClr val="accent1">
                  <a:lumMod val="75000"/>
                  <a:alpha val="50000"/>
                </a:schemeClr>
              </a:gs>
              <a:gs pos="99000">
                <a:srgbClr val="000000">
                  <a:alpha val="34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a:xfrm>
            <a:off x="4285397" y="4960961"/>
            <a:ext cx="7055893" cy="1078054"/>
          </a:xfrm>
        </p:spPr>
        <p:txBody>
          <a:bodyPr vert="horz" lIns="91440" tIns="45720" rIns="91440" bIns="45720" rtlCol="0">
            <a:normAutofit/>
          </a:bodyPr>
          <a:lstStyle/>
          <a:p>
            <a:endParaRPr lang="en-US" sz="2400" kern="1200">
              <a:solidFill>
                <a:srgbClr val="FFFFFF"/>
              </a:solidFill>
              <a:latin typeface="+mn-lt"/>
              <a:ea typeface="+mn-ea"/>
              <a:cs typeface="+mn-cs"/>
            </a:endParaRPr>
          </a:p>
        </p:txBody>
      </p:sp>
      <p:sp>
        <p:nvSpPr>
          <p:cNvPr id="2" name="Fußzeilenplatzhalter 4">
            <a:extLst>
              <a:ext uri="{FF2B5EF4-FFF2-40B4-BE49-F238E27FC236}">
                <a16:creationId xmlns:a16="http://schemas.microsoft.com/office/drawing/2014/main" id="{427F8C4A-102A-0947-1433-DC8D572885AB}"/>
              </a:ext>
            </a:extLst>
          </p:cNvPr>
          <p:cNvSpPr txBox="1">
            <a:spLocks/>
          </p:cNvSpPr>
          <p:nvPr/>
        </p:nvSpPr>
        <p:spPr>
          <a:xfrm>
            <a:off x="838199" y="6492875"/>
            <a:ext cx="5385619"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latin typeface="Aptos" panose="020B0004020202020204" pitchFamily="34" charset="0"/>
              </a:rPr>
              <a:t>@teamsugberlin.bsky.social #MicrosoftTeams #TeamsUGBerlin</a:t>
            </a:r>
          </a:p>
        </p:txBody>
      </p:sp>
    </p:spTree>
    <p:extLst>
      <p:ext uri="{BB962C8B-B14F-4D97-AF65-F5344CB8AC3E}">
        <p14:creationId xmlns:p14="http://schemas.microsoft.com/office/powerpoint/2010/main" val="192833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p:txBody>
          <a:bodyPr/>
          <a:lstStyle/>
          <a:p>
            <a:r>
              <a:rPr lang="de-DE"/>
              <a:t>Organisatorisches </a:t>
            </a:r>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p:txBody>
          <a:bodyPr/>
          <a:lstStyle/>
          <a:p>
            <a:endParaRPr lang="de-DE"/>
          </a:p>
        </p:txBody>
      </p:sp>
    </p:spTree>
    <p:extLst>
      <p:ext uri="{BB962C8B-B14F-4D97-AF65-F5344CB8AC3E}">
        <p14:creationId xmlns:p14="http://schemas.microsoft.com/office/powerpoint/2010/main" val="281496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B30EE16-D925-417D-89E0-E0CFDA2C14B8}"/>
              </a:ext>
            </a:extLst>
          </p:cNvPr>
          <p:cNvSpPr>
            <a:spLocks noGrp="1"/>
          </p:cNvSpPr>
          <p:nvPr>
            <p:ph type="title"/>
          </p:nvPr>
        </p:nvSpPr>
        <p:spPr/>
        <p:txBody>
          <a:bodyPr/>
          <a:lstStyle/>
          <a:p>
            <a:r>
              <a:rPr lang="de-DE"/>
              <a:t>Organisatorisches</a:t>
            </a:r>
          </a:p>
        </p:txBody>
      </p:sp>
      <p:sp>
        <p:nvSpPr>
          <p:cNvPr id="5" name="Inhaltsplatzhalter 4">
            <a:extLst>
              <a:ext uri="{FF2B5EF4-FFF2-40B4-BE49-F238E27FC236}">
                <a16:creationId xmlns:a16="http://schemas.microsoft.com/office/drawing/2014/main" id="{E4B561B6-C0CF-43D8-8BC7-F305B96C47C8}"/>
              </a:ext>
            </a:extLst>
          </p:cNvPr>
          <p:cNvSpPr>
            <a:spLocks noGrp="1"/>
          </p:cNvSpPr>
          <p:nvPr>
            <p:ph idx="1"/>
          </p:nvPr>
        </p:nvSpPr>
        <p:spPr/>
        <p:txBody>
          <a:bodyPr>
            <a:normAutofit/>
          </a:bodyPr>
          <a:lstStyle/>
          <a:p>
            <a:r>
              <a:rPr lang="de-DE" dirty="0"/>
              <a:t>Microsoft Community Tenant für User Groups</a:t>
            </a:r>
          </a:p>
          <a:p>
            <a:pPr lvl="1"/>
            <a:r>
              <a:rPr lang="de-DE" dirty="0"/>
              <a:t>Teilnahme als Microsoft 365 Gast</a:t>
            </a:r>
          </a:p>
          <a:p>
            <a:pPr lvl="1"/>
            <a:r>
              <a:rPr lang="de-DE" dirty="0"/>
              <a:t>Anmeldung: </a:t>
            </a:r>
            <a:r>
              <a:rPr lang="de-DE" dirty="0">
                <a:hlinkClick r:id="rId2"/>
              </a:rPr>
              <a:t>https://go.granikos.eu/TeamsUGForm</a:t>
            </a:r>
            <a:r>
              <a:rPr lang="de-DE" dirty="0"/>
              <a:t> </a:t>
            </a:r>
            <a:br>
              <a:rPr lang="de-DE" dirty="0"/>
            </a:br>
            <a:endParaRPr lang="de-DE" dirty="0"/>
          </a:p>
          <a:p>
            <a:r>
              <a:rPr lang="de-DE" dirty="0">
                <a:sym typeface="Wingdings" panose="05000000000000000000" pitchFamily="2" charset="2"/>
              </a:rPr>
              <a:t>Teams Meeting Teilnahme-Link</a:t>
            </a:r>
          </a:p>
          <a:p>
            <a:pPr lvl="1"/>
            <a:r>
              <a:rPr lang="de-DE" dirty="0">
                <a:sym typeface="Wingdings" panose="05000000000000000000" pitchFamily="2" charset="2"/>
                <a:hlinkClick r:id="rId3"/>
              </a:rPr>
              <a:t>https://teamsusergroup.berlin/meetup</a:t>
            </a:r>
            <a:r>
              <a:rPr lang="de-DE" dirty="0">
                <a:sym typeface="Wingdings" panose="05000000000000000000" pitchFamily="2" charset="2"/>
              </a:rPr>
              <a:t> </a:t>
            </a:r>
          </a:p>
          <a:p>
            <a:r>
              <a:rPr lang="de-DE" dirty="0">
                <a:sym typeface="Wingdings" panose="05000000000000000000" pitchFamily="2" charset="2"/>
              </a:rPr>
              <a:t>Teams User Group Aufzeichnungen</a:t>
            </a:r>
          </a:p>
          <a:p>
            <a:pPr lvl="1"/>
            <a:r>
              <a:rPr lang="de-DE" dirty="0">
                <a:sym typeface="Wingdings" panose="05000000000000000000" pitchFamily="2" charset="2"/>
                <a:hlinkClick r:id="rId4"/>
              </a:rPr>
              <a:t>https://teamsusergroup.berlin/video</a:t>
            </a:r>
            <a:r>
              <a:rPr lang="de-DE" dirty="0">
                <a:sym typeface="Wingdings" panose="05000000000000000000" pitchFamily="2" charset="2"/>
              </a:rPr>
              <a:t> </a:t>
            </a:r>
          </a:p>
          <a:p>
            <a:r>
              <a:rPr lang="de-DE" dirty="0">
                <a:sym typeface="Wingdings" panose="05000000000000000000" pitchFamily="2" charset="2"/>
              </a:rPr>
              <a:t>Teams User Group bei </a:t>
            </a:r>
            <a:r>
              <a:rPr lang="de-DE" dirty="0" err="1">
                <a:sym typeface="Wingdings" panose="05000000000000000000" pitchFamily="2" charset="2"/>
              </a:rPr>
              <a:t>Bluesky</a:t>
            </a:r>
            <a:endParaRPr lang="de-DE" dirty="0">
              <a:sym typeface="Wingdings" panose="05000000000000000000" pitchFamily="2" charset="2"/>
            </a:endParaRPr>
          </a:p>
          <a:p>
            <a:pPr lvl="1"/>
            <a:r>
              <a:rPr lang="de-DE" dirty="0" err="1">
                <a:sym typeface="Wingdings" panose="05000000000000000000" pitchFamily="2" charset="2"/>
              </a:rPr>
              <a:t>teamsugberlin.bsky.social</a:t>
            </a:r>
            <a:br>
              <a:rPr lang="de-DE" dirty="0">
                <a:sym typeface="Wingdings" panose="05000000000000000000" pitchFamily="2" charset="2"/>
              </a:rPr>
            </a:br>
            <a:endParaRPr lang="de-DE" dirty="0">
              <a:sym typeface="Wingdings" panose="05000000000000000000" pitchFamily="2" charset="2"/>
            </a:endParaRPr>
          </a:p>
        </p:txBody>
      </p:sp>
      <p:pic>
        <p:nvPicPr>
          <p:cNvPr id="2050" name="Picture 2">
            <a:extLst>
              <a:ext uri="{FF2B5EF4-FFF2-40B4-BE49-F238E27FC236}">
                <a16:creationId xmlns:a16="http://schemas.microsoft.com/office/drawing/2014/main" id="{DE9DABCD-CA25-2C8D-141D-F825F843D2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21969" y="4480069"/>
            <a:ext cx="1831831" cy="1831831"/>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descr="Ein Bild, das Symbol, Logo, Grafiken, Screenshot enthält.&#10;&#10;Automatisch generierte Beschreibung">
            <a:extLst>
              <a:ext uri="{FF2B5EF4-FFF2-40B4-BE49-F238E27FC236}">
                <a16:creationId xmlns:a16="http://schemas.microsoft.com/office/drawing/2014/main" id="{1D717E81-E6CC-BDE9-9A9C-D2158447BB7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18684" y="1158731"/>
            <a:ext cx="2438400" cy="2438400"/>
          </a:xfrm>
          <a:prstGeom prst="rect">
            <a:avLst/>
          </a:prstGeom>
        </p:spPr>
      </p:pic>
    </p:spTree>
    <p:extLst>
      <p:ext uri="{BB962C8B-B14F-4D97-AF65-F5344CB8AC3E}">
        <p14:creationId xmlns:p14="http://schemas.microsoft.com/office/powerpoint/2010/main" val="2791634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7" end="7"/>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4AB0BF-6550-48A4-8221-F9AE6DCEF311}"/>
              </a:ext>
            </a:extLst>
          </p:cNvPr>
          <p:cNvSpPr>
            <a:spLocks noGrp="1"/>
          </p:cNvSpPr>
          <p:nvPr>
            <p:ph type="title"/>
          </p:nvPr>
        </p:nvSpPr>
        <p:spPr/>
        <p:txBody>
          <a:bodyPr/>
          <a:lstStyle/>
          <a:p>
            <a:r>
              <a:rPr lang="de-DE"/>
              <a:t>Vielen Dank für eure Teilnahme!</a:t>
            </a:r>
          </a:p>
        </p:txBody>
      </p:sp>
      <p:sp>
        <p:nvSpPr>
          <p:cNvPr id="3" name="Inhaltsplatzhalter 2">
            <a:extLst>
              <a:ext uri="{FF2B5EF4-FFF2-40B4-BE49-F238E27FC236}">
                <a16:creationId xmlns:a16="http://schemas.microsoft.com/office/drawing/2014/main" id="{3A5A44EB-7FB9-473A-8ED3-C49DDD2E65AB}"/>
              </a:ext>
            </a:extLst>
          </p:cNvPr>
          <p:cNvSpPr>
            <a:spLocks noGrp="1"/>
          </p:cNvSpPr>
          <p:nvPr>
            <p:ph idx="1"/>
          </p:nvPr>
        </p:nvSpPr>
        <p:spPr/>
        <p:txBody>
          <a:bodyPr vert="horz" lIns="91440" tIns="45720" rIns="91440" bIns="45720" rtlCol="0" anchor="t">
            <a:noAutofit/>
          </a:bodyPr>
          <a:lstStyle/>
          <a:p>
            <a:pPr marL="0" indent="0">
              <a:buNone/>
            </a:pPr>
            <a:r>
              <a:rPr lang="de-DE" sz="3200" dirty="0"/>
              <a:t>Das nächste Meetup:</a:t>
            </a:r>
          </a:p>
          <a:p>
            <a:pPr marL="0" indent="0">
              <a:buNone/>
            </a:pPr>
            <a:r>
              <a:rPr lang="de-DE" sz="3200" dirty="0">
                <a:sym typeface="Wingdings" panose="05000000000000000000" pitchFamily="2" charset="2"/>
              </a:rPr>
              <a:t>	</a:t>
            </a:r>
            <a:r>
              <a:rPr lang="de-DE" sz="3200" dirty="0"/>
              <a:t> </a:t>
            </a:r>
            <a:r>
              <a:rPr lang="de-DE" sz="3200" b="1" dirty="0"/>
              <a:t>20. Juni 2024</a:t>
            </a:r>
            <a:endParaRPr lang="de-DE" sz="3200" b="1" dirty="0">
              <a:cs typeface="Calibri"/>
            </a:endParaRPr>
          </a:p>
          <a:p>
            <a:pPr marL="0" indent="0">
              <a:buNone/>
            </a:pPr>
            <a:br>
              <a:rPr lang="en-US" sz="3200" dirty="0">
                <a:hlinkClick r:id="rId3"/>
              </a:rPr>
            </a:br>
            <a:r>
              <a:rPr lang="en-US" sz="3200" dirty="0">
                <a:hlinkClick r:id="rId4"/>
              </a:rPr>
              <a:t>https://TeamsUserGroup.Berlin/register</a:t>
            </a:r>
            <a:r>
              <a:rPr lang="en-US" sz="3200" dirty="0"/>
              <a:t> </a:t>
            </a:r>
            <a:br>
              <a:rPr lang="de-DE" sz="3200" dirty="0"/>
            </a:br>
            <a:endParaRPr lang="de-DE" sz="3200" dirty="0"/>
          </a:p>
          <a:p>
            <a:pPr marL="0" indent="0">
              <a:buNone/>
            </a:pPr>
            <a:r>
              <a:rPr lang="de-DE" sz="3200" dirty="0"/>
              <a:t>Spread the Word!</a:t>
            </a:r>
          </a:p>
          <a:p>
            <a:pPr marL="0" indent="0">
              <a:buNone/>
            </a:pPr>
            <a:r>
              <a:rPr lang="de-DE" sz="3200" dirty="0"/>
              <a:t>#TeamsUGBerlin</a:t>
            </a:r>
          </a:p>
          <a:p>
            <a:pPr marL="0" indent="0">
              <a:buNone/>
            </a:pPr>
            <a:br>
              <a:rPr lang="de-DE" sz="2400" i="1" dirty="0"/>
            </a:br>
            <a:r>
              <a:rPr lang="de-DE" sz="2000" i="1" dirty="0"/>
              <a:t>Aufzeichnungen unserer Meetups sind im Community Team und bei YouTube verfügbar</a:t>
            </a:r>
            <a:br>
              <a:rPr lang="de-DE" sz="2000" i="1" dirty="0"/>
            </a:br>
            <a:r>
              <a:rPr lang="de-DE" sz="2000" i="1" dirty="0"/>
              <a:t>Präsentationen sind als PPTX im Community Mandanten und bei GitHub verfügbar</a:t>
            </a:r>
          </a:p>
          <a:p>
            <a:pPr marL="0" indent="0">
              <a:buNone/>
            </a:pPr>
            <a:endParaRPr lang="de-DE" sz="3200" dirty="0"/>
          </a:p>
          <a:p>
            <a:pPr marL="0" indent="0">
              <a:buNone/>
            </a:pPr>
            <a:endParaRPr lang="de-DE" sz="3200" dirty="0"/>
          </a:p>
          <a:p>
            <a:pPr marL="0" indent="0">
              <a:buNone/>
            </a:pPr>
            <a:endParaRPr lang="en-US" sz="3200" dirty="0"/>
          </a:p>
          <a:p>
            <a:pPr marL="0" indent="0">
              <a:buNone/>
            </a:pPr>
            <a:endParaRPr lang="de-DE" sz="3200" dirty="0"/>
          </a:p>
        </p:txBody>
      </p:sp>
      <p:pic>
        <p:nvPicPr>
          <p:cNvPr id="1026" name="Picture 2">
            <a:extLst>
              <a:ext uri="{FF2B5EF4-FFF2-40B4-BE49-F238E27FC236}">
                <a16:creationId xmlns:a16="http://schemas.microsoft.com/office/drawing/2014/main" id="{F7C90142-B1AA-1344-2DB1-054C9B2C6BC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28451" y="3737026"/>
            <a:ext cx="1925349" cy="19253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279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Camera lens close up">
            <a:extLst>
              <a:ext uri="{FF2B5EF4-FFF2-40B4-BE49-F238E27FC236}">
                <a16:creationId xmlns:a16="http://schemas.microsoft.com/office/drawing/2014/main" id="{CF4A5BDA-987C-0075-B56E-A06CBB9EF925}"/>
              </a:ext>
            </a:extLst>
          </p:cNvPr>
          <p:cNvPicPr>
            <a:picLocks noChangeAspect="1"/>
          </p:cNvPicPr>
          <p:nvPr/>
        </p:nvPicPr>
        <p:blipFill rotWithShape="1">
          <a:blip r:embed="rId2"/>
          <a:srcRect r="15627" b="-1"/>
          <a:stretch/>
        </p:blipFill>
        <p:spPr>
          <a:xfrm>
            <a:off x="3523488" y="10"/>
            <a:ext cx="8668512" cy="6857990"/>
          </a:xfrm>
          <a:prstGeom prst="rect">
            <a:avLst/>
          </a:prstGeom>
        </p:spPr>
      </p:pic>
      <p:sp>
        <p:nvSpPr>
          <p:cNvPr id="13" name="Rectangle 12">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el 3">
            <a:extLst>
              <a:ext uri="{FF2B5EF4-FFF2-40B4-BE49-F238E27FC236}">
                <a16:creationId xmlns:a16="http://schemas.microsoft.com/office/drawing/2014/main" id="{855E9E74-B9FC-897F-43D9-0E7B90E467B5}"/>
              </a:ext>
            </a:extLst>
          </p:cNvPr>
          <p:cNvSpPr>
            <a:spLocks noGrp="1"/>
          </p:cNvSpPr>
          <p:nvPr>
            <p:ph type="title"/>
          </p:nvPr>
        </p:nvSpPr>
        <p:spPr>
          <a:xfrm>
            <a:off x="477981" y="1122363"/>
            <a:ext cx="4023360" cy="3204134"/>
          </a:xfrm>
        </p:spPr>
        <p:txBody>
          <a:bodyPr vert="horz" lIns="91440" tIns="45720" rIns="91440" bIns="45720" rtlCol="0" anchor="b">
            <a:normAutofit/>
          </a:bodyPr>
          <a:lstStyle/>
          <a:p>
            <a:r>
              <a:rPr lang="en-US" sz="4800" dirty="0">
                <a:solidFill>
                  <a:schemeClr val="bg1"/>
                </a:solidFill>
                <a:latin typeface="Aptos" panose="020B0004020202020204" pitchFamily="34" charset="0"/>
              </a:rPr>
              <a:t>Demo</a:t>
            </a:r>
          </a:p>
        </p:txBody>
      </p:sp>
      <p:sp>
        <p:nvSpPr>
          <p:cNvPr id="5" name="Textplatzhalter 4">
            <a:extLst>
              <a:ext uri="{FF2B5EF4-FFF2-40B4-BE49-F238E27FC236}">
                <a16:creationId xmlns:a16="http://schemas.microsoft.com/office/drawing/2014/main" id="{019A2F21-8679-810B-418A-FDD6B869AC63}"/>
              </a:ext>
            </a:extLst>
          </p:cNvPr>
          <p:cNvSpPr>
            <a:spLocks noGrp="1"/>
          </p:cNvSpPr>
          <p:nvPr>
            <p:ph type="body" idx="1"/>
          </p:nvPr>
        </p:nvSpPr>
        <p:spPr>
          <a:xfrm>
            <a:off x="477980" y="4872922"/>
            <a:ext cx="4023359" cy="1208141"/>
          </a:xfrm>
        </p:spPr>
        <p:txBody>
          <a:bodyPr vert="horz" lIns="91440" tIns="45720" rIns="91440" bIns="45720" rtlCol="0">
            <a:normAutofit/>
          </a:bodyPr>
          <a:lstStyle/>
          <a:p>
            <a:endParaRPr lang="en-US" sz="2000">
              <a:solidFill>
                <a:schemeClr val="bg1"/>
              </a:solidFill>
              <a:latin typeface="+mn-lt"/>
            </a:endParaRPr>
          </a:p>
        </p:txBody>
      </p:sp>
      <p:sp>
        <p:nvSpPr>
          <p:cNvPr id="15" name="Rectangle 14">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266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1DF91F20-B96F-4F77-AC3E-2CDD3BAA10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200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3D487F7-9050-4871-B351-34A72ADB29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84" y="-1"/>
            <a:ext cx="8111296" cy="6858000"/>
          </a:xfrm>
          <a:prstGeom prst="rect">
            <a:avLst/>
          </a:prstGeom>
          <a:gradFill>
            <a:gsLst>
              <a:gs pos="8000">
                <a:srgbClr val="000000">
                  <a:alpha val="94000"/>
                </a:srgbClr>
              </a:gs>
              <a:gs pos="100000">
                <a:schemeClr val="accent1"/>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43C27DD-EF6A-4C48-9669-C2970E71A81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858281" y="-401562"/>
            <a:ext cx="6858004" cy="7661129"/>
          </a:xfrm>
          <a:prstGeom prst="rect">
            <a:avLst/>
          </a:prstGeom>
          <a:gradFill>
            <a:gsLst>
              <a:gs pos="0">
                <a:schemeClr val="accent1">
                  <a:alpha val="23000"/>
                </a:schemeClr>
              </a:gs>
              <a:gs pos="71000">
                <a:schemeClr val="accent1">
                  <a:lumMod val="50000"/>
                  <a:alpha val="0"/>
                </a:schemeClr>
              </a:gs>
              <a:gs pos="100000">
                <a:srgbClr val="000000">
                  <a:alpha val="0"/>
                </a:srgb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C84384FE-1C88-4CAA-8FB8-2313A3AE73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519" y="-1"/>
            <a:ext cx="8118331" cy="6858000"/>
          </a:xfrm>
          <a:prstGeom prst="rect">
            <a:avLst/>
          </a:prstGeom>
          <a:gradFill>
            <a:gsLst>
              <a:gs pos="14000">
                <a:schemeClr val="accent1">
                  <a:alpha val="0"/>
                </a:schemeClr>
              </a:gs>
              <a:gs pos="100000">
                <a:srgbClr val="000000">
                  <a:alpha val="82000"/>
                </a:srgb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87B6A113-58CD-406C-BCE4-6E1F1F2BE6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449520">
            <a:off x="2569700" y="983306"/>
            <a:ext cx="5005754" cy="5005754"/>
          </a:xfrm>
          <a:prstGeom prst="ellipse">
            <a:avLst/>
          </a:prstGeom>
          <a:gradFill>
            <a:gsLst>
              <a:gs pos="17000">
                <a:schemeClr val="accent1">
                  <a:lumMod val="75000"/>
                  <a:alpha val="0"/>
                </a:schemeClr>
              </a:gs>
              <a:gs pos="82000">
                <a:srgbClr val="000000">
                  <a:alpha val="24000"/>
                </a:srgb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a:xfrm>
            <a:off x="1011948" y="857251"/>
            <a:ext cx="7105898" cy="3160113"/>
          </a:xfrm>
        </p:spPr>
        <p:txBody>
          <a:bodyPr vert="horz" lIns="91440" tIns="45720" rIns="91440" bIns="45720" rtlCol="0" anchor="b">
            <a:normAutofit/>
          </a:bodyPr>
          <a:lstStyle/>
          <a:p>
            <a:r>
              <a:rPr lang="de-DE" sz="4800" b="1" kern="1200" dirty="0">
                <a:solidFill>
                  <a:srgbClr val="FFFFFF"/>
                </a:solidFill>
                <a:latin typeface="Aptos Display" panose="020B0004020202020204" pitchFamily="34" charset="0"/>
              </a:rPr>
              <a:t>Neues in Microsoft Teams</a:t>
            </a:r>
            <a:br>
              <a:rPr lang="de-DE" sz="4800" b="1" kern="1200" dirty="0">
                <a:solidFill>
                  <a:srgbClr val="FFFFFF"/>
                </a:solidFill>
                <a:latin typeface="Aptos Display" panose="020B0004020202020204" pitchFamily="34" charset="0"/>
              </a:rPr>
            </a:br>
            <a:r>
              <a:rPr lang="de-DE" sz="4800" b="1" kern="1200" dirty="0">
                <a:solidFill>
                  <a:srgbClr val="FFFFFF"/>
                </a:solidFill>
                <a:latin typeface="Aptos Display" panose="020B0004020202020204" pitchFamily="34" charset="0"/>
              </a:rPr>
              <a:t>Ankündigungen &amp; Rollouts </a:t>
            </a:r>
            <a:endParaRPr lang="en-US" sz="4800" kern="1200" dirty="0">
              <a:solidFill>
                <a:srgbClr val="FFFFFF"/>
              </a:solidFill>
              <a:latin typeface="Aptos Display" panose="020B0004020202020204" pitchFamily="34" charset="0"/>
            </a:endParaRPr>
          </a:p>
        </p:txBody>
      </p:sp>
      <p:sp>
        <p:nvSpPr>
          <p:cNvPr id="20" name="Rectangle 19">
            <a:extLst>
              <a:ext uri="{FF2B5EF4-FFF2-40B4-BE49-F238E27FC236}">
                <a16:creationId xmlns:a16="http://schemas.microsoft.com/office/drawing/2014/main" id="{05A1AA86-B7E6-4C02-AA34-F1A25CD4CC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518" y="4354178"/>
            <a:ext cx="8118330" cy="2503817"/>
          </a:xfrm>
          <a:prstGeom prst="rect">
            <a:avLst/>
          </a:prstGeom>
          <a:gradFill>
            <a:gsLst>
              <a:gs pos="0">
                <a:schemeClr val="accent1">
                  <a:lumMod val="75000"/>
                  <a:alpha val="33000"/>
                </a:schemeClr>
              </a:gs>
              <a:gs pos="83000">
                <a:srgbClr val="000000">
                  <a:alpha val="21000"/>
                </a:srgb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a:xfrm>
            <a:off x="1105661" y="4800600"/>
            <a:ext cx="5179879" cy="1200149"/>
          </a:xfrm>
        </p:spPr>
        <p:txBody>
          <a:bodyPr vert="horz" lIns="91440" tIns="45720" rIns="91440" bIns="45720" rtlCol="0" anchor="t">
            <a:normAutofit/>
          </a:bodyPr>
          <a:lstStyle/>
          <a:p>
            <a:r>
              <a:rPr lang="en-US" i="1" kern="1200" dirty="0">
                <a:solidFill>
                  <a:srgbClr val="FFFFFF"/>
                </a:solidFill>
                <a:latin typeface="Aptos Display" panose="020B0004020202020204" pitchFamily="34" charset="0"/>
              </a:rPr>
              <a:t>Meetup #29</a:t>
            </a:r>
          </a:p>
          <a:p>
            <a:br>
              <a:rPr lang="en-US" i="1" dirty="0">
                <a:solidFill>
                  <a:srgbClr val="FFFFFF"/>
                </a:solidFill>
                <a:latin typeface="Aptos Display" panose="020B0004020202020204" pitchFamily="34" charset="0"/>
              </a:rPr>
            </a:br>
            <a:r>
              <a:rPr lang="en-US" i="1" dirty="0">
                <a:solidFill>
                  <a:srgbClr val="FFFFFF"/>
                </a:solidFill>
                <a:latin typeface="Aptos Display" panose="020B0004020202020204" pitchFamily="34" charset="0"/>
              </a:rPr>
              <a:t>Thomas Stensitzki</a:t>
            </a:r>
          </a:p>
        </p:txBody>
      </p:sp>
      <p:pic>
        <p:nvPicPr>
          <p:cNvPr id="2" name="Grafik 1" descr="Ein Bild, das Symbol, Logo, Grafiken, Screenshot enthält.&#10;&#10;Automatisch generierte Beschreibung">
            <a:extLst>
              <a:ext uri="{FF2B5EF4-FFF2-40B4-BE49-F238E27FC236}">
                <a16:creationId xmlns:a16="http://schemas.microsoft.com/office/drawing/2014/main" id="{2D4F20BA-957A-E4A8-5973-4395A78430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60981" y="1842090"/>
            <a:ext cx="3173819" cy="3173819"/>
          </a:xfrm>
          <a:prstGeom prst="rect">
            <a:avLst/>
          </a:prstGeom>
        </p:spPr>
      </p:pic>
      <p:pic>
        <p:nvPicPr>
          <p:cNvPr id="3" name="Grafik 2">
            <a:extLst>
              <a:ext uri="{FF2B5EF4-FFF2-40B4-BE49-F238E27FC236}">
                <a16:creationId xmlns:a16="http://schemas.microsoft.com/office/drawing/2014/main" id="{C238D38B-E0A5-0149-AE47-F37690A7AA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05320" y="5167229"/>
            <a:ext cx="4086680" cy="2043340"/>
          </a:xfrm>
          <a:prstGeom prst="rect">
            <a:avLst/>
          </a:prstGeom>
        </p:spPr>
      </p:pic>
      <p:sp>
        <p:nvSpPr>
          <p:cNvPr id="6" name="Textfeld 5">
            <a:extLst>
              <a:ext uri="{FF2B5EF4-FFF2-40B4-BE49-F238E27FC236}">
                <a16:creationId xmlns:a16="http://schemas.microsoft.com/office/drawing/2014/main" id="{600961AA-14F1-DE21-25E2-ADA3197DB246}"/>
              </a:ext>
            </a:extLst>
          </p:cNvPr>
          <p:cNvSpPr txBox="1"/>
          <p:nvPr/>
        </p:nvSpPr>
        <p:spPr>
          <a:xfrm rot="20570296">
            <a:off x="7579340" y="4374821"/>
            <a:ext cx="5135671" cy="1323439"/>
          </a:xfrm>
          <a:prstGeom prst="rect">
            <a:avLst/>
          </a:prstGeom>
          <a:noFill/>
        </p:spPr>
        <p:txBody>
          <a:bodyPr wrap="square" rtlCol="0">
            <a:spAutoFit/>
          </a:bodyPr>
          <a:lstStyle/>
          <a:p>
            <a:pPr algn="ctr"/>
            <a:r>
              <a:rPr lang="en-US" sz="80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Aptos" panose="020B0004020202020204" pitchFamily="34" charset="0"/>
              </a:rPr>
              <a:t>Updates</a:t>
            </a:r>
          </a:p>
        </p:txBody>
      </p:sp>
      <p:sp>
        <p:nvSpPr>
          <p:cNvPr id="7" name="Fußzeilenplatzhalter 4">
            <a:extLst>
              <a:ext uri="{FF2B5EF4-FFF2-40B4-BE49-F238E27FC236}">
                <a16:creationId xmlns:a16="http://schemas.microsoft.com/office/drawing/2014/main" id="{8DF7C088-00D2-48E3-52D4-5E1AA09C31AC}"/>
              </a:ext>
            </a:extLst>
          </p:cNvPr>
          <p:cNvSpPr txBox="1">
            <a:spLocks/>
          </p:cNvSpPr>
          <p:nvPr/>
        </p:nvSpPr>
        <p:spPr>
          <a:xfrm>
            <a:off x="838199" y="6492875"/>
            <a:ext cx="5385619"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e-DE" dirty="0">
                <a:latin typeface="Aptos" panose="020B0004020202020204" pitchFamily="34" charset="0"/>
              </a:rPr>
              <a:t>@teamsugberlin.bsky.social #MicrosoftTeams #TeamsUGBerlin</a:t>
            </a:r>
          </a:p>
        </p:txBody>
      </p:sp>
    </p:spTree>
    <p:extLst>
      <p:ext uri="{BB962C8B-B14F-4D97-AF65-F5344CB8AC3E}">
        <p14:creationId xmlns:p14="http://schemas.microsoft.com/office/powerpoint/2010/main" val="356898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3A15CBD-C746-44A3-A4F0-4898CE2F02E6}"/>
              </a:ext>
            </a:extLst>
          </p:cNvPr>
          <p:cNvSpPr>
            <a:spLocks noGrp="1"/>
          </p:cNvSpPr>
          <p:nvPr>
            <p:ph type="title"/>
          </p:nvPr>
        </p:nvSpPr>
        <p:spPr/>
        <p:txBody>
          <a:bodyPr>
            <a:normAutofit/>
          </a:bodyPr>
          <a:lstStyle/>
          <a:p>
            <a:r>
              <a:rPr lang="de-DE" dirty="0"/>
              <a:t>Neues in Microsoft Teams</a:t>
            </a:r>
            <a:br>
              <a:rPr lang="de-DE" dirty="0"/>
            </a:br>
            <a:r>
              <a:rPr lang="de-DE" dirty="0"/>
              <a:t>Ankündigungen &amp; Rollouts </a:t>
            </a:r>
          </a:p>
        </p:txBody>
      </p:sp>
      <p:sp>
        <p:nvSpPr>
          <p:cNvPr id="5" name="Textplatzhalter 4">
            <a:extLst>
              <a:ext uri="{FF2B5EF4-FFF2-40B4-BE49-F238E27FC236}">
                <a16:creationId xmlns:a16="http://schemas.microsoft.com/office/drawing/2014/main" id="{F3459BE7-1731-4733-A912-12977C68CFD6}"/>
              </a:ext>
            </a:extLst>
          </p:cNvPr>
          <p:cNvSpPr>
            <a:spLocks noGrp="1"/>
          </p:cNvSpPr>
          <p:nvPr>
            <p:ph type="body" idx="1"/>
          </p:nvPr>
        </p:nvSpPr>
        <p:spPr/>
        <p:txBody>
          <a:bodyPr/>
          <a:lstStyle/>
          <a:p>
            <a:r>
              <a:rPr lang="de-DE" dirty="0"/>
              <a:t>Meetup #28 </a:t>
            </a:r>
            <a:br>
              <a:rPr lang="de-DE" dirty="0"/>
            </a:br>
            <a:br>
              <a:rPr lang="de-DE" dirty="0"/>
            </a:br>
            <a:r>
              <a:rPr lang="de-DE" i="1" dirty="0"/>
              <a:t>Thomas Stensitzki</a:t>
            </a:r>
          </a:p>
        </p:txBody>
      </p:sp>
      <p:sp>
        <p:nvSpPr>
          <p:cNvPr id="2" name="Textfeld 1">
            <a:extLst>
              <a:ext uri="{FF2B5EF4-FFF2-40B4-BE49-F238E27FC236}">
                <a16:creationId xmlns:a16="http://schemas.microsoft.com/office/drawing/2014/main" id="{A0204B4B-AC00-4A91-B83C-FDA5915CC9E5}"/>
              </a:ext>
            </a:extLst>
          </p:cNvPr>
          <p:cNvSpPr txBox="1"/>
          <p:nvPr/>
        </p:nvSpPr>
        <p:spPr>
          <a:xfrm rot="20570296">
            <a:off x="6143557" y="3927744"/>
            <a:ext cx="5135671" cy="1323439"/>
          </a:xfrm>
          <a:prstGeom prst="rect">
            <a:avLst/>
          </a:prstGeom>
          <a:noFill/>
        </p:spPr>
        <p:txBody>
          <a:bodyPr wrap="square" rtlCol="0">
            <a:spAutoFit/>
          </a:bodyPr>
          <a:lstStyle/>
          <a:p>
            <a:pPr algn="ctr"/>
            <a:r>
              <a:rPr lang="en-US" sz="80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Aptos" panose="020B0004020202020204" pitchFamily="34" charset="0"/>
              </a:rPr>
              <a:t>Updates</a:t>
            </a:r>
          </a:p>
        </p:txBody>
      </p:sp>
      <p:pic>
        <p:nvPicPr>
          <p:cNvPr id="3" name="Grafik 2" descr="Ein Bild, das Symbol, Logo, Grafiken, Screenshot enthält.&#10;&#10;Automatisch generierte Beschreibung">
            <a:extLst>
              <a:ext uri="{FF2B5EF4-FFF2-40B4-BE49-F238E27FC236}">
                <a16:creationId xmlns:a16="http://schemas.microsoft.com/office/drawing/2014/main" id="{9CE283F6-AC42-BB12-8269-56DA34520B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089" y="0"/>
            <a:ext cx="2438400" cy="2438400"/>
          </a:xfrm>
          <a:prstGeom prst="rect">
            <a:avLst/>
          </a:prstGeom>
        </p:spPr>
      </p:pic>
    </p:spTree>
    <p:extLst>
      <p:ext uri="{BB962C8B-B14F-4D97-AF65-F5344CB8AC3E}">
        <p14:creationId xmlns:p14="http://schemas.microsoft.com/office/powerpoint/2010/main" val="4007670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12969B4-351A-4517-A5B8-3E6AD9CDB206}"/>
              </a:ext>
            </a:extLst>
          </p:cNvPr>
          <p:cNvSpPr>
            <a:spLocks noGrp="1"/>
          </p:cNvSpPr>
          <p:nvPr>
            <p:ph type="title"/>
          </p:nvPr>
        </p:nvSpPr>
        <p:spPr/>
        <p:txBody>
          <a:bodyPr/>
          <a:lstStyle/>
          <a:p>
            <a:r>
              <a:rPr lang="de-DE"/>
              <a:t>Neuigkeiten in Microsoft Teams</a:t>
            </a:r>
          </a:p>
        </p:txBody>
      </p:sp>
      <p:sp>
        <p:nvSpPr>
          <p:cNvPr id="5" name="Inhaltsplatzhalter 4">
            <a:extLst>
              <a:ext uri="{FF2B5EF4-FFF2-40B4-BE49-F238E27FC236}">
                <a16:creationId xmlns:a16="http://schemas.microsoft.com/office/drawing/2014/main" id="{C24DACB5-1BEC-4C86-9652-BAFD8DE56FEF}"/>
              </a:ext>
            </a:extLst>
          </p:cNvPr>
          <p:cNvSpPr>
            <a:spLocks noGrp="1"/>
          </p:cNvSpPr>
          <p:nvPr>
            <p:ph idx="1"/>
          </p:nvPr>
        </p:nvSpPr>
        <p:spPr>
          <a:xfrm>
            <a:off x="838200" y="1825624"/>
            <a:ext cx="10683240" cy="5032375"/>
          </a:xfrm>
        </p:spPr>
        <p:txBody>
          <a:bodyPr>
            <a:normAutofit/>
          </a:bodyPr>
          <a:lstStyle/>
          <a:p>
            <a:r>
              <a:rPr lang="en-US" dirty="0"/>
              <a:t>Disable attendee emails for town halls and webinars</a:t>
            </a:r>
          </a:p>
          <a:p>
            <a:r>
              <a:rPr lang="en-US" dirty="0"/>
              <a:t>New Microsoft Teams for Web – GA for Firefox, Safari, and Linux</a:t>
            </a:r>
          </a:p>
          <a:p>
            <a:r>
              <a:rPr lang="en-US" dirty="0"/>
              <a:t>Pre-pin meeting apps for users</a:t>
            </a:r>
          </a:p>
          <a:p>
            <a:r>
              <a:rPr lang="en-US" dirty="0"/>
              <a:t>Latest meeting experiences with performance improvements on web for Safari and Firefox (for guests)</a:t>
            </a:r>
          </a:p>
          <a:p>
            <a:r>
              <a:rPr lang="en-US" dirty="0"/>
              <a:t>In form meeting option updates for webinars and townhalls</a:t>
            </a:r>
          </a:p>
          <a:p>
            <a:r>
              <a:rPr lang="en-US" dirty="0"/>
              <a:t>Hide General Channels</a:t>
            </a:r>
          </a:p>
          <a:p>
            <a:r>
              <a:rPr lang="en-US" dirty="0"/>
              <a:t>Meeting invite improvements</a:t>
            </a:r>
          </a:p>
          <a:p>
            <a:endParaRPr lang="en-US" dirty="0"/>
          </a:p>
        </p:txBody>
      </p:sp>
      <p:sp>
        <p:nvSpPr>
          <p:cNvPr id="2" name="Rechteck: abgerundete Ecken 1">
            <a:extLst>
              <a:ext uri="{FF2B5EF4-FFF2-40B4-BE49-F238E27FC236}">
                <a16:creationId xmlns:a16="http://schemas.microsoft.com/office/drawing/2014/main" id="{909DC09D-B9A6-4493-9A72-1CA7ECB1F5CA}"/>
              </a:ext>
            </a:extLst>
          </p:cNvPr>
          <p:cNvSpPr/>
          <p:nvPr/>
        </p:nvSpPr>
        <p:spPr>
          <a:xfrm>
            <a:off x="911352" y="1809922"/>
            <a:ext cx="10610088" cy="491691"/>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dirty="0">
              <a:latin typeface="Aptos" panose="020B0004020202020204" pitchFamily="34" charset="0"/>
            </a:endParaRPr>
          </a:p>
        </p:txBody>
      </p:sp>
    </p:spTree>
    <p:extLst>
      <p:ext uri="{BB962C8B-B14F-4D97-AF65-F5344CB8AC3E}">
        <p14:creationId xmlns:p14="http://schemas.microsoft.com/office/powerpoint/2010/main" val="2227487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CEE4DF4C-6EA3-48DB-B011-5E7B8CB61FE6}" vid="{C1E9B41B-5C35-4701-ADD4-B631732FF83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0a061b1-bdb8-4664-ad9e-272301b45d52">
      <Terms xmlns="http://schemas.microsoft.com/office/infopath/2007/PartnerControls"/>
    </lcf76f155ced4ddcb4097134ff3c332f>
    <TaxCatchAll xmlns="ea3e4b80-20a0-46c1-93e7-c2ea17da974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B4F00FA3E7003141BC16E026FCE150A0" ma:contentTypeVersion="9" ma:contentTypeDescription="Ein neues Dokument erstellen." ma:contentTypeScope="" ma:versionID="81fdd1baeb05dd5d3c6f54ebd939c12b">
  <xsd:schema xmlns:xsd="http://www.w3.org/2001/XMLSchema" xmlns:xs="http://www.w3.org/2001/XMLSchema" xmlns:p="http://schemas.microsoft.com/office/2006/metadata/properties" xmlns:ns2="30a061b1-bdb8-4664-ad9e-272301b45d52" xmlns:ns3="ea3e4b80-20a0-46c1-93e7-c2ea17da9740" targetNamespace="http://schemas.microsoft.com/office/2006/metadata/properties" ma:root="true" ma:fieldsID="55b3a28bc68edd84972b93f076bf98e9" ns2:_="" ns3:_="">
    <xsd:import namespace="30a061b1-bdb8-4664-ad9e-272301b45d52"/>
    <xsd:import namespace="ea3e4b80-20a0-46c1-93e7-c2ea17da974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GenerationTime" minOccurs="0"/>
                <xsd:element ref="ns2:MediaServiceEventHashCode"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a061b1-bdb8-4664-ad9e-272301b45d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4" nillable="true" ma:taxonomy="true" ma:internalName="lcf76f155ced4ddcb4097134ff3c332f" ma:taxonomyFieldName="MediaServiceImageTags" ma:displayName="Bildmarkierungen" ma:readOnly="false" ma:fieldId="{5cf76f15-5ced-4ddc-b409-7134ff3c332f}" ma:taxonomyMulti="true" ma:sspId="9a67c07f-dccb-43db-a12a-df4e5df6847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3e4b80-20a0-46c1-93e7-c2ea17da9740"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9592c7a2-20fb-48c1-9e68-3bc94bbf2989}" ma:internalName="TaxCatchAll" ma:showField="CatchAllData" ma:web="ea3e4b80-20a0-46c1-93e7-c2ea17da9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2F6437E-F52A-440A-84E7-C3E49CFC8E2E}">
  <ds:schemaRefs>
    <ds:schemaRef ds:uri="http://www.w3.org/XML/1998/namespace"/>
    <ds:schemaRef ds:uri="ea3e4b80-20a0-46c1-93e7-c2ea17da9740"/>
    <ds:schemaRef ds:uri="http://schemas.microsoft.com/office/infopath/2007/PartnerControls"/>
    <ds:schemaRef ds:uri="http://purl.org/dc/terms/"/>
    <ds:schemaRef ds:uri="http://schemas.microsoft.com/office/2006/metadata/properties"/>
    <ds:schemaRef ds:uri="http://schemas.microsoft.com/office/2006/documentManagement/types"/>
    <ds:schemaRef ds:uri="http://schemas.openxmlformats.org/package/2006/metadata/core-properties"/>
    <ds:schemaRef ds:uri="30a061b1-bdb8-4664-ad9e-272301b45d52"/>
    <ds:schemaRef ds:uri="http://purl.org/dc/dcmitype/"/>
    <ds:schemaRef ds:uri="http://purl.org/dc/elements/1.1/"/>
  </ds:schemaRefs>
</ds:datastoreItem>
</file>

<file path=customXml/itemProps2.xml><?xml version="1.0" encoding="utf-8"?>
<ds:datastoreItem xmlns:ds="http://schemas.openxmlformats.org/officeDocument/2006/customXml" ds:itemID="{FBDF54D0-716B-414B-A931-AD7D5D19B3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0a061b1-bdb8-4664-ad9e-272301b45d52"/>
    <ds:schemaRef ds:uri="ea3e4b80-20a0-46c1-93e7-c2ea17da97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7A5EF0C-90D1-4D3C-A2B4-06A65816A67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ams-Meetup-Berlin</Template>
  <TotalTime>0</TotalTime>
  <Words>2378</Words>
  <Application>Microsoft Office PowerPoint</Application>
  <PresentationFormat>Breitbild</PresentationFormat>
  <Paragraphs>332</Paragraphs>
  <Slides>53</Slides>
  <Notes>38</Notes>
  <HiddenSlides>4</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53</vt:i4>
      </vt:variant>
    </vt:vector>
  </HeadingPairs>
  <TitlesOfParts>
    <vt:vector size="61" baseType="lpstr">
      <vt:lpstr>Aptos</vt:lpstr>
      <vt:lpstr>Aptos Display</vt:lpstr>
      <vt:lpstr>Aptos Light</vt:lpstr>
      <vt:lpstr>Arial</vt:lpstr>
      <vt:lpstr>Calibri</vt:lpstr>
      <vt:lpstr>Segoe UI</vt:lpstr>
      <vt:lpstr>Wingdings</vt:lpstr>
      <vt:lpstr>Office</vt:lpstr>
      <vt:lpstr>Microsoft Teams User Group Berlin</vt:lpstr>
      <vt:lpstr>PowerPoint-Präsentation</vt:lpstr>
      <vt:lpstr>PowerPoint-Präsentation</vt:lpstr>
      <vt:lpstr>Agenda</vt:lpstr>
      <vt:lpstr>Virtuelle Termine mit Microsoft Teams (Premium)</vt:lpstr>
      <vt:lpstr>Demo</vt:lpstr>
      <vt:lpstr>Neues in Microsoft Teams Ankündigungen &amp; Rollouts </vt:lpstr>
      <vt:lpstr>Neues in Microsoft Teams Ankündigungen &amp; Rollouts </vt:lpstr>
      <vt:lpstr>Neuigkeiten in Microsoft Teams</vt:lpstr>
      <vt:lpstr>Disable attendee emails for town halls and webinars</vt:lpstr>
      <vt:lpstr>Disable attendee emails for town halls and webinars</vt:lpstr>
      <vt:lpstr>Neuigkeiten in Microsoft Teams</vt:lpstr>
      <vt:lpstr>New Microsoft Teams for Web GA for Firefox, Safari, and Linux</vt:lpstr>
      <vt:lpstr>Neuigkeiten in Microsoft Teams</vt:lpstr>
      <vt:lpstr>Pre-pin meeting apps for users</vt:lpstr>
      <vt:lpstr>Neuigkeiten in Microsoft Teams</vt:lpstr>
      <vt:lpstr>Latest meeting experiences with performance improvements on web for Safari and Firefox (for guests)</vt:lpstr>
      <vt:lpstr>Neuigkeiten in Microsoft Teams</vt:lpstr>
      <vt:lpstr>In form meeting option updates for webinars and townhalls</vt:lpstr>
      <vt:lpstr>Neuigkeiten in Microsoft Teams</vt:lpstr>
      <vt:lpstr>Neuigkeiten in Microsoft Teams</vt:lpstr>
      <vt:lpstr>Meeting invite improvements</vt:lpstr>
      <vt:lpstr>Neuigkeiten in Microsoft Teams</vt:lpstr>
      <vt:lpstr>Share contact information of people in Microsoft Teams chat</vt:lpstr>
      <vt:lpstr>Neuigkeiten in Microsoft Teams</vt:lpstr>
      <vt:lpstr>Neuigkeiten in Microsoft Teams</vt:lpstr>
      <vt:lpstr>Apps now supported in group chats with external users</vt:lpstr>
      <vt:lpstr>Neuigkeiten in Microsoft Teams</vt:lpstr>
      <vt:lpstr>Additional Teams Meeting Templates Added to Outlook Teams Add-In</vt:lpstr>
      <vt:lpstr>Neuigkeiten in Microsoft Teams</vt:lpstr>
      <vt:lpstr>Discover Feed in Channels</vt:lpstr>
      <vt:lpstr>Neues in Microsoft Teams Ankündigungen &amp; Rollouts  für Admins</vt:lpstr>
      <vt:lpstr>Neues in Microsoft Teams Ankündigungen &amp; Rollouts  für Admins</vt:lpstr>
      <vt:lpstr>Neuigkeiten in Microsoft Teams für Admins</vt:lpstr>
      <vt:lpstr>Tenant-wide policy for permission to download meeting transcription</vt:lpstr>
      <vt:lpstr>Neuigkeiten in Microsoft Teams für Admins</vt:lpstr>
      <vt:lpstr>Neuigkeiten in Microsoft Teams für Admins</vt:lpstr>
      <vt:lpstr>Neuigkeiten in Microsoft Teams für Admins</vt:lpstr>
      <vt:lpstr>Ensuring Enhanced Noise Suppression and other advanced features work as expected</vt:lpstr>
      <vt:lpstr>Neuigkeiten in Microsoft Teams für Admins</vt:lpstr>
      <vt:lpstr>Changes to Administrator Permissions Required to Create and Manage Teams Resource Accounts</vt:lpstr>
      <vt:lpstr>Neuigkeiten in Microsoft Teams für Admins</vt:lpstr>
      <vt:lpstr>Simplified sign in for iOS and Android devices</vt:lpstr>
      <vt:lpstr>Neuigkeiten in Microsoft Teams für Admins</vt:lpstr>
      <vt:lpstr>Cloud IntelliFrame: A New Way to See People in Teams Rooms</vt:lpstr>
      <vt:lpstr>Cloud IntelliFrame: A New Way to See People in Teams Rooms</vt:lpstr>
      <vt:lpstr>Neuigkeiten in Microsoft Teams für Admins</vt:lpstr>
      <vt:lpstr>Watermark support for recording playback (Premium)</vt:lpstr>
      <vt:lpstr>Microsoft Teams – Links </vt:lpstr>
      <vt:lpstr>Offene Diskussion </vt:lpstr>
      <vt:lpstr>Organisatorisches </vt:lpstr>
      <vt:lpstr>Organisatorisches</vt:lpstr>
      <vt:lpstr>Vielen Dank für eure Teilnah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ams User Group Berlin - Meetup Dezember 2023</dc:title>
  <dc:creator>Thomas Stensitzki</dc:creator>
  <cp:keywords>Teams</cp:keywords>
  <cp:lastModifiedBy>Thomas Stensitzki</cp:lastModifiedBy>
  <cp:revision>65</cp:revision>
  <dcterms:created xsi:type="dcterms:W3CDTF">2020-01-18T10:30:21Z</dcterms:created>
  <dcterms:modified xsi:type="dcterms:W3CDTF">2024-05-04T10:56:54Z</dcterms:modified>
  <cp:category>Teams User Group</cp:category>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F00FA3E7003141BC16E026FCE150A0</vt:lpwstr>
  </property>
</Properties>
</file>